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56" r:id="rId2"/>
    <p:sldId id="285" r:id="rId3"/>
    <p:sldId id="364" r:id="rId4"/>
    <p:sldId id="292" r:id="rId5"/>
    <p:sldId id="363" r:id="rId6"/>
    <p:sldId id="324" r:id="rId7"/>
    <p:sldId id="349" r:id="rId8"/>
    <p:sldId id="352" r:id="rId9"/>
    <p:sldId id="355" r:id="rId10"/>
    <p:sldId id="358" r:id="rId11"/>
    <p:sldId id="360" r:id="rId12"/>
    <p:sldId id="293"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74" userDrawn="1">
          <p15:clr>
            <a:srgbClr val="A4A3A4"/>
          </p15:clr>
        </p15:guide>
        <p15:guide id="2" pos="3840" userDrawn="1">
          <p15:clr>
            <a:srgbClr val="A4A3A4"/>
          </p15:clr>
        </p15:guide>
        <p15:guide id="3" pos="211" userDrawn="1">
          <p15:clr>
            <a:srgbClr val="A4A3A4"/>
          </p15:clr>
        </p15:guide>
        <p15:guide id="4" pos="7469" userDrawn="1">
          <p15:clr>
            <a:srgbClr val="A4A3A4"/>
          </p15:clr>
        </p15:guide>
        <p15:guide id="5" orient="horz" pos="799" userDrawn="1">
          <p15:clr>
            <a:srgbClr val="A4A3A4"/>
          </p15:clr>
        </p15:guide>
        <p15:guide id="6" orient="horz" pos="2387" userDrawn="1">
          <p15:clr>
            <a:srgbClr val="A4A3A4"/>
          </p15:clr>
        </p15:guide>
        <p15:guide id="7" orient="horz" pos="2160" userDrawn="1">
          <p15:clr>
            <a:srgbClr val="A4A3A4"/>
          </p15:clr>
        </p15:guide>
        <p15:guide id="8" orient="horz" pos="22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C00B"/>
    <a:srgbClr val="44546A"/>
    <a:srgbClr val="E7B239"/>
    <a:srgbClr val="5B9BD5"/>
    <a:srgbClr val="5C646F"/>
    <a:srgbClr val="A5A5A5"/>
    <a:srgbClr val="E7E6E6"/>
    <a:srgbClr val="FDBF10"/>
    <a:srgbClr val="FFF2CC"/>
    <a:srgbClr val="9594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EE8D3A-6FE5-4119-B5D6-26956AD41DB2}" v="346" dt="2024-06-01T03:32:46.50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57" autoAdjust="0"/>
    <p:restoredTop sz="90743" autoAdjust="0"/>
  </p:normalViewPr>
  <p:slideViewPr>
    <p:cSldViewPr snapToGrid="0" showGuides="1">
      <p:cViewPr varScale="1">
        <p:scale>
          <a:sx n="75" d="100"/>
          <a:sy n="75" d="100"/>
        </p:scale>
        <p:origin x="1070" y="43"/>
      </p:cViewPr>
      <p:guideLst>
        <p:guide orient="horz" pos="3974"/>
        <p:guide pos="3840"/>
        <p:guide pos="211"/>
        <p:guide pos="7469"/>
        <p:guide orient="horz" pos="799"/>
        <p:guide orient="horz" pos="2387"/>
        <p:guide orient="horz" pos="2160"/>
        <p:guide orient="horz" pos="22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iva0 Kumar" userId="89033066f8f0ef15" providerId="LiveId" clId="{AFEE8D3A-6FE5-4119-B5D6-26956AD41DB2}"/>
    <pc:docChg chg="undo custSel addSld delSld modSld sldOrd">
      <pc:chgData name="Shiva0 Kumar" userId="89033066f8f0ef15" providerId="LiveId" clId="{AFEE8D3A-6FE5-4119-B5D6-26956AD41DB2}" dt="2024-06-01T03:32:55.714" v="7671" actId="20577"/>
      <pc:docMkLst>
        <pc:docMk/>
      </pc:docMkLst>
      <pc:sldChg chg="addSp delSp modSp mod modTransition">
        <pc:chgData name="Shiva0 Kumar" userId="89033066f8f0ef15" providerId="LiveId" clId="{AFEE8D3A-6FE5-4119-B5D6-26956AD41DB2}" dt="2024-05-31T13:33:13.488" v="5608"/>
        <pc:sldMkLst>
          <pc:docMk/>
          <pc:sldMk cId="2818737093" sldId="285"/>
        </pc:sldMkLst>
        <pc:spChg chg="add mod">
          <ac:chgData name="Shiva0 Kumar" userId="89033066f8f0ef15" providerId="LiveId" clId="{AFEE8D3A-6FE5-4119-B5D6-26956AD41DB2}" dt="2024-05-31T12:32:35.576" v="4814" actId="1036"/>
          <ac:spMkLst>
            <pc:docMk/>
            <pc:sldMk cId="2818737093" sldId="285"/>
            <ac:spMk id="2" creationId="{52CF4D9F-4EFB-A2F3-351A-04E094F59747}"/>
          </ac:spMkLst>
        </pc:spChg>
        <pc:spChg chg="mod">
          <ac:chgData name="Shiva0 Kumar" userId="89033066f8f0ef15" providerId="LiveId" clId="{AFEE8D3A-6FE5-4119-B5D6-26956AD41DB2}" dt="2024-05-31T12:32:53.392" v="4817" actId="1076"/>
          <ac:spMkLst>
            <pc:docMk/>
            <pc:sldMk cId="2818737093" sldId="285"/>
            <ac:spMk id="5" creationId="{0CC05B01-9A5D-253A-7745-73D548B2E8FC}"/>
          </ac:spMkLst>
        </pc:spChg>
        <pc:spChg chg="mod">
          <ac:chgData name="Shiva0 Kumar" userId="89033066f8f0ef15" providerId="LiveId" clId="{AFEE8D3A-6FE5-4119-B5D6-26956AD41DB2}" dt="2024-05-31T12:32:53.392" v="4817" actId="1076"/>
          <ac:spMkLst>
            <pc:docMk/>
            <pc:sldMk cId="2818737093" sldId="285"/>
            <ac:spMk id="6" creationId="{CAF8B206-842F-A128-184F-2777C34650B7}"/>
          </ac:spMkLst>
        </pc:spChg>
        <pc:spChg chg="del">
          <ac:chgData name="Shiva0 Kumar" userId="89033066f8f0ef15" providerId="LiveId" clId="{AFEE8D3A-6FE5-4119-B5D6-26956AD41DB2}" dt="2024-05-15T11:04:11.055" v="3344" actId="21"/>
          <ac:spMkLst>
            <pc:docMk/>
            <pc:sldMk cId="2818737093" sldId="285"/>
            <ac:spMk id="6" creationId="{D24DC781-AC70-4CCD-8B70-39BA47EBA0E9}"/>
          </ac:spMkLst>
        </pc:spChg>
        <pc:spChg chg="mod">
          <ac:chgData name="Shiva0 Kumar" userId="89033066f8f0ef15" providerId="LiveId" clId="{AFEE8D3A-6FE5-4119-B5D6-26956AD41DB2}" dt="2024-05-15T03:53:46.582" v="9" actId="207"/>
          <ac:spMkLst>
            <pc:docMk/>
            <pc:sldMk cId="2818737093" sldId="285"/>
            <ac:spMk id="37" creationId="{2CF8D669-16F6-57A9-43A1-2D0EEA223D43}"/>
          </ac:spMkLst>
        </pc:spChg>
        <pc:spChg chg="mod">
          <ac:chgData name="Shiva0 Kumar" userId="89033066f8f0ef15" providerId="LiveId" clId="{AFEE8D3A-6FE5-4119-B5D6-26956AD41DB2}" dt="2024-05-15T03:52:52.906" v="8" actId="108"/>
          <ac:spMkLst>
            <pc:docMk/>
            <pc:sldMk cId="2818737093" sldId="285"/>
            <ac:spMk id="38" creationId="{D2D8E1BC-E8CB-4C2C-24E4-A4393A05C7A6}"/>
          </ac:spMkLst>
        </pc:spChg>
        <pc:grpChg chg="add mod">
          <ac:chgData name="Shiva0 Kumar" userId="89033066f8f0ef15" providerId="LiveId" clId="{AFEE8D3A-6FE5-4119-B5D6-26956AD41DB2}" dt="2024-05-31T12:32:53.392" v="4817" actId="1076"/>
          <ac:grpSpMkLst>
            <pc:docMk/>
            <pc:sldMk cId="2818737093" sldId="285"/>
            <ac:grpSpMk id="4" creationId="{E4CF2F04-89DB-C297-05DF-9B6F864EDA3D}"/>
          </ac:grpSpMkLst>
        </pc:grpChg>
      </pc:sldChg>
      <pc:sldChg chg="delSp del mod">
        <pc:chgData name="Shiva0 Kumar" userId="89033066f8f0ef15" providerId="LiveId" clId="{AFEE8D3A-6FE5-4119-B5D6-26956AD41DB2}" dt="2024-05-31T07:50:49.304" v="3566" actId="2696"/>
        <pc:sldMkLst>
          <pc:docMk/>
          <pc:sldMk cId="3094079462" sldId="288"/>
        </pc:sldMkLst>
        <pc:spChg chg="del">
          <ac:chgData name="Shiva0 Kumar" userId="89033066f8f0ef15" providerId="LiveId" clId="{AFEE8D3A-6FE5-4119-B5D6-26956AD41DB2}" dt="2024-05-15T11:04:04.667" v="3343" actId="21"/>
          <ac:spMkLst>
            <pc:docMk/>
            <pc:sldMk cId="3094079462" sldId="288"/>
            <ac:spMk id="6" creationId="{D24DC781-AC70-4CCD-8B70-39BA47EBA0E9}"/>
          </ac:spMkLst>
        </pc:spChg>
      </pc:sldChg>
      <pc:sldChg chg="addSp delSp modSp mod modTransition">
        <pc:chgData name="Shiva0 Kumar" userId="89033066f8f0ef15" providerId="LiveId" clId="{AFEE8D3A-6FE5-4119-B5D6-26956AD41DB2}" dt="2024-06-01T02:58:43.944" v="6414" actId="255"/>
        <pc:sldMkLst>
          <pc:docMk/>
          <pc:sldMk cId="516819563" sldId="292"/>
        </pc:sldMkLst>
        <pc:spChg chg="add">
          <ac:chgData name="Shiva0 Kumar" userId="89033066f8f0ef15" providerId="LiveId" clId="{AFEE8D3A-6FE5-4119-B5D6-26956AD41DB2}" dt="2024-06-01T02:40:45.488" v="5614"/>
          <ac:spMkLst>
            <pc:docMk/>
            <pc:sldMk cId="516819563" sldId="292"/>
            <ac:spMk id="2" creationId="{154B7092-94B9-DB37-650C-9E6CBDC9B343}"/>
          </ac:spMkLst>
        </pc:spChg>
        <pc:spChg chg="add mod">
          <ac:chgData name="Shiva0 Kumar" userId="89033066f8f0ef15" providerId="LiveId" clId="{AFEE8D3A-6FE5-4119-B5D6-26956AD41DB2}" dt="2024-05-15T03:56:38.926" v="11"/>
          <ac:spMkLst>
            <pc:docMk/>
            <pc:sldMk cId="516819563" sldId="292"/>
            <ac:spMk id="2" creationId="{2A501783-0074-7960-A908-49EFD5B5EE5E}"/>
          </ac:spMkLst>
        </pc:spChg>
        <pc:spChg chg="add del mod">
          <ac:chgData name="Shiva0 Kumar" userId="89033066f8f0ef15" providerId="LiveId" clId="{AFEE8D3A-6FE5-4119-B5D6-26956AD41DB2}" dt="2024-05-31T07:51:20.976" v="3615" actId="21"/>
          <ac:spMkLst>
            <pc:docMk/>
            <pc:sldMk cId="516819563" sldId="292"/>
            <ac:spMk id="3" creationId="{2A501783-0074-7960-A908-49EFD5B5EE5E}"/>
          </ac:spMkLst>
        </pc:spChg>
        <pc:spChg chg="add">
          <ac:chgData name="Shiva0 Kumar" userId="89033066f8f0ef15" providerId="LiveId" clId="{AFEE8D3A-6FE5-4119-B5D6-26956AD41DB2}" dt="2024-06-01T02:40:52.872" v="5616"/>
          <ac:spMkLst>
            <pc:docMk/>
            <pc:sldMk cId="516819563" sldId="292"/>
            <ac:spMk id="3" creationId="{A0BC49A5-ED7D-56B2-F180-CE27D7923428}"/>
          </ac:spMkLst>
        </pc:spChg>
        <pc:spChg chg="add mod">
          <ac:chgData name="Shiva0 Kumar" userId="89033066f8f0ef15" providerId="LiveId" clId="{AFEE8D3A-6FE5-4119-B5D6-26956AD41DB2}" dt="2024-06-01T02:58:17.995" v="6413" actId="20577"/>
          <ac:spMkLst>
            <pc:docMk/>
            <pc:sldMk cId="516819563" sldId="292"/>
            <ac:spMk id="4" creationId="{01317F14-3A86-72C2-E0B2-A928F9AC3C65}"/>
          </ac:spMkLst>
        </pc:spChg>
        <pc:spChg chg="add mod">
          <ac:chgData name="Shiva0 Kumar" userId="89033066f8f0ef15" providerId="LiveId" clId="{AFEE8D3A-6FE5-4119-B5D6-26956AD41DB2}" dt="2024-06-01T02:41:34.532" v="5625"/>
          <ac:spMkLst>
            <pc:docMk/>
            <pc:sldMk cId="516819563" sldId="292"/>
            <ac:spMk id="5" creationId="{73AC2BAD-00E2-E611-4BE6-1535FCD14BCE}"/>
          </ac:spMkLst>
        </pc:spChg>
        <pc:spChg chg="add del mod">
          <ac:chgData name="Shiva0 Kumar" userId="89033066f8f0ef15" providerId="LiveId" clId="{AFEE8D3A-6FE5-4119-B5D6-26956AD41DB2}" dt="2024-05-31T07:51:27.528" v="3617" actId="21"/>
          <ac:spMkLst>
            <pc:docMk/>
            <pc:sldMk cId="516819563" sldId="292"/>
            <ac:spMk id="5" creationId="{F7DFA89A-DB78-4F13-61BC-A8DA727104C9}"/>
          </ac:spMkLst>
        </pc:spChg>
        <pc:spChg chg="add del mod">
          <ac:chgData name="Shiva0 Kumar" userId="89033066f8f0ef15" providerId="LiveId" clId="{AFEE8D3A-6FE5-4119-B5D6-26956AD41DB2}" dt="2024-06-01T02:58:43.944" v="6414" actId="255"/>
          <ac:spMkLst>
            <pc:docMk/>
            <pc:sldMk cId="516819563" sldId="292"/>
            <ac:spMk id="6" creationId="{12439623-344D-9EA4-BD2B-0FB112BC1889}"/>
          </ac:spMkLst>
        </pc:spChg>
        <pc:spChg chg="add del">
          <ac:chgData name="Shiva0 Kumar" userId="89033066f8f0ef15" providerId="LiveId" clId="{AFEE8D3A-6FE5-4119-B5D6-26956AD41DB2}" dt="2024-05-31T07:54:05.222" v="3619" actId="22"/>
          <ac:spMkLst>
            <pc:docMk/>
            <pc:sldMk cId="516819563" sldId="292"/>
            <ac:spMk id="6" creationId="{63522C86-5E3D-5817-3440-FE2B873165FB}"/>
          </ac:spMkLst>
        </pc:spChg>
        <pc:spChg chg="del">
          <ac:chgData name="Shiva0 Kumar" userId="89033066f8f0ef15" providerId="LiveId" clId="{AFEE8D3A-6FE5-4119-B5D6-26956AD41DB2}" dt="2024-05-15T11:04:00.096" v="3342" actId="21"/>
          <ac:spMkLst>
            <pc:docMk/>
            <pc:sldMk cId="516819563" sldId="292"/>
            <ac:spMk id="6" creationId="{D24DC781-AC70-4CCD-8B70-39BA47EBA0E9}"/>
          </ac:spMkLst>
        </pc:spChg>
        <pc:spChg chg="add del mod">
          <ac:chgData name="Shiva0 Kumar" userId="89033066f8f0ef15" providerId="LiveId" clId="{AFEE8D3A-6FE5-4119-B5D6-26956AD41DB2}" dt="2024-05-31T07:51:13.624" v="3613" actId="21"/>
          <ac:spMkLst>
            <pc:docMk/>
            <pc:sldMk cId="516819563" sldId="292"/>
            <ac:spMk id="7" creationId="{40A139BC-01BA-C6F9-5E16-7A379486AC6A}"/>
          </ac:spMkLst>
        </pc:spChg>
        <pc:spChg chg="add mod">
          <ac:chgData name="Shiva0 Kumar" userId="89033066f8f0ef15" providerId="LiveId" clId="{AFEE8D3A-6FE5-4119-B5D6-26956AD41DB2}" dt="2024-06-01T02:57:15.725" v="6400" actId="1076"/>
          <ac:spMkLst>
            <pc:docMk/>
            <pc:sldMk cId="516819563" sldId="292"/>
            <ac:spMk id="7" creationId="{AE67EEF2-C14E-1029-5145-6CA6D3E619E9}"/>
          </ac:spMkLst>
        </pc:spChg>
        <pc:spChg chg="add mod">
          <ac:chgData name="Shiva0 Kumar" userId="89033066f8f0ef15" providerId="LiveId" clId="{AFEE8D3A-6FE5-4119-B5D6-26956AD41DB2}" dt="2024-06-01T02:57:20.562" v="6401" actId="1076"/>
          <ac:spMkLst>
            <pc:docMk/>
            <pc:sldMk cId="516819563" sldId="292"/>
            <ac:spMk id="8" creationId="{7CA42862-1DE2-87AC-8B73-D67D3A4D1F25}"/>
          </ac:spMkLst>
        </pc:spChg>
        <pc:spChg chg="add del mod">
          <ac:chgData name="Shiva0 Kumar" userId="89033066f8f0ef15" providerId="LiveId" clId="{AFEE8D3A-6FE5-4119-B5D6-26956AD41DB2}" dt="2024-05-31T07:51:17.224" v="3614" actId="21"/>
          <ac:spMkLst>
            <pc:docMk/>
            <pc:sldMk cId="516819563" sldId="292"/>
            <ac:spMk id="8" creationId="{9F0304EA-AA92-B276-9CF8-FB3AA1D74CDA}"/>
          </ac:spMkLst>
        </pc:spChg>
        <pc:spChg chg="add del mod">
          <ac:chgData name="Shiva0 Kumar" userId="89033066f8f0ef15" providerId="LiveId" clId="{AFEE8D3A-6FE5-4119-B5D6-26956AD41DB2}" dt="2024-06-01T02:40:59.033" v="5619"/>
          <ac:spMkLst>
            <pc:docMk/>
            <pc:sldMk cId="516819563" sldId="292"/>
            <ac:spMk id="10" creationId="{F8DF1CC5-AA6F-1D4D-614C-83BEBAF1696C}"/>
          </ac:spMkLst>
        </pc:spChg>
        <pc:spChg chg="del">
          <ac:chgData name="Shiva0 Kumar" userId="89033066f8f0ef15" providerId="LiveId" clId="{AFEE8D3A-6FE5-4119-B5D6-26956AD41DB2}" dt="2024-05-31T12:28:01.298" v="4747" actId="21"/>
          <ac:spMkLst>
            <pc:docMk/>
            <pc:sldMk cId="516819563" sldId="292"/>
            <ac:spMk id="11" creationId="{EFDE5DB5-4A97-D701-9D04-FF1F8B4DE9BA}"/>
          </ac:spMkLst>
        </pc:spChg>
        <pc:spChg chg="add del mod">
          <ac:chgData name="Shiva0 Kumar" userId="89033066f8f0ef15" providerId="LiveId" clId="{AFEE8D3A-6FE5-4119-B5D6-26956AD41DB2}" dt="2024-06-01T02:42:16.417" v="5671" actId="20577"/>
          <ac:spMkLst>
            <pc:docMk/>
            <pc:sldMk cId="516819563" sldId="292"/>
            <ac:spMk id="15" creationId="{F7DFA89A-DB78-4F13-61BC-A8DA727104C9}"/>
          </ac:spMkLst>
        </pc:spChg>
        <pc:spChg chg="add del mod">
          <ac:chgData name="Shiva0 Kumar" userId="89033066f8f0ef15" providerId="LiveId" clId="{AFEE8D3A-6FE5-4119-B5D6-26956AD41DB2}" dt="2024-05-31T12:35:28.254" v="4859" actId="21"/>
          <ac:spMkLst>
            <pc:docMk/>
            <pc:sldMk cId="516819563" sldId="292"/>
            <ac:spMk id="16" creationId="{30D49600-C430-7B3C-BB13-762A65B72A70}"/>
          </ac:spMkLst>
        </pc:spChg>
        <pc:spChg chg="add del mod ord">
          <ac:chgData name="Shiva0 Kumar" userId="89033066f8f0ef15" providerId="LiveId" clId="{AFEE8D3A-6FE5-4119-B5D6-26956AD41DB2}" dt="2024-05-31T07:59:50.251" v="3746" actId="21"/>
          <ac:spMkLst>
            <pc:docMk/>
            <pc:sldMk cId="516819563" sldId="292"/>
            <ac:spMk id="17" creationId="{95B7DC27-9ADA-0383-29BE-96B464ABB358}"/>
          </ac:spMkLst>
        </pc:spChg>
        <pc:spChg chg="add del mod">
          <ac:chgData name="Shiva0 Kumar" userId="89033066f8f0ef15" providerId="LiveId" clId="{AFEE8D3A-6FE5-4119-B5D6-26956AD41DB2}" dt="2024-05-31T08:01:10.029" v="3813"/>
          <ac:spMkLst>
            <pc:docMk/>
            <pc:sldMk cId="516819563" sldId="292"/>
            <ac:spMk id="18" creationId="{369D0CE5-9B92-1B35-0060-524B1C3E4181}"/>
          </ac:spMkLst>
        </pc:spChg>
        <pc:spChg chg="add del mod">
          <ac:chgData name="Shiva0 Kumar" userId="89033066f8f0ef15" providerId="LiveId" clId="{AFEE8D3A-6FE5-4119-B5D6-26956AD41DB2}" dt="2024-06-01T02:40:59.013" v="5617" actId="21"/>
          <ac:spMkLst>
            <pc:docMk/>
            <pc:sldMk cId="516819563" sldId="292"/>
            <ac:spMk id="19" creationId="{95B7DC27-9ADA-0383-29BE-96B464ABB358}"/>
          </ac:spMkLst>
        </pc:spChg>
        <pc:spChg chg="add del mod">
          <ac:chgData name="Shiva0 Kumar" userId="89033066f8f0ef15" providerId="LiveId" clId="{AFEE8D3A-6FE5-4119-B5D6-26956AD41DB2}" dt="2024-06-01T02:41:08.455" v="5620" actId="21"/>
          <ac:spMkLst>
            <pc:docMk/>
            <pc:sldMk cId="516819563" sldId="292"/>
            <ac:spMk id="20" creationId="{AF978306-7671-0742-3155-B963D025E875}"/>
          </ac:spMkLst>
        </pc:spChg>
        <pc:spChg chg="add del mod">
          <ac:chgData name="Shiva0 Kumar" userId="89033066f8f0ef15" providerId="LiveId" clId="{AFEE8D3A-6FE5-4119-B5D6-26956AD41DB2}" dt="2024-06-01T02:41:18.124" v="5621" actId="21"/>
          <ac:spMkLst>
            <pc:docMk/>
            <pc:sldMk cId="516819563" sldId="292"/>
            <ac:spMk id="21" creationId="{13DC1FF0-CA82-E144-08C0-E053E6278192}"/>
          </ac:spMkLst>
        </pc:spChg>
        <pc:spChg chg="add del mod">
          <ac:chgData name="Shiva0 Kumar" userId="89033066f8f0ef15" providerId="LiveId" clId="{AFEE8D3A-6FE5-4119-B5D6-26956AD41DB2}" dt="2024-06-01T02:41:23.885" v="5622" actId="21"/>
          <ac:spMkLst>
            <pc:docMk/>
            <pc:sldMk cId="516819563" sldId="292"/>
            <ac:spMk id="22" creationId="{5577469F-7501-E90B-EF6D-80953F84D7A6}"/>
          </ac:spMkLst>
        </pc:spChg>
        <pc:spChg chg="add del mod">
          <ac:chgData name="Shiva0 Kumar" userId="89033066f8f0ef15" providerId="LiveId" clId="{AFEE8D3A-6FE5-4119-B5D6-26956AD41DB2}" dt="2024-06-01T02:41:28.517" v="5623" actId="21"/>
          <ac:spMkLst>
            <pc:docMk/>
            <pc:sldMk cId="516819563" sldId="292"/>
            <ac:spMk id="23" creationId="{73AC2BAD-00E2-E611-4BE6-1535FCD14BCE}"/>
          </ac:spMkLst>
        </pc:spChg>
        <pc:spChg chg="add mod">
          <ac:chgData name="Shiva0 Kumar" userId="89033066f8f0ef15" providerId="LiveId" clId="{AFEE8D3A-6FE5-4119-B5D6-26956AD41DB2}" dt="2024-05-31T12:32:44.966" v="4816" actId="1076"/>
          <ac:spMkLst>
            <pc:docMk/>
            <pc:sldMk cId="516819563" sldId="292"/>
            <ac:spMk id="24" creationId="{90FBDC4F-B552-B90C-56B5-EE81C01A8AA3}"/>
          </ac:spMkLst>
        </pc:spChg>
        <pc:spChg chg="mod">
          <ac:chgData name="Shiva0 Kumar" userId="89033066f8f0ef15" providerId="LiveId" clId="{AFEE8D3A-6FE5-4119-B5D6-26956AD41DB2}" dt="2024-05-31T12:33:07.206" v="4819" actId="1076"/>
          <ac:spMkLst>
            <pc:docMk/>
            <pc:sldMk cId="516819563" sldId="292"/>
            <ac:spMk id="26" creationId="{51E76AD4-7A32-30CE-A8C5-34EFAC89E695}"/>
          </ac:spMkLst>
        </pc:spChg>
        <pc:spChg chg="mod">
          <ac:chgData name="Shiva0 Kumar" userId="89033066f8f0ef15" providerId="LiveId" clId="{AFEE8D3A-6FE5-4119-B5D6-26956AD41DB2}" dt="2024-05-31T12:33:07.206" v="4819" actId="1076"/>
          <ac:spMkLst>
            <pc:docMk/>
            <pc:sldMk cId="516819563" sldId="292"/>
            <ac:spMk id="27" creationId="{DD1E3C79-96C6-E2E6-00E7-AD56E39164DE}"/>
          </ac:spMkLst>
        </pc:spChg>
        <pc:spChg chg="add del mod">
          <ac:chgData name="Shiva0 Kumar" userId="89033066f8f0ef15" providerId="LiveId" clId="{AFEE8D3A-6FE5-4119-B5D6-26956AD41DB2}" dt="2024-06-01T02:44:13.408" v="5712" actId="21"/>
          <ac:spMkLst>
            <pc:docMk/>
            <pc:sldMk cId="516819563" sldId="292"/>
            <ac:spMk id="28" creationId="{AE67EEF2-C14E-1029-5145-6CA6D3E619E9}"/>
          </ac:spMkLst>
        </pc:spChg>
        <pc:grpChg chg="del">
          <ac:chgData name="Shiva0 Kumar" userId="89033066f8f0ef15" providerId="LiveId" clId="{AFEE8D3A-6FE5-4119-B5D6-26956AD41DB2}" dt="2024-05-31T12:28:03.690" v="4748" actId="21"/>
          <ac:grpSpMkLst>
            <pc:docMk/>
            <pc:sldMk cId="516819563" sldId="292"/>
            <ac:grpSpMk id="12" creationId="{CEB11757-CE84-94A6-4E0C-D8847F43721F}"/>
          </ac:grpSpMkLst>
        </pc:grpChg>
        <pc:grpChg chg="add mod">
          <ac:chgData name="Shiva0 Kumar" userId="89033066f8f0ef15" providerId="LiveId" clId="{AFEE8D3A-6FE5-4119-B5D6-26956AD41DB2}" dt="2024-05-31T12:33:07.206" v="4819" actId="1076"/>
          <ac:grpSpMkLst>
            <pc:docMk/>
            <pc:sldMk cId="516819563" sldId="292"/>
            <ac:grpSpMk id="25" creationId="{D81D9A34-6539-B33F-BEBB-AA62CE07D962}"/>
          </ac:grpSpMkLst>
        </pc:grpChg>
        <pc:graphicFrameChg chg="add del mod">
          <ac:chgData name="Shiva0 Kumar" userId="89033066f8f0ef15" providerId="LiveId" clId="{AFEE8D3A-6FE5-4119-B5D6-26956AD41DB2}" dt="2024-05-31T07:51:24.192" v="3616" actId="21"/>
          <ac:graphicFrameMkLst>
            <pc:docMk/>
            <pc:sldMk cId="516819563" sldId="292"/>
            <ac:graphicFrameMk id="4" creationId="{4BFAEC6E-ED7A-D5D8-C974-BE29D15C8EF8}"/>
          </ac:graphicFrameMkLst>
        </pc:graphicFrameChg>
      </pc:sldChg>
      <pc:sldChg chg="delSp add del mod">
        <pc:chgData name="Shiva0 Kumar" userId="89033066f8f0ef15" providerId="LiveId" clId="{AFEE8D3A-6FE5-4119-B5D6-26956AD41DB2}" dt="2024-05-31T12:41:29.571" v="4988" actId="2696"/>
        <pc:sldMkLst>
          <pc:docMk/>
          <pc:sldMk cId="1091971427" sldId="297"/>
        </pc:sldMkLst>
        <pc:spChg chg="del">
          <ac:chgData name="Shiva0 Kumar" userId="89033066f8f0ef15" providerId="LiveId" clId="{AFEE8D3A-6FE5-4119-B5D6-26956AD41DB2}" dt="2024-05-15T11:03:01.880" v="3331" actId="21"/>
          <ac:spMkLst>
            <pc:docMk/>
            <pc:sldMk cId="1091971427" sldId="297"/>
            <ac:spMk id="6" creationId="{D24DC781-AC70-4CCD-8B70-39BA47EBA0E9}"/>
          </ac:spMkLst>
        </pc:spChg>
      </pc:sldChg>
      <pc:sldChg chg="delSp add del mod ord">
        <pc:chgData name="Shiva0 Kumar" userId="89033066f8f0ef15" providerId="LiveId" clId="{AFEE8D3A-6FE5-4119-B5D6-26956AD41DB2}" dt="2024-05-31T12:23:41.421" v="4696" actId="2696"/>
        <pc:sldMkLst>
          <pc:docMk/>
          <pc:sldMk cId="152345544" sldId="319"/>
        </pc:sldMkLst>
        <pc:spChg chg="del">
          <ac:chgData name="Shiva0 Kumar" userId="89033066f8f0ef15" providerId="LiveId" clId="{AFEE8D3A-6FE5-4119-B5D6-26956AD41DB2}" dt="2024-05-15T11:03:54.865" v="3341" actId="21"/>
          <ac:spMkLst>
            <pc:docMk/>
            <pc:sldMk cId="152345544" sldId="319"/>
            <ac:spMk id="6" creationId="{D24DC781-AC70-4CCD-8B70-39BA47EBA0E9}"/>
          </ac:spMkLst>
        </pc:spChg>
      </pc:sldChg>
      <pc:sldChg chg="delSp add del mod">
        <pc:chgData name="Shiva0 Kumar" userId="89033066f8f0ef15" providerId="LiveId" clId="{AFEE8D3A-6FE5-4119-B5D6-26956AD41DB2}" dt="2024-05-31T12:29:51.427" v="4798" actId="2696"/>
        <pc:sldMkLst>
          <pc:docMk/>
          <pc:sldMk cId="1243645244" sldId="321"/>
        </pc:sldMkLst>
        <pc:spChg chg="del">
          <ac:chgData name="Shiva0 Kumar" userId="89033066f8f0ef15" providerId="LiveId" clId="{AFEE8D3A-6FE5-4119-B5D6-26956AD41DB2}" dt="2024-05-15T11:03:43.656" v="3339" actId="21"/>
          <ac:spMkLst>
            <pc:docMk/>
            <pc:sldMk cId="1243645244" sldId="321"/>
            <ac:spMk id="6" creationId="{D24DC781-AC70-4CCD-8B70-39BA47EBA0E9}"/>
          </ac:spMkLst>
        </pc:spChg>
      </pc:sldChg>
      <pc:sldChg chg="delSp add del mod">
        <pc:chgData name="Shiva0 Kumar" userId="89033066f8f0ef15" providerId="LiveId" clId="{AFEE8D3A-6FE5-4119-B5D6-26956AD41DB2}" dt="2024-05-31T12:38:32.124" v="4903" actId="2696"/>
        <pc:sldMkLst>
          <pc:docMk/>
          <pc:sldMk cId="3044477464" sldId="323"/>
        </pc:sldMkLst>
        <pc:spChg chg="del">
          <ac:chgData name="Shiva0 Kumar" userId="89033066f8f0ef15" providerId="LiveId" clId="{AFEE8D3A-6FE5-4119-B5D6-26956AD41DB2}" dt="2024-05-15T11:03:22.826" v="3335" actId="21"/>
          <ac:spMkLst>
            <pc:docMk/>
            <pc:sldMk cId="3044477464" sldId="323"/>
            <ac:spMk id="6" creationId="{D24DC781-AC70-4CCD-8B70-39BA47EBA0E9}"/>
          </ac:spMkLst>
        </pc:spChg>
      </pc:sldChg>
      <pc:sldChg chg="addSp delSp modSp add del mod modTransition">
        <pc:chgData name="Shiva0 Kumar" userId="89033066f8f0ef15" providerId="LiveId" clId="{AFEE8D3A-6FE5-4119-B5D6-26956AD41DB2}" dt="2024-06-01T03:17:29.512" v="7369"/>
        <pc:sldMkLst>
          <pc:docMk/>
          <pc:sldMk cId="1405748507" sldId="324"/>
        </pc:sldMkLst>
        <pc:spChg chg="add mod ord">
          <ac:chgData name="Shiva0 Kumar" userId="89033066f8f0ef15" providerId="LiveId" clId="{AFEE8D3A-6FE5-4119-B5D6-26956AD41DB2}" dt="2024-06-01T03:13:43.702" v="7336" actId="1076"/>
          <ac:spMkLst>
            <pc:docMk/>
            <pc:sldMk cId="1405748507" sldId="324"/>
            <ac:spMk id="3" creationId="{08D98AEE-E1F5-78C4-C7EE-294A582EC712}"/>
          </ac:spMkLst>
        </pc:spChg>
        <pc:spChg chg="del">
          <ac:chgData name="Shiva0 Kumar" userId="89033066f8f0ef15" providerId="LiveId" clId="{AFEE8D3A-6FE5-4119-B5D6-26956AD41DB2}" dt="2024-05-31T12:29:20.072" v="4761" actId="21"/>
          <ac:spMkLst>
            <pc:docMk/>
            <pc:sldMk cId="1405748507" sldId="324"/>
            <ac:spMk id="4" creationId="{F4A45F01-78F0-4AED-CA72-CF7D2B9615CC}"/>
          </ac:spMkLst>
        </pc:spChg>
        <pc:spChg chg="add del mod">
          <ac:chgData name="Shiva0 Kumar" userId="89033066f8f0ef15" providerId="LiveId" clId="{AFEE8D3A-6FE5-4119-B5D6-26956AD41DB2}" dt="2024-05-31T12:29:42.793" v="4796" actId="21"/>
          <ac:spMkLst>
            <pc:docMk/>
            <pc:sldMk cId="1405748507" sldId="324"/>
            <ac:spMk id="5" creationId="{53BDCF21-7C45-7F4A-460C-9BC62297025A}"/>
          </ac:spMkLst>
        </pc:spChg>
        <pc:spChg chg="add mod ord">
          <ac:chgData name="Shiva0 Kumar" userId="89033066f8f0ef15" providerId="LiveId" clId="{AFEE8D3A-6FE5-4119-B5D6-26956AD41DB2}" dt="2024-06-01T03:14:54.869" v="7348" actId="167"/>
          <ac:spMkLst>
            <pc:docMk/>
            <pc:sldMk cId="1405748507" sldId="324"/>
            <ac:spMk id="5" creationId="{88DCF067-D229-D401-EDFB-ADA1D9C212E3}"/>
          </ac:spMkLst>
        </pc:spChg>
        <pc:spChg chg="add mod">
          <ac:chgData name="Shiva0 Kumar" userId="89033066f8f0ef15" providerId="LiveId" clId="{AFEE8D3A-6FE5-4119-B5D6-26956AD41DB2}" dt="2024-06-01T03:13:35.604" v="7334" actId="20577"/>
          <ac:spMkLst>
            <pc:docMk/>
            <pc:sldMk cId="1405748507" sldId="324"/>
            <ac:spMk id="6" creationId="{BA1600EC-7EB9-18AD-CF5E-D8578C6990BC}"/>
          </ac:spMkLst>
        </pc:spChg>
        <pc:spChg chg="del">
          <ac:chgData name="Shiva0 Kumar" userId="89033066f8f0ef15" providerId="LiveId" clId="{AFEE8D3A-6FE5-4119-B5D6-26956AD41DB2}" dt="2024-05-15T11:03:48.825" v="3340" actId="21"/>
          <ac:spMkLst>
            <pc:docMk/>
            <pc:sldMk cId="1405748507" sldId="324"/>
            <ac:spMk id="6" creationId="{D24DC781-AC70-4CCD-8B70-39BA47EBA0E9}"/>
          </ac:spMkLst>
        </pc:spChg>
        <pc:spChg chg="add del mod">
          <ac:chgData name="Shiva0 Kumar" userId="89033066f8f0ef15" providerId="LiveId" clId="{AFEE8D3A-6FE5-4119-B5D6-26956AD41DB2}" dt="2024-06-01T03:13:26.246" v="7309"/>
          <ac:spMkLst>
            <pc:docMk/>
            <pc:sldMk cId="1405748507" sldId="324"/>
            <ac:spMk id="7" creationId="{17C7067F-7058-EC78-AD45-629292832C90}"/>
          </ac:spMkLst>
        </pc:spChg>
        <pc:spChg chg="add mod">
          <ac:chgData name="Shiva0 Kumar" userId="89033066f8f0ef15" providerId="LiveId" clId="{AFEE8D3A-6FE5-4119-B5D6-26956AD41DB2}" dt="2024-06-01T03:17:05.992" v="7368" actId="208"/>
          <ac:spMkLst>
            <pc:docMk/>
            <pc:sldMk cId="1405748507" sldId="324"/>
            <ac:spMk id="8" creationId="{9FD39DE7-2CDF-F6EF-279A-6C3375EA24CF}"/>
          </ac:spMkLst>
        </pc:spChg>
        <pc:spChg chg="add del mod">
          <ac:chgData name="Shiva0 Kumar" userId="89033066f8f0ef15" providerId="LiveId" clId="{AFEE8D3A-6FE5-4119-B5D6-26956AD41DB2}" dt="2024-05-31T12:35:57.466" v="4872" actId="21"/>
          <ac:spMkLst>
            <pc:docMk/>
            <pc:sldMk cId="1405748507" sldId="324"/>
            <ac:spMk id="8" creationId="{A1CD018B-536C-1A02-3999-2F97DF8624E9}"/>
          </ac:spMkLst>
        </pc:spChg>
        <pc:spChg chg="add mod">
          <ac:chgData name="Shiva0 Kumar" userId="89033066f8f0ef15" providerId="LiveId" clId="{AFEE8D3A-6FE5-4119-B5D6-26956AD41DB2}" dt="2024-05-31T12:33:50.232" v="4823"/>
          <ac:spMkLst>
            <pc:docMk/>
            <pc:sldMk cId="1405748507" sldId="324"/>
            <ac:spMk id="9" creationId="{3E201E56-79EF-EEE8-10D2-AF3C112C930A}"/>
          </ac:spMkLst>
        </pc:spChg>
        <pc:spChg chg="del">
          <ac:chgData name="Shiva0 Kumar" userId="89033066f8f0ef15" providerId="LiveId" clId="{AFEE8D3A-6FE5-4119-B5D6-26956AD41DB2}" dt="2024-05-31T12:29:09.660" v="4759" actId="21"/>
          <ac:spMkLst>
            <pc:docMk/>
            <pc:sldMk cId="1405748507" sldId="324"/>
            <ac:spMk id="11" creationId="{EFDE5DB5-4A97-D701-9D04-FF1F8B4DE9BA}"/>
          </ac:spMkLst>
        </pc:spChg>
        <pc:spChg chg="mod">
          <ac:chgData name="Shiva0 Kumar" userId="89033066f8f0ef15" providerId="LiveId" clId="{AFEE8D3A-6FE5-4119-B5D6-26956AD41DB2}" dt="2024-05-31T12:33:57.298" v="4824"/>
          <ac:spMkLst>
            <pc:docMk/>
            <pc:sldMk cId="1405748507" sldId="324"/>
            <ac:spMk id="15" creationId="{EEB7174D-99C1-D8F4-465E-E613CC8CD39F}"/>
          </ac:spMkLst>
        </pc:spChg>
        <pc:spChg chg="mod">
          <ac:chgData name="Shiva0 Kumar" userId="89033066f8f0ef15" providerId="LiveId" clId="{AFEE8D3A-6FE5-4119-B5D6-26956AD41DB2}" dt="2024-05-31T12:33:57.298" v="4824"/>
          <ac:spMkLst>
            <pc:docMk/>
            <pc:sldMk cId="1405748507" sldId="324"/>
            <ac:spMk id="16" creationId="{29A7B91A-36B5-31B6-E936-85CC2612283D}"/>
          </ac:spMkLst>
        </pc:spChg>
        <pc:spChg chg="add del mod">
          <ac:chgData name="Shiva0 Kumar" userId="89033066f8f0ef15" providerId="LiveId" clId="{AFEE8D3A-6FE5-4119-B5D6-26956AD41DB2}" dt="2024-06-01T03:13:22.075" v="7305" actId="21"/>
          <ac:spMkLst>
            <pc:docMk/>
            <pc:sldMk cId="1405748507" sldId="324"/>
            <ac:spMk id="17" creationId="{402D6FB5-EC01-4E71-5DDB-082F00909AAE}"/>
          </ac:spMkLst>
        </pc:spChg>
        <pc:grpChg chg="add mod">
          <ac:chgData name="Shiva0 Kumar" userId="89033066f8f0ef15" providerId="LiveId" clId="{AFEE8D3A-6FE5-4119-B5D6-26956AD41DB2}" dt="2024-05-31T12:33:57.298" v="4824"/>
          <ac:grpSpMkLst>
            <pc:docMk/>
            <pc:sldMk cId="1405748507" sldId="324"/>
            <ac:grpSpMk id="10" creationId="{F3D274C2-233A-B386-B3E3-F32A0E135CFA}"/>
          </ac:grpSpMkLst>
        </pc:grpChg>
        <pc:grpChg chg="del">
          <ac:chgData name="Shiva0 Kumar" userId="89033066f8f0ef15" providerId="LiveId" clId="{AFEE8D3A-6FE5-4119-B5D6-26956AD41DB2}" dt="2024-05-31T12:29:12.970" v="4760" actId="21"/>
          <ac:grpSpMkLst>
            <pc:docMk/>
            <pc:sldMk cId="1405748507" sldId="324"/>
            <ac:grpSpMk id="12" creationId="{CEB11757-CE84-94A6-4E0C-D8847F43721F}"/>
          </ac:grpSpMkLst>
        </pc:grpChg>
        <pc:graphicFrameChg chg="add mod">
          <ac:chgData name="Shiva0 Kumar" userId="89033066f8f0ef15" providerId="LiveId" clId="{AFEE8D3A-6FE5-4119-B5D6-26956AD41DB2}" dt="2024-06-01T03:16:26.098" v="7353"/>
          <ac:graphicFrameMkLst>
            <pc:docMk/>
            <pc:sldMk cId="1405748507" sldId="324"/>
            <ac:graphicFrameMk id="2" creationId="{4BF7EAFE-9402-9F26-BD83-89418301EECC}"/>
          </ac:graphicFrameMkLst>
        </pc:graphicFrameChg>
        <pc:graphicFrameChg chg="add mod">
          <ac:chgData name="Shiva0 Kumar" userId="89033066f8f0ef15" providerId="LiveId" clId="{AFEE8D3A-6FE5-4119-B5D6-26956AD41DB2}" dt="2024-06-01T03:17:29.512" v="7369"/>
          <ac:graphicFrameMkLst>
            <pc:docMk/>
            <pc:sldMk cId="1405748507" sldId="324"/>
            <ac:graphicFrameMk id="4" creationId="{4BFAEC6E-ED7A-D5D8-C974-BE29D15C8EF8}"/>
          </ac:graphicFrameMkLst>
        </pc:graphicFrameChg>
      </pc:sldChg>
      <pc:sldChg chg="delSp add del mod">
        <pc:chgData name="Shiva0 Kumar" userId="89033066f8f0ef15" providerId="LiveId" clId="{AFEE8D3A-6FE5-4119-B5D6-26956AD41DB2}" dt="2024-05-31T12:36:34.303" v="4874" actId="2696"/>
        <pc:sldMkLst>
          <pc:docMk/>
          <pc:sldMk cId="852865046" sldId="326"/>
        </pc:sldMkLst>
        <pc:spChg chg="del">
          <ac:chgData name="Shiva0 Kumar" userId="89033066f8f0ef15" providerId="LiveId" clId="{AFEE8D3A-6FE5-4119-B5D6-26956AD41DB2}" dt="2024-05-15T11:03:32.991" v="3337" actId="21"/>
          <ac:spMkLst>
            <pc:docMk/>
            <pc:sldMk cId="852865046" sldId="326"/>
            <ac:spMk id="6" creationId="{D24DC781-AC70-4CCD-8B70-39BA47EBA0E9}"/>
          </ac:spMkLst>
        </pc:spChg>
      </pc:sldChg>
      <pc:sldChg chg="delSp add del mod">
        <pc:chgData name="Shiva0 Kumar" userId="89033066f8f0ef15" providerId="LiveId" clId="{AFEE8D3A-6FE5-4119-B5D6-26956AD41DB2}" dt="2024-05-31T12:40:04.325" v="4947" actId="2696"/>
        <pc:sldMkLst>
          <pc:docMk/>
          <pc:sldMk cId="1653466768" sldId="330"/>
        </pc:sldMkLst>
        <pc:spChg chg="del">
          <ac:chgData name="Shiva0 Kumar" userId="89033066f8f0ef15" providerId="LiveId" clId="{AFEE8D3A-6FE5-4119-B5D6-26956AD41DB2}" dt="2024-05-15T11:03:12.002" v="3333" actId="21"/>
          <ac:spMkLst>
            <pc:docMk/>
            <pc:sldMk cId="1653466768" sldId="330"/>
            <ac:spMk id="6" creationId="{D24DC781-AC70-4CCD-8B70-39BA47EBA0E9}"/>
          </ac:spMkLst>
        </pc:spChg>
      </pc:sldChg>
      <pc:sldChg chg="delSp add del mod">
        <pc:chgData name="Shiva0 Kumar" userId="89033066f8f0ef15" providerId="LiveId" clId="{AFEE8D3A-6FE5-4119-B5D6-26956AD41DB2}" dt="2024-05-31T12:42:57.500" v="5052" actId="2696"/>
        <pc:sldMkLst>
          <pc:docMk/>
          <pc:sldMk cId="1266430995" sldId="333"/>
        </pc:sldMkLst>
        <pc:spChg chg="del">
          <ac:chgData name="Shiva0 Kumar" userId="89033066f8f0ef15" providerId="LiveId" clId="{AFEE8D3A-6FE5-4119-B5D6-26956AD41DB2}" dt="2024-05-15T11:02:50.906" v="3329" actId="21"/>
          <ac:spMkLst>
            <pc:docMk/>
            <pc:sldMk cId="1266430995" sldId="333"/>
            <ac:spMk id="6" creationId="{D24DC781-AC70-4CCD-8B70-39BA47EBA0E9}"/>
          </ac:spMkLst>
        </pc:spChg>
      </pc:sldChg>
      <pc:sldChg chg="delSp add del mod">
        <pc:chgData name="Shiva0 Kumar" userId="89033066f8f0ef15" providerId="LiveId" clId="{AFEE8D3A-6FE5-4119-B5D6-26956AD41DB2}" dt="2024-05-31T12:44:07.584" v="5107" actId="2696"/>
        <pc:sldMkLst>
          <pc:docMk/>
          <pc:sldMk cId="2991109616" sldId="334"/>
        </pc:sldMkLst>
        <pc:spChg chg="del">
          <ac:chgData name="Shiva0 Kumar" userId="89033066f8f0ef15" providerId="LiveId" clId="{AFEE8D3A-6FE5-4119-B5D6-26956AD41DB2}" dt="2024-05-15T11:02:35.675" v="3327" actId="21"/>
          <ac:spMkLst>
            <pc:docMk/>
            <pc:sldMk cId="2991109616" sldId="334"/>
            <ac:spMk id="6" creationId="{D24DC781-AC70-4CCD-8B70-39BA47EBA0E9}"/>
          </ac:spMkLst>
        </pc:spChg>
      </pc:sldChg>
      <pc:sldChg chg="delSp add del mod">
        <pc:chgData name="Shiva0 Kumar" userId="89033066f8f0ef15" providerId="LiveId" clId="{AFEE8D3A-6FE5-4119-B5D6-26956AD41DB2}" dt="2024-05-31T12:50:45.187" v="5199" actId="2696"/>
        <pc:sldMkLst>
          <pc:docMk/>
          <pc:sldMk cId="703343398" sldId="336"/>
        </pc:sldMkLst>
        <pc:spChg chg="del">
          <ac:chgData name="Shiva0 Kumar" userId="89033066f8f0ef15" providerId="LiveId" clId="{AFEE8D3A-6FE5-4119-B5D6-26956AD41DB2}" dt="2024-05-15T11:02:23.369" v="3325" actId="21"/>
          <ac:spMkLst>
            <pc:docMk/>
            <pc:sldMk cId="703343398" sldId="336"/>
            <ac:spMk id="6" creationId="{D24DC781-AC70-4CCD-8B70-39BA47EBA0E9}"/>
          </ac:spMkLst>
        </pc:spChg>
      </pc:sldChg>
      <pc:sldChg chg="delSp modSp add del mod">
        <pc:chgData name="Shiva0 Kumar" userId="89033066f8f0ef15" providerId="LiveId" clId="{AFEE8D3A-6FE5-4119-B5D6-26956AD41DB2}" dt="2024-05-31T12:52:13.421" v="5270" actId="2696"/>
        <pc:sldMkLst>
          <pc:docMk/>
          <pc:sldMk cId="2235534191" sldId="338"/>
        </pc:sldMkLst>
        <pc:spChg chg="del mod">
          <ac:chgData name="Shiva0 Kumar" userId="89033066f8f0ef15" providerId="LiveId" clId="{AFEE8D3A-6FE5-4119-B5D6-26956AD41DB2}" dt="2024-05-15T11:02:10.184" v="3323" actId="21"/>
          <ac:spMkLst>
            <pc:docMk/>
            <pc:sldMk cId="2235534191" sldId="338"/>
            <ac:spMk id="6" creationId="{D24DC781-AC70-4CCD-8B70-39BA47EBA0E9}"/>
          </ac:spMkLst>
        </pc:spChg>
      </pc:sldChg>
      <pc:sldChg chg="delSp del mod">
        <pc:chgData name="Shiva0 Kumar" userId="89033066f8f0ef15" providerId="LiveId" clId="{AFEE8D3A-6FE5-4119-B5D6-26956AD41DB2}" dt="2024-05-31T12:55:01.738" v="5398" actId="2696"/>
        <pc:sldMkLst>
          <pc:docMk/>
          <pc:sldMk cId="1058643663" sldId="341"/>
        </pc:sldMkLst>
        <pc:spChg chg="del">
          <ac:chgData name="Shiva0 Kumar" userId="89033066f8f0ef15" providerId="LiveId" clId="{AFEE8D3A-6FE5-4119-B5D6-26956AD41DB2}" dt="2024-05-15T11:01:55.724" v="3320" actId="21"/>
          <ac:spMkLst>
            <pc:docMk/>
            <pc:sldMk cId="1058643663" sldId="341"/>
            <ac:spMk id="6" creationId="{D24DC781-AC70-4CCD-8B70-39BA47EBA0E9}"/>
          </ac:spMkLst>
        </pc:spChg>
      </pc:sldChg>
      <pc:sldChg chg="addSp delSp modSp add del mod">
        <pc:chgData name="Shiva0 Kumar" userId="89033066f8f0ef15" providerId="LiveId" clId="{AFEE8D3A-6FE5-4119-B5D6-26956AD41DB2}" dt="2024-06-01T03:22:33.748" v="7451" actId="167"/>
        <pc:sldMkLst>
          <pc:docMk/>
          <pc:sldMk cId="3218471074" sldId="349"/>
        </pc:sldMkLst>
        <pc:spChg chg="add mod">
          <ac:chgData name="Shiva0 Kumar" userId="89033066f8f0ef15" providerId="LiveId" clId="{AFEE8D3A-6FE5-4119-B5D6-26956AD41DB2}" dt="2024-06-01T03:17:49.990" v="7393" actId="20577"/>
          <ac:spMkLst>
            <pc:docMk/>
            <pc:sldMk cId="3218471074" sldId="349"/>
            <ac:spMk id="2" creationId="{D038FD89-1CDF-5B3F-D9DD-A9BB36A75B64}"/>
          </ac:spMkLst>
        </pc:spChg>
        <pc:spChg chg="add mod ord">
          <ac:chgData name="Shiva0 Kumar" userId="89033066f8f0ef15" providerId="LiveId" clId="{AFEE8D3A-6FE5-4119-B5D6-26956AD41DB2}" dt="2024-06-01T03:20:36.419" v="7424" actId="14100"/>
          <ac:spMkLst>
            <pc:docMk/>
            <pc:sldMk cId="3218471074" sldId="349"/>
            <ac:spMk id="4" creationId="{3876A4C1-5460-3F43-E0EA-4059FF704F3E}"/>
          </ac:spMkLst>
        </pc:spChg>
        <pc:spChg chg="add mod">
          <ac:chgData name="Shiva0 Kumar" userId="89033066f8f0ef15" providerId="LiveId" clId="{AFEE8D3A-6FE5-4119-B5D6-26956AD41DB2}" dt="2024-05-15T06:12:05.574" v="602" actId="14100"/>
          <ac:spMkLst>
            <pc:docMk/>
            <pc:sldMk cId="3218471074" sldId="349"/>
            <ac:spMk id="5" creationId="{CBD650C2-9587-F03E-2EB6-255429413CF7}"/>
          </ac:spMkLst>
        </pc:spChg>
        <pc:spChg chg="add mod">
          <ac:chgData name="Shiva0 Kumar" userId="89033066f8f0ef15" providerId="LiveId" clId="{AFEE8D3A-6FE5-4119-B5D6-26956AD41DB2}" dt="2024-06-01T03:20:59.989" v="7429" actId="14100"/>
          <ac:spMkLst>
            <pc:docMk/>
            <pc:sldMk cId="3218471074" sldId="349"/>
            <ac:spMk id="6" creationId="{CA0B6236-6A3D-816F-3866-C3717E9F8376}"/>
          </ac:spMkLst>
        </pc:spChg>
        <pc:spChg chg="del">
          <ac:chgData name="Shiva0 Kumar" userId="89033066f8f0ef15" providerId="LiveId" clId="{AFEE8D3A-6FE5-4119-B5D6-26956AD41DB2}" dt="2024-05-15T11:03:37.394" v="3338" actId="21"/>
          <ac:spMkLst>
            <pc:docMk/>
            <pc:sldMk cId="3218471074" sldId="349"/>
            <ac:spMk id="6" creationId="{D24DC781-AC70-4CCD-8B70-39BA47EBA0E9}"/>
          </ac:spMkLst>
        </pc:spChg>
        <pc:spChg chg="add mod">
          <ac:chgData name="Shiva0 Kumar" userId="89033066f8f0ef15" providerId="LiveId" clId="{AFEE8D3A-6FE5-4119-B5D6-26956AD41DB2}" dt="2024-06-01T03:21:13.816" v="7432" actId="14100"/>
          <ac:spMkLst>
            <pc:docMk/>
            <pc:sldMk cId="3218471074" sldId="349"/>
            <ac:spMk id="7" creationId="{077D1801-F373-50D0-1592-579232876E39}"/>
          </ac:spMkLst>
        </pc:spChg>
        <pc:spChg chg="add mod">
          <ac:chgData name="Shiva0 Kumar" userId="89033066f8f0ef15" providerId="LiveId" clId="{AFEE8D3A-6FE5-4119-B5D6-26956AD41DB2}" dt="2024-06-01T03:21:33.560" v="7435" actId="14100"/>
          <ac:spMkLst>
            <pc:docMk/>
            <pc:sldMk cId="3218471074" sldId="349"/>
            <ac:spMk id="8" creationId="{0036038E-BA8B-E705-DA1F-83E7DE5F7D15}"/>
          </ac:spMkLst>
        </pc:spChg>
        <pc:spChg chg="mod">
          <ac:chgData name="Shiva0 Kumar" userId="89033066f8f0ef15" providerId="LiveId" clId="{AFEE8D3A-6FE5-4119-B5D6-26956AD41DB2}" dt="2024-05-31T12:37:30.769" v="4894" actId="207"/>
          <ac:spMkLst>
            <pc:docMk/>
            <pc:sldMk cId="3218471074" sldId="349"/>
            <ac:spMk id="11" creationId="{EFDE5DB5-4A97-D701-9D04-FF1F8B4DE9BA}"/>
          </ac:spMkLst>
        </pc:spChg>
        <pc:spChg chg="mod">
          <ac:chgData name="Shiva0 Kumar" userId="89033066f8f0ef15" providerId="LiveId" clId="{AFEE8D3A-6FE5-4119-B5D6-26956AD41DB2}" dt="2024-05-31T12:34:17.516" v="4826" actId="1076"/>
          <ac:spMkLst>
            <pc:docMk/>
            <pc:sldMk cId="3218471074" sldId="349"/>
            <ac:spMk id="13" creationId="{C971EE70-5A74-51B2-40F4-7664F031E696}"/>
          </ac:spMkLst>
        </pc:spChg>
        <pc:spChg chg="mod">
          <ac:chgData name="Shiva0 Kumar" userId="89033066f8f0ef15" providerId="LiveId" clId="{AFEE8D3A-6FE5-4119-B5D6-26956AD41DB2}" dt="2024-05-31T12:34:17.516" v="4826" actId="1076"/>
          <ac:spMkLst>
            <pc:docMk/>
            <pc:sldMk cId="3218471074" sldId="349"/>
            <ac:spMk id="14" creationId="{C9758D44-57A3-0511-7EE2-B9BA31A9EA59}"/>
          </ac:spMkLst>
        </pc:spChg>
        <pc:spChg chg="add mod ord">
          <ac:chgData name="Shiva0 Kumar" userId="89033066f8f0ef15" providerId="LiveId" clId="{AFEE8D3A-6FE5-4119-B5D6-26956AD41DB2}" dt="2024-06-01T03:22:33.748" v="7451" actId="167"/>
          <ac:spMkLst>
            <pc:docMk/>
            <pc:sldMk cId="3218471074" sldId="349"/>
            <ac:spMk id="15" creationId="{530592BD-DAB4-FCB2-4A72-BFAFC981D376}"/>
          </ac:spMkLst>
        </pc:spChg>
        <pc:spChg chg="del">
          <ac:chgData name="Shiva0 Kumar" userId="89033066f8f0ef15" providerId="LiveId" clId="{AFEE8D3A-6FE5-4119-B5D6-26956AD41DB2}" dt="2024-05-31T12:34:42.208" v="4827" actId="21"/>
          <ac:spMkLst>
            <pc:docMk/>
            <pc:sldMk cId="3218471074" sldId="349"/>
            <ac:spMk id="15" creationId="{F7DFA89A-DB78-4F13-61BC-A8DA727104C9}"/>
          </ac:spMkLst>
        </pc:spChg>
        <pc:spChg chg="add del mod ord">
          <ac:chgData name="Shiva0 Kumar" userId="89033066f8f0ef15" providerId="LiveId" clId="{AFEE8D3A-6FE5-4119-B5D6-26956AD41DB2}" dt="2024-05-15T05:50:18.800" v="367"/>
          <ac:spMkLst>
            <pc:docMk/>
            <pc:sldMk cId="3218471074" sldId="349"/>
            <ac:spMk id="17" creationId="{5D50BD11-89FF-F0E5-1ED9-BB7636B0ABFB}"/>
          </ac:spMkLst>
        </pc:spChg>
        <pc:spChg chg="add mod">
          <ac:chgData name="Shiva0 Kumar" userId="89033066f8f0ef15" providerId="LiveId" clId="{AFEE8D3A-6FE5-4119-B5D6-26956AD41DB2}" dt="2024-05-15T06:15:16.255" v="645" actId="14100"/>
          <ac:spMkLst>
            <pc:docMk/>
            <pc:sldMk cId="3218471074" sldId="349"/>
            <ac:spMk id="18" creationId="{21DB2C25-F04E-FA01-155C-8239AB525CDB}"/>
          </ac:spMkLst>
        </pc:spChg>
        <pc:spChg chg="add mod">
          <ac:chgData name="Shiva0 Kumar" userId="89033066f8f0ef15" providerId="LiveId" clId="{AFEE8D3A-6FE5-4119-B5D6-26956AD41DB2}" dt="2024-05-15T06:16:39.615" v="659" actId="1076"/>
          <ac:spMkLst>
            <pc:docMk/>
            <pc:sldMk cId="3218471074" sldId="349"/>
            <ac:spMk id="20" creationId="{FF67EC02-E548-59AF-3840-5A0FA93B3CD8}"/>
          </ac:spMkLst>
        </pc:spChg>
        <pc:spChg chg="add mod">
          <ac:chgData name="Shiva0 Kumar" userId="89033066f8f0ef15" providerId="LiveId" clId="{AFEE8D3A-6FE5-4119-B5D6-26956AD41DB2}" dt="2024-05-15T06:17:05.294" v="665" actId="1076"/>
          <ac:spMkLst>
            <pc:docMk/>
            <pc:sldMk cId="3218471074" sldId="349"/>
            <ac:spMk id="21" creationId="{6EA0845B-ED25-6011-D283-8471C60BB044}"/>
          </ac:spMkLst>
        </pc:spChg>
        <pc:spChg chg="add mod">
          <ac:chgData name="Shiva0 Kumar" userId="89033066f8f0ef15" providerId="LiveId" clId="{AFEE8D3A-6FE5-4119-B5D6-26956AD41DB2}" dt="2024-05-15T06:16:51.359" v="662" actId="1076"/>
          <ac:spMkLst>
            <pc:docMk/>
            <pc:sldMk cId="3218471074" sldId="349"/>
            <ac:spMk id="22" creationId="{A720C31C-6EDD-EB40-BBEF-FE6DF97F38A6}"/>
          </ac:spMkLst>
        </pc:spChg>
        <pc:spChg chg="add mod">
          <ac:chgData name="Shiva0 Kumar" userId="89033066f8f0ef15" providerId="LiveId" clId="{AFEE8D3A-6FE5-4119-B5D6-26956AD41DB2}" dt="2024-05-15T06:13:55.134" v="626" actId="1076"/>
          <ac:spMkLst>
            <pc:docMk/>
            <pc:sldMk cId="3218471074" sldId="349"/>
            <ac:spMk id="23" creationId="{86A8576A-C6CA-AE30-C4A4-B9088282D00D}"/>
          </ac:spMkLst>
        </pc:spChg>
        <pc:spChg chg="add mod">
          <ac:chgData name="Shiva0 Kumar" userId="89033066f8f0ef15" providerId="LiveId" clId="{AFEE8D3A-6FE5-4119-B5D6-26956AD41DB2}" dt="2024-05-15T06:14:48.274" v="640" actId="1076"/>
          <ac:spMkLst>
            <pc:docMk/>
            <pc:sldMk cId="3218471074" sldId="349"/>
            <ac:spMk id="24" creationId="{8FDB4328-9099-D7F7-BE0C-A9ADB3F359BE}"/>
          </ac:spMkLst>
        </pc:spChg>
        <pc:spChg chg="add mod">
          <ac:chgData name="Shiva0 Kumar" userId="89033066f8f0ef15" providerId="LiveId" clId="{AFEE8D3A-6FE5-4119-B5D6-26956AD41DB2}" dt="2024-05-15T06:14:21.658" v="633" actId="1076"/>
          <ac:spMkLst>
            <pc:docMk/>
            <pc:sldMk cId="3218471074" sldId="349"/>
            <ac:spMk id="25" creationId="{BF858FB7-3729-C78B-5A63-FC7A71F1FC82}"/>
          </ac:spMkLst>
        </pc:spChg>
        <pc:spChg chg="add mod">
          <ac:chgData name="Shiva0 Kumar" userId="89033066f8f0ef15" providerId="LiveId" clId="{AFEE8D3A-6FE5-4119-B5D6-26956AD41DB2}" dt="2024-05-15T06:15:08.262" v="643" actId="1076"/>
          <ac:spMkLst>
            <pc:docMk/>
            <pc:sldMk cId="3218471074" sldId="349"/>
            <ac:spMk id="26" creationId="{28E5C48A-F07B-5947-7A4E-8072128F9B41}"/>
          </ac:spMkLst>
        </pc:spChg>
        <pc:spChg chg="add mod">
          <ac:chgData name="Shiva0 Kumar" userId="89033066f8f0ef15" providerId="LiveId" clId="{AFEE8D3A-6FE5-4119-B5D6-26956AD41DB2}" dt="2024-05-15T05:54:05.443" v="465" actId="1076"/>
          <ac:spMkLst>
            <pc:docMk/>
            <pc:sldMk cId="3218471074" sldId="349"/>
            <ac:spMk id="27" creationId="{63103E25-C8CE-E3AF-E452-C62C48FE8059}"/>
          </ac:spMkLst>
        </pc:spChg>
        <pc:spChg chg="add mod">
          <ac:chgData name="Shiva0 Kumar" userId="89033066f8f0ef15" providerId="LiveId" clId="{AFEE8D3A-6FE5-4119-B5D6-26956AD41DB2}" dt="2024-05-15T06:14:40.109" v="636" actId="1076"/>
          <ac:spMkLst>
            <pc:docMk/>
            <pc:sldMk cId="3218471074" sldId="349"/>
            <ac:spMk id="28" creationId="{192D7EBA-8C8F-1C90-0366-12559DC2122A}"/>
          </ac:spMkLst>
        </pc:spChg>
        <pc:spChg chg="add mod">
          <ac:chgData name="Shiva0 Kumar" userId="89033066f8f0ef15" providerId="LiveId" clId="{AFEE8D3A-6FE5-4119-B5D6-26956AD41DB2}" dt="2024-05-15T06:14:13.192" v="629" actId="1076"/>
          <ac:spMkLst>
            <pc:docMk/>
            <pc:sldMk cId="3218471074" sldId="349"/>
            <ac:spMk id="29" creationId="{E8E02542-87E6-8B3E-D7CE-8617863D8A4A}"/>
          </ac:spMkLst>
        </pc:spChg>
        <pc:spChg chg="add mod">
          <ac:chgData name="Shiva0 Kumar" userId="89033066f8f0ef15" providerId="LiveId" clId="{AFEE8D3A-6FE5-4119-B5D6-26956AD41DB2}" dt="2024-05-15T06:13:45.447" v="623" actId="14100"/>
          <ac:spMkLst>
            <pc:docMk/>
            <pc:sldMk cId="3218471074" sldId="349"/>
            <ac:spMk id="30" creationId="{E224F763-156C-8BCD-0D6C-5781221D286B}"/>
          </ac:spMkLst>
        </pc:spChg>
        <pc:spChg chg="add del mod">
          <ac:chgData name="Shiva0 Kumar" userId="89033066f8f0ef15" providerId="LiveId" clId="{AFEE8D3A-6FE5-4119-B5D6-26956AD41DB2}" dt="2024-05-15T06:14:54.130" v="641" actId="208"/>
          <ac:spMkLst>
            <pc:docMk/>
            <pc:sldMk cId="3218471074" sldId="349"/>
            <ac:spMk id="31" creationId="{FA4DCBAB-E535-9D7D-C409-6EC69FED0AC3}"/>
          </ac:spMkLst>
        </pc:spChg>
        <pc:spChg chg="add mod">
          <ac:chgData name="Shiva0 Kumar" userId="89033066f8f0ef15" providerId="LiveId" clId="{AFEE8D3A-6FE5-4119-B5D6-26956AD41DB2}" dt="2024-05-15T06:31:14.933" v="848" actId="207"/>
          <ac:spMkLst>
            <pc:docMk/>
            <pc:sldMk cId="3218471074" sldId="349"/>
            <ac:spMk id="34" creationId="{4766BD5A-7A13-5739-1D88-2C4E82EDC4C7}"/>
          </ac:spMkLst>
        </pc:spChg>
        <pc:spChg chg="add del mod ord">
          <ac:chgData name="Shiva0 Kumar" userId="89033066f8f0ef15" providerId="LiveId" clId="{AFEE8D3A-6FE5-4119-B5D6-26956AD41DB2}" dt="2024-05-15T06:08:01.460" v="553" actId="21"/>
          <ac:spMkLst>
            <pc:docMk/>
            <pc:sldMk cId="3218471074" sldId="349"/>
            <ac:spMk id="41" creationId="{9BE70CC9-968D-5F45-173E-8E466F6E623D}"/>
          </ac:spMkLst>
        </pc:spChg>
        <pc:spChg chg="add mod">
          <ac:chgData name="Shiva0 Kumar" userId="89033066f8f0ef15" providerId="LiveId" clId="{AFEE8D3A-6FE5-4119-B5D6-26956AD41DB2}" dt="2024-05-15T06:08:17.285" v="556" actId="1076"/>
          <ac:spMkLst>
            <pc:docMk/>
            <pc:sldMk cId="3218471074" sldId="349"/>
            <ac:spMk id="42" creationId="{A02BF148-BCB4-9481-E9A0-CA20588EA1CB}"/>
          </ac:spMkLst>
        </pc:spChg>
        <pc:spChg chg="add del mod">
          <ac:chgData name="Shiva0 Kumar" userId="89033066f8f0ef15" providerId="LiveId" clId="{AFEE8D3A-6FE5-4119-B5D6-26956AD41DB2}" dt="2024-06-01T03:17:40.092" v="7370" actId="21"/>
          <ac:spMkLst>
            <pc:docMk/>
            <pc:sldMk cId="3218471074" sldId="349"/>
            <ac:spMk id="43" creationId="{B089842B-D9DA-BDE9-E8AD-BEA27BFF7E01}"/>
          </ac:spMkLst>
        </pc:spChg>
        <pc:spChg chg="add del mod">
          <ac:chgData name="Shiva0 Kumar" userId="89033066f8f0ef15" providerId="LiveId" clId="{AFEE8D3A-6FE5-4119-B5D6-26956AD41DB2}" dt="2024-06-01T03:17:43.308" v="7371" actId="21"/>
          <ac:spMkLst>
            <pc:docMk/>
            <pc:sldMk cId="3218471074" sldId="349"/>
            <ac:spMk id="44" creationId="{17088FBC-50B2-39B2-19E3-FC1A3FAA94D9}"/>
          </ac:spMkLst>
        </pc:spChg>
        <pc:grpChg chg="mod">
          <ac:chgData name="Shiva0 Kumar" userId="89033066f8f0ef15" providerId="LiveId" clId="{AFEE8D3A-6FE5-4119-B5D6-26956AD41DB2}" dt="2024-05-31T12:37:49.355" v="4897" actId="207"/>
          <ac:grpSpMkLst>
            <pc:docMk/>
            <pc:sldMk cId="3218471074" sldId="349"/>
            <ac:grpSpMk id="12" creationId="{CEB11757-CE84-94A6-4E0C-D8847F43721F}"/>
          </ac:grpSpMkLst>
        </pc:grpChg>
        <pc:graphicFrameChg chg="add mod">
          <ac:chgData name="Shiva0 Kumar" userId="89033066f8f0ef15" providerId="LiveId" clId="{AFEE8D3A-6FE5-4119-B5D6-26956AD41DB2}" dt="2024-05-15T05:42:25.900" v="264" actId="12084"/>
          <ac:graphicFrameMkLst>
            <pc:docMk/>
            <pc:sldMk cId="3218471074" sldId="349"/>
            <ac:graphicFrameMk id="4" creationId="{A3AEF61C-6BAD-0F04-ACE7-F87CCA1CE1E3}"/>
          </ac:graphicFrameMkLst>
        </pc:graphicFrameChg>
        <pc:graphicFrameChg chg="add mod">
          <ac:chgData name="Shiva0 Kumar" userId="89033066f8f0ef15" providerId="LiveId" clId="{AFEE8D3A-6FE5-4119-B5D6-26956AD41DB2}" dt="2024-06-01T03:22:00.030" v="7445" actId="1076"/>
          <ac:graphicFrameMkLst>
            <pc:docMk/>
            <pc:sldMk cId="3218471074" sldId="349"/>
            <ac:graphicFrameMk id="10" creationId="{FF79A276-0802-42B5-5D48-BFEBC074BC9F}"/>
          </ac:graphicFrameMkLst>
        </pc:graphicFrameChg>
        <pc:picChg chg="add mod">
          <ac:chgData name="Shiva0 Kumar" userId="89033066f8f0ef15" providerId="LiveId" clId="{AFEE8D3A-6FE5-4119-B5D6-26956AD41DB2}" dt="2024-06-01T03:20:24.195" v="7421" actId="1076"/>
          <ac:picMkLst>
            <pc:docMk/>
            <pc:sldMk cId="3218471074" sldId="349"/>
            <ac:picMk id="3" creationId="{616A23E4-2083-9F67-6C34-2194A45D3773}"/>
          </ac:picMkLst>
        </pc:picChg>
        <pc:picChg chg="add del mod">
          <ac:chgData name="Shiva0 Kumar" userId="89033066f8f0ef15" providerId="LiveId" clId="{AFEE8D3A-6FE5-4119-B5D6-26956AD41DB2}" dt="2024-05-15T05:42:52.957" v="271" actId="21"/>
          <ac:picMkLst>
            <pc:docMk/>
            <pc:sldMk cId="3218471074" sldId="349"/>
            <ac:picMk id="3" creationId="{BC33ABA5-CF6D-B896-9546-A5E38B859F73}"/>
          </ac:picMkLst>
        </pc:picChg>
        <pc:picChg chg="add del mod modCrop">
          <ac:chgData name="Shiva0 Kumar" userId="89033066f8f0ef15" providerId="LiveId" clId="{AFEE8D3A-6FE5-4119-B5D6-26956AD41DB2}" dt="2024-05-15T05:46:26.526" v="280" actId="21"/>
          <ac:picMkLst>
            <pc:docMk/>
            <pc:sldMk cId="3218471074" sldId="349"/>
            <ac:picMk id="8" creationId="{88E2042D-0931-AC03-7929-A2B29BA2C40F}"/>
          </ac:picMkLst>
        </pc:picChg>
        <pc:picChg chg="add mod modCrop">
          <ac:chgData name="Shiva0 Kumar" userId="89033066f8f0ef15" providerId="LiveId" clId="{AFEE8D3A-6FE5-4119-B5D6-26956AD41DB2}" dt="2024-05-15T06:12:11.670" v="603" actId="14100"/>
          <ac:picMkLst>
            <pc:docMk/>
            <pc:sldMk cId="3218471074" sldId="349"/>
            <ac:picMk id="16" creationId="{1F70698F-F097-FE63-596F-E5D9DDA52A4D}"/>
          </ac:picMkLst>
        </pc:picChg>
        <pc:picChg chg="add mod modCrop">
          <ac:chgData name="Shiva0 Kumar" userId="89033066f8f0ef15" providerId="LiveId" clId="{AFEE8D3A-6FE5-4119-B5D6-26956AD41DB2}" dt="2024-05-15T09:19:21.983" v="2580" actId="1076"/>
          <ac:picMkLst>
            <pc:docMk/>
            <pc:sldMk cId="3218471074" sldId="349"/>
            <ac:picMk id="40" creationId="{0F26C87C-6210-19AE-E0A2-E12168B732F9}"/>
          </ac:picMkLst>
        </pc:picChg>
        <pc:cxnChg chg="add mod">
          <ac:chgData name="Shiva0 Kumar" userId="89033066f8f0ef15" providerId="LiveId" clId="{AFEE8D3A-6FE5-4119-B5D6-26956AD41DB2}" dt="2024-05-15T06:12:51.813" v="609" actId="1076"/>
          <ac:cxnSpMkLst>
            <pc:docMk/>
            <pc:sldMk cId="3218471074" sldId="349"/>
            <ac:cxnSpMk id="33" creationId="{F80BBD74-2739-D6E7-2DEF-71C15EE946A8}"/>
          </ac:cxnSpMkLst>
        </pc:cxnChg>
        <pc:cxnChg chg="add mod">
          <ac:chgData name="Shiva0 Kumar" userId="89033066f8f0ef15" providerId="LiveId" clId="{AFEE8D3A-6FE5-4119-B5D6-26956AD41DB2}" dt="2024-05-15T06:12:30.318" v="606" actId="14100"/>
          <ac:cxnSpMkLst>
            <pc:docMk/>
            <pc:sldMk cId="3218471074" sldId="349"/>
            <ac:cxnSpMk id="36" creationId="{22D037FA-EC51-EF5F-AA0A-01C2F3EF53CF}"/>
          </ac:cxnSpMkLst>
        </pc:cxnChg>
      </pc:sldChg>
      <pc:sldChg chg="addSp delSp modSp add del mod">
        <pc:chgData name="Shiva0 Kumar" userId="89033066f8f0ef15" providerId="LiveId" clId="{AFEE8D3A-6FE5-4119-B5D6-26956AD41DB2}" dt="2024-06-01T03:19:14.430" v="7407" actId="2696"/>
        <pc:sldMkLst>
          <pc:docMk/>
          <pc:sldMk cId="3478963049" sldId="350"/>
        </pc:sldMkLst>
        <pc:spChg chg="add mod">
          <ac:chgData name="Shiva0 Kumar" userId="89033066f8f0ef15" providerId="LiveId" clId="{AFEE8D3A-6FE5-4119-B5D6-26956AD41DB2}" dt="2024-05-31T12:36:55.569" v="4893" actId="20577"/>
          <ac:spMkLst>
            <pc:docMk/>
            <pc:sldMk cId="3478963049" sldId="350"/>
            <ac:spMk id="2" creationId="{C6C02059-F43D-7E40-5813-FAA19477B9C6}"/>
          </ac:spMkLst>
        </pc:spChg>
        <pc:spChg chg="del mod">
          <ac:chgData name="Shiva0 Kumar" userId="89033066f8f0ef15" providerId="LiveId" clId="{AFEE8D3A-6FE5-4119-B5D6-26956AD41DB2}" dt="2024-05-31T12:36:40.359" v="4875" actId="21"/>
          <ac:spMkLst>
            <pc:docMk/>
            <pc:sldMk cId="3478963049" sldId="350"/>
            <ac:spMk id="4" creationId="{F4A45F01-78F0-4AED-CA72-CF7D2B9615CC}"/>
          </ac:spMkLst>
        </pc:spChg>
        <pc:spChg chg="add mod ord">
          <ac:chgData name="Shiva0 Kumar" userId="89033066f8f0ef15" providerId="LiveId" clId="{AFEE8D3A-6FE5-4119-B5D6-26956AD41DB2}" dt="2024-05-15T06:42:07.702" v="879" actId="14100"/>
          <ac:spMkLst>
            <pc:docMk/>
            <pc:sldMk cId="3478963049" sldId="350"/>
            <ac:spMk id="5" creationId="{EFE90D1C-C267-FCFB-C833-DA7F66CDEE7F}"/>
          </ac:spMkLst>
        </pc:spChg>
        <pc:spChg chg="del">
          <ac:chgData name="Shiva0 Kumar" userId="89033066f8f0ef15" providerId="LiveId" clId="{AFEE8D3A-6FE5-4119-B5D6-26956AD41DB2}" dt="2024-05-15T11:03:27.727" v="3336" actId="21"/>
          <ac:spMkLst>
            <pc:docMk/>
            <pc:sldMk cId="3478963049" sldId="350"/>
            <ac:spMk id="6" creationId="{D24DC781-AC70-4CCD-8B70-39BA47EBA0E9}"/>
          </ac:spMkLst>
        </pc:spChg>
        <pc:spChg chg="mod">
          <ac:chgData name="Shiva0 Kumar" userId="89033066f8f0ef15" providerId="LiveId" clId="{AFEE8D3A-6FE5-4119-B5D6-26956AD41DB2}" dt="2024-05-31T12:38:19.302" v="4902" actId="1076"/>
          <ac:spMkLst>
            <pc:docMk/>
            <pc:sldMk cId="3478963049" sldId="350"/>
            <ac:spMk id="11" creationId="{EFDE5DB5-4A97-D701-9D04-FF1F8B4DE9BA}"/>
          </ac:spMkLst>
        </pc:spChg>
        <pc:spChg chg="mod">
          <ac:chgData name="Shiva0 Kumar" userId="89033066f8f0ef15" providerId="LiveId" clId="{AFEE8D3A-6FE5-4119-B5D6-26956AD41DB2}" dt="2024-05-31T12:38:06.505" v="4899" actId="1076"/>
          <ac:spMkLst>
            <pc:docMk/>
            <pc:sldMk cId="3478963049" sldId="350"/>
            <ac:spMk id="13" creationId="{C971EE70-5A74-51B2-40F4-7664F031E696}"/>
          </ac:spMkLst>
        </pc:spChg>
        <pc:spChg chg="mod">
          <ac:chgData name="Shiva0 Kumar" userId="89033066f8f0ef15" providerId="LiveId" clId="{AFEE8D3A-6FE5-4119-B5D6-26956AD41DB2}" dt="2024-05-31T12:38:06.505" v="4899" actId="1076"/>
          <ac:spMkLst>
            <pc:docMk/>
            <pc:sldMk cId="3478963049" sldId="350"/>
            <ac:spMk id="14" creationId="{C9758D44-57A3-0511-7EE2-B9BA31A9EA59}"/>
          </ac:spMkLst>
        </pc:spChg>
        <pc:spChg chg="add mod">
          <ac:chgData name="Shiva0 Kumar" userId="89033066f8f0ef15" providerId="LiveId" clId="{AFEE8D3A-6FE5-4119-B5D6-26956AD41DB2}" dt="2024-05-15T06:43:35.142" v="896" actId="14100"/>
          <ac:spMkLst>
            <pc:docMk/>
            <pc:sldMk cId="3478963049" sldId="350"/>
            <ac:spMk id="15" creationId="{9F76826B-75B3-8AB8-32E1-35415DA0E18E}"/>
          </ac:spMkLst>
        </pc:spChg>
        <pc:spChg chg="add mod">
          <ac:chgData name="Shiva0 Kumar" userId="89033066f8f0ef15" providerId="LiveId" clId="{AFEE8D3A-6FE5-4119-B5D6-26956AD41DB2}" dt="2024-05-15T09:20:55.001" v="2598" actId="1076"/>
          <ac:spMkLst>
            <pc:docMk/>
            <pc:sldMk cId="3478963049" sldId="350"/>
            <ac:spMk id="21" creationId="{DFA5FF74-16F5-6156-4F8C-9B8D072A75FA}"/>
          </ac:spMkLst>
        </pc:spChg>
        <pc:spChg chg="add mod">
          <ac:chgData name="Shiva0 Kumar" userId="89033066f8f0ef15" providerId="LiveId" clId="{AFEE8D3A-6FE5-4119-B5D6-26956AD41DB2}" dt="2024-05-15T06:45:24.853" v="919" actId="14100"/>
          <ac:spMkLst>
            <pc:docMk/>
            <pc:sldMk cId="3478963049" sldId="350"/>
            <ac:spMk id="22" creationId="{04E62D0D-EC0D-2645-24AB-7BF1F4D9C4D6}"/>
          </ac:spMkLst>
        </pc:spChg>
        <pc:spChg chg="add mod">
          <ac:chgData name="Shiva0 Kumar" userId="89033066f8f0ef15" providerId="LiveId" clId="{AFEE8D3A-6FE5-4119-B5D6-26956AD41DB2}" dt="2024-05-15T07:07:24.996" v="920"/>
          <ac:spMkLst>
            <pc:docMk/>
            <pc:sldMk cId="3478963049" sldId="350"/>
            <ac:spMk id="23" creationId="{9982146A-B489-D625-1AE3-D11BBB60B5EF}"/>
          </ac:spMkLst>
        </pc:spChg>
        <pc:spChg chg="add del mod">
          <ac:chgData name="Shiva0 Kumar" userId="89033066f8f0ef15" providerId="LiveId" clId="{AFEE8D3A-6FE5-4119-B5D6-26956AD41DB2}" dt="2024-05-15T07:09:33.345" v="1018" actId="21"/>
          <ac:spMkLst>
            <pc:docMk/>
            <pc:sldMk cId="3478963049" sldId="350"/>
            <ac:spMk id="24" creationId="{C5F5A85A-EE49-BB00-369B-BDC06E10894F}"/>
          </ac:spMkLst>
        </pc:spChg>
        <pc:spChg chg="add mod">
          <ac:chgData name="Shiva0 Kumar" userId="89033066f8f0ef15" providerId="LiveId" clId="{AFEE8D3A-6FE5-4119-B5D6-26956AD41DB2}" dt="2024-05-15T07:23:35.152" v="1287" actId="20577"/>
          <ac:spMkLst>
            <pc:docMk/>
            <pc:sldMk cId="3478963049" sldId="350"/>
            <ac:spMk id="25" creationId="{7E348DC5-039D-E766-7E2B-4CCACAE6F03F}"/>
          </ac:spMkLst>
        </pc:spChg>
        <pc:grpChg chg="mod">
          <ac:chgData name="Shiva0 Kumar" userId="89033066f8f0ef15" providerId="LiveId" clId="{AFEE8D3A-6FE5-4119-B5D6-26956AD41DB2}" dt="2024-05-31T12:38:10.705" v="4900" actId="207"/>
          <ac:grpSpMkLst>
            <pc:docMk/>
            <pc:sldMk cId="3478963049" sldId="350"/>
            <ac:grpSpMk id="12" creationId="{CEB11757-CE84-94A6-4E0C-D8847F43721F}"/>
          </ac:grpSpMkLst>
        </pc:grpChg>
        <pc:picChg chg="add del mod modCrop">
          <ac:chgData name="Shiva0 Kumar" userId="89033066f8f0ef15" providerId="LiveId" clId="{AFEE8D3A-6FE5-4119-B5D6-26956AD41DB2}" dt="2024-05-15T06:38:40.969" v="865" actId="21"/>
          <ac:picMkLst>
            <pc:docMk/>
            <pc:sldMk cId="3478963049" sldId="350"/>
            <ac:picMk id="3" creationId="{E6D4C705-110D-A706-DA28-092D0C1899BE}"/>
          </ac:picMkLst>
        </pc:picChg>
        <pc:picChg chg="add del mod">
          <ac:chgData name="Shiva0 Kumar" userId="89033066f8f0ef15" providerId="LiveId" clId="{AFEE8D3A-6FE5-4119-B5D6-26956AD41DB2}" dt="2024-05-15T06:39:38.510" v="869" actId="21"/>
          <ac:picMkLst>
            <pc:docMk/>
            <pc:sldMk cId="3478963049" sldId="350"/>
            <ac:picMk id="8" creationId="{204ED70C-1F1C-2C58-DDE6-04AAB124CECC}"/>
          </ac:picMkLst>
        </pc:picChg>
        <pc:picChg chg="add mod">
          <ac:chgData name="Shiva0 Kumar" userId="89033066f8f0ef15" providerId="LiveId" clId="{AFEE8D3A-6FE5-4119-B5D6-26956AD41DB2}" dt="2024-05-15T06:42:01.799" v="878" actId="1076"/>
          <ac:picMkLst>
            <pc:docMk/>
            <pc:sldMk cId="3478963049" sldId="350"/>
            <ac:picMk id="10" creationId="{5E4BE0B0-85DE-168B-AB6D-C09DFF1CC3FB}"/>
          </ac:picMkLst>
        </pc:picChg>
        <pc:cxnChg chg="add mod">
          <ac:chgData name="Shiva0 Kumar" userId="89033066f8f0ef15" providerId="LiveId" clId="{AFEE8D3A-6FE5-4119-B5D6-26956AD41DB2}" dt="2024-05-15T09:20:55.001" v="2598" actId="1076"/>
          <ac:cxnSpMkLst>
            <pc:docMk/>
            <pc:sldMk cId="3478963049" sldId="350"/>
            <ac:cxnSpMk id="17" creationId="{FB005ED6-75D6-F2BE-FFC8-BC4D253E6CA3}"/>
          </ac:cxnSpMkLst>
        </pc:cxnChg>
        <pc:cxnChg chg="add mod">
          <ac:chgData name="Shiva0 Kumar" userId="89033066f8f0ef15" providerId="LiveId" clId="{AFEE8D3A-6FE5-4119-B5D6-26956AD41DB2}" dt="2024-05-15T06:43:16.750" v="893" actId="1076"/>
          <ac:cxnSpMkLst>
            <pc:docMk/>
            <pc:sldMk cId="3478963049" sldId="350"/>
            <ac:cxnSpMk id="20" creationId="{63627B0D-14C1-D642-DF44-795771E32875}"/>
          </ac:cxnSpMkLst>
        </pc:cxnChg>
      </pc:sldChg>
      <pc:sldChg chg="addSp delSp modSp add del mod">
        <pc:chgData name="Shiva0 Kumar" userId="89033066f8f0ef15" providerId="LiveId" clId="{AFEE8D3A-6FE5-4119-B5D6-26956AD41DB2}" dt="2024-06-01T03:23:13.972" v="7492" actId="2696"/>
        <pc:sldMkLst>
          <pc:docMk/>
          <pc:sldMk cId="156458023" sldId="351"/>
        </pc:sldMkLst>
        <pc:spChg chg="add mod">
          <ac:chgData name="Shiva0 Kumar" userId="89033066f8f0ef15" providerId="LiveId" clId="{AFEE8D3A-6FE5-4119-B5D6-26956AD41DB2}" dt="2024-06-01T03:22:54.970" v="7488" actId="20577"/>
          <ac:spMkLst>
            <pc:docMk/>
            <pc:sldMk cId="156458023" sldId="351"/>
            <ac:spMk id="2" creationId="{54C3D80A-7092-B4E4-8599-A3AF3026E592}"/>
          </ac:spMkLst>
        </pc:spChg>
        <pc:spChg chg="add del mod">
          <ac:chgData name="Shiva0 Kumar" userId="89033066f8f0ef15" providerId="LiveId" clId="{AFEE8D3A-6FE5-4119-B5D6-26956AD41DB2}" dt="2024-05-15T07:12:38.736" v="1235" actId="21"/>
          <ac:spMkLst>
            <pc:docMk/>
            <pc:sldMk cId="156458023" sldId="351"/>
            <ac:spMk id="2" creationId="{64EB5A0D-B08F-B790-9018-130F87914A3F}"/>
          </ac:spMkLst>
        </pc:spChg>
        <pc:spChg chg="add del mod ord">
          <ac:chgData name="Shiva0 Kumar" userId="89033066f8f0ef15" providerId="LiveId" clId="{AFEE8D3A-6FE5-4119-B5D6-26956AD41DB2}" dt="2024-06-01T03:23:05.923" v="7491" actId="21"/>
          <ac:spMkLst>
            <pc:docMk/>
            <pc:sldMk cId="156458023" sldId="351"/>
            <ac:spMk id="4" creationId="{646A5250-C3A8-9C73-B2CC-D00F319BB5E3}"/>
          </ac:spMkLst>
        </pc:spChg>
        <pc:spChg chg="add del mod">
          <ac:chgData name="Shiva0 Kumar" userId="89033066f8f0ef15" providerId="LiveId" clId="{AFEE8D3A-6FE5-4119-B5D6-26956AD41DB2}" dt="2024-05-15T08:43:41.159" v="1862" actId="21"/>
          <ac:spMkLst>
            <pc:docMk/>
            <pc:sldMk cId="156458023" sldId="351"/>
            <ac:spMk id="5" creationId="{D12C196D-2B3E-18AE-C511-1216D86C9224}"/>
          </ac:spMkLst>
        </pc:spChg>
        <pc:spChg chg="del">
          <ac:chgData name="Shiva0 Kumar" userId="89033066f8f0ef15" providerId="LiveId" clId="{AFEE8D3A-6FE5-4119-B5D6-26956AD41DB2}" dt="2024-05-15T11:03:16.948" v="3334" actId="21"/>
          <ac:spMkLst>
            <pc:docMk/>
            <pc:sldMk cId="156458023" sldId="351"/>
            <ac:spMk id="6" creationId="{D24DC781-AC70-4CCD-8B70-39BA47EBA0E9}"/>
          </ac:spMkLst>
        </pc:spChg>
        <pc:spChg chg="add del mod">
          <ac:chgData name="Shiva0 Kumar" userId="89033066f8f0ef15" providerId="LiveId" clId="{AFEE8D3A-6FE5-4119-B5D6-26956AD41DB2}" dt="2024-06-01T03:23:02.346" v="7490" actId="21"/>
          <ac:spMkLst>
            <pc:docMk/>
            <pc:sldMk cId="156458023" sldId="351"/>
            <ac:spMk id="7" creationId="{230206BF-2444-79E5-031E-ED25C03D8D58}"/>
          </ac:spMkLst>
        </pc:spChg>
        <pc:spChg chg="add del mod">
          <ac:chgData name="Shiva0 Kumar" userId="89033066f8f0ef15" providerId="LiveId" clId="{AFEE8D3A-6FE5-4119-B5D6-26956AD41DB2}" dt="2024-06-01T03:22:58.558" v="7489" actId="21"/>
          <ac:spMkLst>
            <pc:docMk/>
            <pc:sldMk cId="156458023" sldId="351"/>
            <ac:spMk id="8" creationId="{6CED0844-EFBC-580E-FFE1-16A08A1C3B81}"/>
          </ac:spMkLst>
        </pc:spChg>
        <pc:spChg chg="mod">
          <ac:chgData name="Shiva0 Kumar" userId="89033066f8f0ef15" providerId="LiveId" clId="{AFEE8D3A-6FE5-4119-B5D6-26956AD41DB2}" dt="2024-05-31T12:39:57.746" v="4946" actId="207"/>
          <ac:spMkLst>
            <pc:docMk/>
            <pc:sldMk cId="156458023" sldId="351"/>
            <ac:spMk id="11" creationId="{EFDE5DB5-4A97-D701-9D04-FF1F8B4DE9BA}"/>
          </ac:spMkLst>
        </pc:spChg>
        <pc:spChg chg="mod">
          <ac:chgData name="Shiva0 Kumar" userId="89033066f8f0ef15" providerId="LiveId" clId="{AFEE8D3A-6FE5-4119-B5D6-26956AD41DB2}" dt="2024-05-31T12:39:34.507" v="4944" actId="1076"/>
          <ac:spMkLst>
            <pc:docMk/>
            <pc:sldMk cId="156458023" sldId="351"/>
            <ac:spMk id="13" creationId="{C971EE70-5A74-51B2-40F4-7664F031E696}"/>
          </ac:spMkLst>
        </pc:spChg>
        <pc:spChg chg="mod">
          <ac:chgData name="Shiva0 Kumar" userId="89033066f8f0ef15" providerId="LiveId" clId="{AFEE8D3A-6FE5-4119-B5D6-26956AD41DB2}" dt="2024-05-31T12:39:34.507" v="4944" actId="1076"/>
          <ac:spMkLst>
            <pc:docMk/>
            <pc:sldMk cId="156458023" sldId="351"/>
            <ac:spMk id="14" creationId="{C9758D44-57A3-0511-7EE2-B9BA31A9EA59}"/>
          </ac:spMkLst>
        </pc:spChg>
        <pc:spChg chg="del">
          <ac:chgData name="Shiva0 Kumar" userId="89033066f8f0ef15" providerId="LiveId" clId="{AFEE8D3A-6FE5-4119-B5D6-26956AD41DB2}" dt="2024-05-31T12:38:40.965" v="4904" actId="21"/>
          <ac:spMkLst>
            <pc:docMk/>
            <pc:sldMk cId="156458023" sldId="351"/>
            <ac:spMk id="15" creationId="{F7DFA89A-DB78-4F13-61BC-A8DA727104C9}"/>
          </ac:spMkLst>
        </pc:spChg>
        <pc:grpChg chg="mod">
          <ac:chgData name="Shiva0 Kumar" userId="89033066f8f0ef15" providerId="LiveId" clId="{AFEE8D3A-6FE5-4119-B5D6-26956AD41DB2}" dt="2024-05-31T12:39:52.760" v="4945" actId="207"/>
          <ac:grpSpMkLst>
            <pc:docMk/>
            <pc:sldMk cId="156458023" sldId="351"/>
            <ac:grpSpMk id="12" creationId="{CEB11757-CE84-94A6-4E0C-D8847F43721F}"/>
          </ac:grpSpMkLst>
        </pc:grpChg>
        <pc:graphicFrameChg chg="add mod">
          <ac:chgData name="Shiva0 Kumar" userId="89033066f8f0ef15" providerId="LiveId" clId="{AFEE8D3A-6FE5-4119-B5D6-26956AD41DB2}" dt="2024-05-15T07:15:20.791" v="1257" actId="1076"/>
          <ac:graphicFrameMkLst>
            <pc:docMk/>
            <pc:sldMk cId="156458023" sldId="351"/>
            <ac:graphicFrameMk id="3" creationId="{B3404660-CA04-E84A-26E6-ACECE005800C}"/>
          </ac:graphicFrameMkLst>
        </pc:graphicFrameChg>
      </pc:sldChg>
      <pc:sldChg chg="addSp delSp modSp add del mod ord">
        <pc:chgData name="Shiva0 Kumar" userId="89033066f8f0ef15" providerId="LiveId" clId="{AFEE8D3A-6FE5-4119-B5D6-26956AD41DB2}" dt="2024-06-01T03:26:28.460" v="7556" actId="1076"/>
        <pc:sldMkLst>
          <pc:docMk/>
          <pc:sldMk cId="4151276595" sldId="352"/>
        </pc:sldMkLst>
        <pc:spChg chg="add del mod">
          <ac:chgData name="Shiva0 Kumar" userId="89033066f8f0ef15" providerId="LiveId" clId="{AFEE8D3A-6FE5-4119-B5D6-26956AD41DB2}" dt="2024-06-01T03:23:28.780" v="7522" actId="20577"/>
          <ac:spMkLst>
            <pc:docMk/>
            <pc:sldMk cId="4151276595" sldId="352"/>
            <ac:spMk id="2" creationId="{66B750DD-6A57-19B8-B948-93C7E8335724}"/>
          </ac:spMkLst>
        </pc:spChg>
        <pc:spChg chg="del">
          <ac:chgData name="Shiva0 Kumar" userId="89033066f8f0ef15" providerId="LiveId" clId="{AFEE8D3A-6FE5-4119-B5D6-26956AD41DB2}" dt="2024-05-31T12:40:32.482" v="4948" actId="21"/>
          <ac:spMkLst>
            <pc:docMk/>
            <pc:sldMk cId="4151276595" sldId="352"/>
            <ac:spMk id="4" creationId="{F4A45F01-78F0-4AED-CA72-CF7D2B9615CC}"/>
          </ac:spMkLst>
        </pc:spChg>
        <pc:spChg chg="add del mod">
          <ac:chgData name="Shiva0 Kumar" userId="89033066f8f0ef15" providerId="LiveId" clId="{AFEE8D3A-6FE5-4119-B5D6-26956AD41DB2}" dt="2024-06-01T03:23:47.259" v="7526" actId="21"/>
          <ac:spMkLst>
            <pc:docMk/>
            <pc:sldMk cId="4151276595" sldId="352"/>
            <ac:spMk id="4" creationId="{F9D16867-2AF2-9C94-3A26-76608B359C42}"/>
          </ac:spMkLst>
        </pc:spChg>
        <pc:spChg chg="add mod ord">
          <ac:chgData name="Shiva0 Kumar" userId="89033066f8f0ef15" providerId="LiveId" clId="{AFEE8D3A-6FE5-4119-B5D6-26956AD41DB2}" dt="2024-05-15T07:34:45.115" v="1523" actId="207"/>
          <ac:spMkLst>
            <pc:docMk/>
            <pc:sldMk cId="4151276595" sldId="352"/>
            <ac:spMk id="5" creationId="{A6D30ACC-F36D-7E2B-453D-0ED2E2FC4ACB}"/>
          </ac:spMkLst>
        </pc:spChg>
        <pc:spChg chg="add mod">
          <ac:chgData name="Shiva0 Kumar" userId="89033066f8f0ef15" providerId="LiveId" clId="{AFEE8D3A-6FE5-4119-B5D6-26956AD41DB2}" dt="2024-06-01T03:24:54.447" v="7539" actId="14100"/>
          <ac:spMkLst>
            <pc:docMk/>
            <pc:sldMk cId="4151276595" sldId="352"/>
            <ac:spMk id="6" creationId="{614F79F7-9917-CA26-F9AF-F55967397BF7}"/>
          </ac:spMkLst>
        </pc:spChg>
        <pc:spChg chg="del">
          <ac:chgData name="Shiva0 Kumar" userId="89033066f8f0ef15" providerId="LiveId" clId="{AFEE8D3A-6FE5-4119-B5D6-26956AD41DB2}" dt="2024-05-15T11:03:06.885" v="3332" actId="21"/>
          <ac:spMkLst>
            <pc:docMk/>
            <pc:sldMk cId="4151276595" sldId="352"/>
            <ac:spMk id="6" creationId="{D24DC781-AC70-4CCD-8B70-39BA47EBA0E9}"/>
          </ac:spMkLst>
        </pc:spChg>
        <pc:spChg chg="add del mod">
          <ac:chgData name="Shiva0 Kumar" userId="89033066f8f0ef15" providerId="LiveId" clId="{AFEE8D3A-6FE5-4119-B5D6-26956AD41DB2}" dt="2024-06-01T03:23:31.856" v="7523" actId="21"/>
          <ac:spMkLst>
            <pc:docMk/>
            <pc:sldMk cId="4151276595" sldId="352"/>
            <ac:spMk id="7" creationId="{8B8D0524-7450-22A0-04BE-A39C80306449}"/>
          </ac:spMkLst>
        </pc:spChg>
        <pc:spChg chg="add del mod">
          <ac:chgData name="Shiva0 Kumar" userId="89033066f8f0ef15" providerId="LiveId" clId="{AFEE8D3A-6FE5-4119-B5D6-26956AD41DB2}" dt="2024-06-01T03:23:35.460" v="7524" actId="21"/>
          <ac:spMkLst>
            <pc:docMk/>
            <pc:sldMk cId="4151276595" sldId="352"/>
            <ac:spMk id="8" creationId="{66228086-1F24-BA6A-F49E-DDA750CB86E1}"/>
          </ac:spMkLst>
        </pc:spChg>
        <pc:spChg chg="mod">
          <ac:chgData name="Shiva0 Kumar" userId="89033066f8f0ef15" providerId="LiveId" clId="{AFEE8D3A-6FE5-4119-B5D6-26956AD41DB2}" dt="2024-05-31T12:41:21.627" v="4987" actId="207"/>
          <ac:spMkLst>
            <pc:docMk/>
            <pc:sldMk cId="4151276595" sldId="352"/>
            <ac:spMk id="11" creationId="{EFDE5DB5-4A97-D701-9D04-FF1F8B4DE9BA}"/>
          </ac:spMkLst>
        </pc:spChg>
        <pc:spChg chg="mod">
          <ac:chgData name="Shiva0 Kumar" userId="89033066f8f0ef15" providerId="LiveId" clId="{AFEE8D3A-6FE5-4119-B5D6-26956AD41DB2}" dt="2024-05-31T12:41:08.861" v="4985" actId="1076"/>
          <ac:spMkLst>
            <pc:docMk/>
            <pc:sldMk cId="4151276595" sldId="352"/>
            <ac:spMk id="13" creationId="{C971EE70-5A74-51B2-40F4-7664F031E696}"/>
          </ac:spMkLst>
        </pc:spChg>
        <pc:spChg chg="mod">
          <ac:chgData name="Shiva0 Kumar" userId="89033066f8f0ef15" providerId="LiveId" clId="{AFEE8D3A-6FE5-4119-B5D6-26956AD41DB2}" dt="2024-05-31T12:41:08.861" v="4985" actId="1076"/>
          <ac:spMkLst>
            <pc:docMk/>
            <pc:sldMk cId="4151276595" sldId="352"/>
            <ac:spMk id="14" creationId="{C9758D44-57A3-0511-7EE2-B9BA31A9EA59}"/>
          </ac:spMkLst>
        </pc:spChg>
        <pc:spChg chg="add mod">
          <ac:chgData name="Shiva0 Kumar" userId="89033066f8f0ef15" providerId="LiveId" clId="{AFEE8D3A-6FE5-4119-B5D6-26956AD41DB2}" dt="2024-06-01T03:25:14.824" v="7543" actId="1076"/>
          <ac:spMkLst>
            <pc:docMk/>
            <pc:sldMk cId="4151276595" sldId="352"/>
            <ac:spMk id="15" creationId="{03C6D8C7-FBFB-44BE-DC55-BA6D25AE9370}"/>
          </ac:spMkLst>
        </pc:spChg>
        <pc:spChg chg="add mod ord">
          <ac:chgData name="Shiva0 Kumar" userId="89033066f8f0ef15" providerId="LiveId" clId="{AFEE8D3A-6FE5-4119-B5D6-26956AD41DB2}" dt="2024-06-01T03:25:54.104" v="7551" actId="1076"/>
          <ac:spMkLst>
            <pc:docMk/>
            <pc:sldMk cId="4151276595" sldId="352"/>
            <ac:spMk id="17" creationId="{B9FFCF21-4359-97B2-4E12-2D4369C787DF}"/>
          </ac:spMkLst>
        </pc:spChg>
        <pc:spChg chg="add mod">
          <ac:chgData name="Shiva0 Kumar" userId="89033066f8f0ef15" providerId="LiveId" clId="{AFEE8D3A-6FE5-4119-B5D6-26956AD41DB2}" dt="2024-06-01T03:26:08.307" v="7554" actId="1076"/>
          <ac:spMkLst>
            <pc:docMk/>
            <pc:sldMk cId="4151276595" sldId="352"/>
            <ac:spMk id="18" creationId="{B5300190-F0C8-A71E-D7D5-7B4F39A5C80B}"/>
          </ac:spMkLst>
        </pc:spChg>
        <pc:spChg chg="add mod">
          <ac:chgData name="Shiva0 Kumar" userId="89033066f8f0ef15" providerId="LiveId" clId="{AFEE8D3A-6FE5-4119-B5D6-26956AD41DB2}" dt="2024-06-01T03:26:28.460" v="7556" actId="1076"/>
          <ac:spMkLst>
            <pc:docMk/>
            <pc:sldMk cId="4151276595" sldId="352"/>
            <ac:spMk id="19" creationId="{5838A804-302E-07FC-4FB7-A3077874D40B}"/>
          </ac:spMkLst>
        </pc:spChg>
        <pc:grpChg chg="mod">
          <ac:chgData name="Shiva0 Kumar" userId="89033066f8f0ef15" providerId="LiveId" clId="{AFEE8D3A-6FE5-4119-B5D6-26956AD41DB2}" dt="2024-05-31T12:41:17.139" v="4986" actId="207"/>
          <ac:grpSpMkLst>
            <pc:docMk/>
            <pc:sldMk cId="4151276595" sldId="352"/>
            <ac:grpSpMk id="12" creationId="{CEB11757-CE84-94A6-4E0C-D8847F43721F}"/>
          </ac:grpSpMkLst>
        </pc:grpChg>
        <pc:graphicFrameChg chg="add mod">
          <ac:chgData name="Shiva0 Kumar" userId="89033066f8f0ef15" providerId="LiveId" clId="{AFEE8D3A-6FE5-4119-B5D6-26956AD41DB2}" dt="2024-06-01T03:25:56.739" v="7552" actId="1076"/>
          <ac:graphicFrameMkLst>
            <pc:docMk/>
            <pc:sldMk cId="4151276595" sldId="352"/>
            <ac:graphicFrameMk id="16" creationId="{7E883F7C-F967-51B7-A61A-4279CF88BE85}"/>
          </ac:graphicFrameMkLst>
        </pc:graphicFrameChg>
        <pc:picChg chg="add mod ord">
          <ac:chgData name="Shiva0 Kumar" userId="89033066f8f0ef15" providerId="LiveId" clId="{AFEE8D3A-6FE5-4119-B5D6-26956AD41DB2}" dt="2024-05-15T07:34:39.144" v="1522" actId="1076"/>
          <ac:picMkLst>
            <pc:docMk/>
            <pc:sldMk cId="4151276595" sldId="352"/>
            <ac:picMk id="3" creationId="{D0C26687-C7F0-4944-EEC5-880EE23AAD21}"/>
          </ac:picMkLst>
        </pc:picChg>
        <pc:picChg chg="add mod">
          <ac:chgData name="Shiva0 Kumar" userId="89033066f8f0ef15" providerId="LiveId" clId="{AFEE8D3A-6FE5-4119-B5D6-26956AD41DB2}" dt="2024-06-01T03:24:26.090" v="7536" actId="1076"/>
          <ac:picMkLst>
            <pc:docMk/>
            <pc:sldMk cId="4151276595" sldId="352"/>
            <ac:picMk id="9" creationId="{19D35442-6E63-72FA-1FBB-D23BE9294CA9}"/>
          </ac:picMkLst>
        </pc:picChg>
        <pc:picChg chg="add mod">
          <ac:chgData name="Shiva0 Kumar" userId="89033066f8f0ef15" providerId="LiveId" clId="{AFEE8D3A-6FE5-4119-B5D6-26956AD41DB2}" dt="2024-06-01T03:24:35.990" v="7537"/>
          <ac:picMkLst>
            <pc:docMk/>
            <pc:sldMk cId="4151276595" sldId="352"/>
            <ac:picMk id="10" creationId="{C53C033D-7D64-4289-7DC8-C075ADF7B6FE}"/>
          </ac:picMkLst>
        </pc:picChg>
      </pc:sldChg>
      <pc:sldChg chg="addSp delSp modSp add del mod">
        <pc:chgData name="Shiva0 Kumar" userId="89033066f8f0ef15" providerId="LiveId" clId="{AFEE8D3A-6FE5-4119-B5D6-26956AD41DB2}" dt="2024-06-01T03:26:51.558" v="7557" actId="2696"/>
        <pc:sldMkLst>
          <pc:docMk/>
          <pc:sldMk cId="2383298168" sldId="353"/>
        </pc:sldMkLst>
        <pc:spChg chg="add mod">
          <ac:chgData name="Shiva0 Kumar" userId="89033066f8f0ef15" providerId="LiveId" clId="{AFEE8D3A-6FE5-4119-B5D6-26956AD41DB2}" dt="2024-05-31T12:41:57.445" v="5047" actId="20577"/>
          <ac:spMkLst>
            <pc:docMk/>
            <pc:sldMk cId="2383298168" sldId="353"/>
            <ac:spMk id="2" creationId="{A0190D08-C196-4F2D-1393-909B3D6BE096}"/>
          </ac:spMkLst>
        </pc:spChg>
        <pc:spChg chg="del">
          <ac:chgData name="Shiva0 Kumar" userId="89033066f8f0ef15" providerId="LiveId" clId="{AFEE8D3A-6FE5-4119-B5D6-26956AD41DB2}" dt="2024-05-15T11:02:55.938" v="3330" actId="21"/>
          <ac:spMkLst>
            <pc:docMk/>
            <pc:sldMk cId="2383298168" sldId="353"/>
            <ac:spMk id="6" creationId="{D24DC781-AC70-4CCD-8B70-39BA47EBA0E9}"/>
          </ac:spMkLst>
        </pc:spChg>
        <pc:spChg chg="add mod ord">
          <ac:chgData name="Shiva0 Kumar" userId="89033066f8f0ef15" providerId="LiveId" clId="{AFEE8D3A-6FE5-4119-B5D6-26956AD41DB2}" dt="2024-05-15T08:44:01.801" v="1866" actId="1076"/>
          <ac:spMkLst>
            <pc:docMk/>
            <pc:sldMk cId="2383298168" sldId="353"/>
            <ac:spMk id="8" creationId="{3CF696DE-581F-9B10-F142-E4D9E8934A12}"/>
          </ac:spMkLst>
        </pc:spChg>
        <pc:spChg chg="add mod">
          <ac:chgData name="Shiva0 Kumar" userId="89033066f8f0ef15" providerId="LiveId" clId="{AFEE8D3A-6FE5-4119-B5D6-26956AD41DB2}" dt="2024-05-15T08:44:09.713" v="1868" actId="1076"/>
          <ac:spMkLst>
            <pc:docMk/>
            <pc:sldMk cId="2383298168" sldId="353"/>
            <ac:spMk id="10" creationId="{F55A1E38-2D3F-E69F-DD16-218C2BC265D4}"/>
          </ac:spMkLst>
        </pc:spChg>
        <pc:spChg chg="mod">
          <ac:chgData name="Shiva0 Kumar" userId="89033066f8f0ef15" providerId="LiveId" clId="{AFEE8D3A-6FE5-4119-B5D6-26956AD41DB2}" dt="2024-05-31T12:42:46.272" v="5051" actId="207"/>
          <ac:spMkLst>
            <pc:docMk/>
            <pc:sldMk cId="2383298168" sldId="353"/>
            <ac:spMk id="11" creationId="{EFDE5DB5-4A97-D701-9D04-FF1F8B4DE9BA}"/>
          </ac:spMkLst>
        </pc:spChg>
        <pc:spChg chg="mod">
          <ac:chgData name="Shiva0 Kumar" userId="89033066f8f0ef15" providerId="LiveId" clId="{AFEE8D3A-6FE5-4119-B5D6-26956AD41DB2}" dt="2024-05-31T12:42:24.334" v="5049" actId="1076"/>
          <ac:spMkLst>
            <pc:docMk/>
            <pc:sldMk cId="2383298168" sldId="353"/>
            <ac:spMk id="13" creationId="{C971EE70-5A74-51B2-40F4-7664F031E696}"/>
          </ac:spMkLst>
        </pc:spChg>
        <pc:spChg chg="mod">
          <ac:chgData name="Shiva0 Kumar" userId="89033066f8f0ef15" providerId="LiveId" clId="{AFEE8D3A-6FE5-4119-B5D6-26956AD41DB2}" dt="2024-05-31T12:42:24.334" v="5049" actId="1076"/>
          <ac:spMkLst>
            <pc:docMk/>
            <pc:sldMk cId="2383298168" sldId="353"/>
            <ac:spMk id="14" creationId="{C9758D44-57A3-0511-7EE2-B9BA31A9EA59}"/>
          </ac:spMkLst>
        </pc:spChg>
        <pc:spChg chg="del">
          <ac:chgData name="Shiva0 Kumar" userId="89033066f8f0ef15" providerId="LiveId" clId="{AFEE8D3A-6FE5-4119-B5D6-26956AD41DB2}" dt="2024-05-31T12:41:37.850" v="4989" actId="21"/>
          <ac:spMkLst>
            <pc:docMk/>
            <pc:sldMk cId="2383298168" sldId="353"/>
            <ac:spMk id="15" creationId="{F7DFA89A-DB78-4F13-61BC-A8DA727104C9}"/>
          </ac:spMkLst>
        </pc:spChg>
        <pc:spChg chg="add mod">
          <ac:chgData name="Shiva0 Kumar" userId="89033066f8f0ef15" providerId="LiveId" clId="{AFEE8D3A-6FE5-4119-B5D6-26956AD41DB2}" dt="2024-05-15T08:43:56.051" v="1864"/>
          <ac:spMkLst>
            <pc:docMk/>
            <pc:sldMk cId="2383298168" sldId="353"/>
            <ac:spMk id="16" creationId="{275D2A0D-8DBF-7451-DA1E-60521A0A86D8}"/>
          </ac:spMkLst>
        </pc:spChg>
        <pc:spChg chg="add mod">
          <ac:chgData name="Shiva0 Kumar" userId="89033066f8f0ef15" providerId="LiveId" clId="{AFEE8D3A-6FE5-4119-B5D6-26956AD41DB2}" dt="2024-05-15T08:44:59.224" v="1878" actId="20577"/>
          <ac:spMkLst>
            <pc:docMk/>
            <pc:sldMk cId="2383298168" sldId="353"/>
            <ac:spMk id="17" creationId="{57F810A4-9264-B830-DD9A-92E9B18C4900}"/>
          </ac:spMkLst>
        </pc:spChg>
        <pc:grpChg chg="mod">
          <ac:chgData name="Shiva0 Kumar" userId="89033066f8f0ef15" providerId="LiveId" clId="{AFEE8D3A-6FE5-4119-B5D6-26956AD41DB2}" dt="2024-05-31T12:42:42.056" v="5050" actId="207"/>
          <ac:grpSpMkLst>
            <pc:docMk/>
            <pc:sldMk cId="2383298168" sldId="353"/>
            <ac:grpSpMk id="12" creationId="{CEB11757-CE84-94A6-4E0C-D8847F43721F}"/>
          </ac:grpSpMkLst>
        </pc:grpChg>
        <pc:graphicFrameChg chg="add del mod">
          <ac:chgData name="Shiva0 Kumar" userId="89033066f8f0ef15" providerId="LiveId" clId="{AFEE8D3A-6FE5-4119-B5D6-26956AD41DB2}" dt="2024-05-15T08:30:44.421" v="1780" actId="21"/>
          <ac:graphicFrameMkLst>
            <pc:docMk/>
            <pc:sldMk cId="2383298168" sldId="353"/>
            <ac:graphicFrameMk id="4" creationId="{4CFFA869-CE91-313A-5A51-4DB35E2EC9FA}"/>
          </ac:graphicFrameMkLst>
        </pc:graphicFrameChg>
        <pc:picChg chg="add del mod">
          <ac:chgData name="Shiva0 Kumar" userId="89033066f8f0ef15" providerId="LiveId" clId="{AFEE8D3A-6FE5-4119-B5D6-26956AD41DB2}" dt="2024-05-15T08:32:25.213" v="1784" actId="21"/>
          <ac:picMkLst>
            <pc:docMk/>
            <pc:sldMk cId="2383298168" sldId="353"/>
            <ac:picMk id="3" creationId="{3F14D705-6182-90C5-2415-D91A24FC3784}"/>
          </ac:picMkLst>
        </pc:picChg>
        <pc:picChg chg="add mod">
          <ac:chgData name="Shiva0 Kumar" userId="89033066f8f0ef15" providerId="LiveId" clId="{AFEE8D3A-6FE5-4119-B5D6-26956AD41DB2}" dt="2024-05-15T08:44:05.824" v="1867" actId="1076"/>
          <ac:picMkLst>
            <pc:docMk/>
            <pc:sldMk cId="2383298168" sldId="353"/>
            <ac:picMk id="7" creationId="{2E539984-1242-DBE4-BDEC-21C929F65699}"/>
          </ac:picMkLst>
        </pc:picChg>
      </pc:sldChg>
      <pc:sldChg chg="addSp delSp modSp add del mod">
        <pc:chgData name="Shiva0 Kumar" userId="89033066f8f0ef15" providerId="LiveId" clId="{AFEE8D3A-6FE5-4119-B5D6-26956AD41DB2}" dt="2024-06-01T03:26:54.773" v="7558" actId="2696"/>
        <pc:sldMkLst>
          <pc:docMk/>
          <pc:sldMk cId="962179875" sldId="354"/>
        </pc:sldMkLst>
        <pc:spChg chg="add mod ord">
          <ac:chgData name="Shiva0 Kumar" userId="89033066f8f0ef15" providerId="LiveId" clId="{AFEE8D3A-6FE5-4119-B5D6-26956AD41DB2}" dt="2024-05-15T08:47:43.847" v="1896" actId="14100"/>
          <ac:spMkLst>
            <pc:docMk/>
            <pc:sldMk cId="962179875" sldId="354"/>
            <ac:spMk id="3" creationId="{9488B266-01A3-F2EE-C56E-E3B92D4EE3AB}"/>
          </ac:spMkLst>
        </pc:spChg>
        <pc:spChg chg="del">
          <ac:chgData name="Shiva0 Kumar" userId="89033066f8f0ef15" providerId="LiveId" clId="{AFEE8D3A-6FE5-4119-B5D6-26956AD41DB2}" dt="2024-05-31T12:43:05.122" v="5053" actId="21"/>
          <ac:spMkLst>
            <pc:docMk/>
            <pc:sldMk cId="962179875" sldId="354"/>
            <ac:spMk id="4" creationId="{F4A45F01-78F0-4AED-CA72-CF7D2B9615CC}"/>
          </ac:spMkLst>
        </pc:spChg>
        <pc:spChg chg="add mod">
          <ac:chgData name="Shiva0 Kumar" userId="89033066f8f0ef15" providerId="LiveId" clId="{AFEE8D3A-6FE5-4119-B5D6-26956AD41DB2}" dt="2024-05-31T12:43:28.935" v="5102" actId="20577"/>
          <ac:spMkLst>
            <pc:docMk/>
            <pc:sldMk cId="962179875" sldId="354"/>
            <ac:spMk id="5" creationId="{303B1DBE-8E53-DDB5-4A82-7EB340163AF9}"/>
          </ac:spMkLst>
        </pc:spChg>
        <pc:spChg chg="add del mod">
          <ac:chgData name="Shiva0 Kumar" userId="89033066f8f0ef15" providerId="LiveId" clId="{AFEE8D3A-6FE5-4119-B5D6-26956AD41DB2}" dt="2024-05-15T08:57:38.559" v="2022" actId="21"/>
          <ac:spMkLst>
            <pc:docMk/>
            <pc:sldMk cId="962179875" sldId="354"/>
            <ac:spMk id="5" creationId="{4B876868-1D2D-B45E-C656-8F23EAF480EC}"/>
          </ac:spMkLst>
        </pc:spChg>
        <pc:spChg chg="del">
          <ac:chgData name="Shiva0 Kumar" userId="89033066f8f0ef15" providerId="LiveId" clId="{AFEE8D3A-6FE5-4119-B5D6-26956AD41DB2}" dt="2024-05-15T11:02:45.246" v="3328" actId="21"/>
          <ac:spMkLst>
            <pc:docMk/>
            <pc:sldMk cId="962179875" sldId="354"/>
            <ac:spMk id="6" creationId="{D24DC781-AC70-4CCD-8B70-39BA47EBA0E9}"/>
          </ac:spMkLst>
        </pc:spChg>
        <pc:spChg chg="add del mod">
          <ac:chgData name="Shiva0 Kumar" userId="89033066f8f0ef15" providerId="LiveId" clId="{AFEE8D3A-6FE5-4119-B5D6-26956AD41DB2}" dt="2024-05-15T08:48:27.488" v="1903" actId="21"/>
          <ac:spMkLst>
            <pc:docMk/>
            <pc:sldMk cId="962179875" sldId="354"/>
            <ac:spMk id="7" creationId="{0A3518CC-36C5-8D5B-1D42-F899D32611C9}"/>
          </ac:spMkLst>
        </pc:spChg>
        <pc:spChg chg="add mod">
          <ac:chgData name="Shiva0 Kumar" userId="89033066f8f0ef15" providerId="LiveId" clId="{AFEE8D3A-6FE5-4119-B5D6-26956AD41DB2}" dt="2024-05-15T08:57:30.746" v="2021" actId="1076"/>
          <ac:spMkLst>
            <pc:docMk/>
            <pc:sldMk cId="962179875" sldId="354"/>
            <ac:spMk id="8" creationId="{FA5D917E-8263-8D1A-0ADC-987E57177B65}"/>
          </ac:spMkLst>
        </pc:spChg>
        <pc:spChg chg="mod">
          <ac:chgData name="Shiva0 Kumar" userId="89033066f8f0ef15" providerId="LiveId" clId="{AFEE8D3A-6FE5-4119-B5D6-26956AD41DB2}" dt="2024-05-31T12:44:00.660" v="5106" actId="207"/>
          <ac:spMkLst>
            <pc:docMk/>
            <pc:sldMk cId="962179875" sldId="354"/>
            <ac:spMk id="11" creationId="{EFDE5DB5-4A97-D701-9D04-FF1F8B4DE9BA}"/>
          </ac:spMkLst>
        </pc:spChg>
        <pc:spChg chg="mod">
          <ac:chgData name="Shiva0 Kumar" userId="89033066f8f0ef15" providerId="LiveId" clId="{AFEE8D3A-6FE5-4119-B5D6-26956AD41DB2}" dt="2024-05-31T12:43:51.745" v="5104" actId="1076"/>
          <ac:spMkLst>
            <pc:docMk/>
            <pc:sldMk cId="962179875" sldId="354"/>
            <ac:spMk id="13" creationId="{C971EE70-5A74-51B2-40F4-7664F031E696}"/>
          </ac:spMkLst>
        </pc:spChg>
        <pc:spChg chg="mod">
          <ac:chgData name="Shiva0 Kumar" userId="89033066f8f0ef15" providerId="LiveId" clId="{AFEE8D3A-6FE5-4119-B5D6-26956AD41DB2}" dt="2024-05-31T12:43:51.745" v="5104" actId="1076"/>
          <ac:spMkLst>
            <pc:docMk/>
            <pc:sldMk cId="962179875" sldId="354"/>
            <ac:spMk id="14" creationId="{C9758D44-57A3-0511-7EE2-B9BA31A9EA59}"/>
          </ac:spMkLst>
        </pc:spChg>
        <pc:spChg chg="add mod">
          <ac:chgData name="Shiva0 Kumar" userId="89033066f8f0ef15" providerId="LiveId" clId="{AFEE8D3A-6FE5-4119-B5D6-26956AD41DB2}" dt="2024-05-20T12:24:49.376" v="3437" actId="1076"/>
          <ac:spMkLst>
            <pc:docMk/>
            <pc:sldMk cId="962179875" sldId="354"/>
            <ac:spMk id="21" creationId="{560CDD2E-58E4-B223-6002-7003E9516F62}"/>
          </ac:spMkLst>
        </pc:spChg>
        <pc:spChg chg="add mod">
          <ac:chgData name="Shiva0 Kumar" userId="89033066f8f0ef15" providerId="LiveId" clId="{AFEE8D3A-6FE5-4119-B5D6-26956AD41DB2}" dt="2024-05-15T09:02:37.434" v="2056"/>
          <ac:spMkLst>
            <pc:docMk/>
            <pc:sldMk cId="962179875" sldId="354"/>
            <ac:spMk id="22" creationId="{CE0C2AC7-5F65-63CB-23CC-658D7FEDB910}"/>
          </ac:spMkLst>
        </pc:spChg>
        <pc:spChg chg="add mod">
          <ac:chgData name="Shiva0 Kumar" userId="89033066f8f0ef15" providerId="LiveId" clId="{AFEE8D3A-6FE5-4119-B5D6-26956AD41DB2}" dt="2024-05-15T09:05:02.227" v="2444" actId="20577"/>
          <ac:spMkLst>
            <pc:docMk/>
            <pc:sldMk cId="962179875" sldId="354"/>
            <ac:spMk id="23" creationId="{0326C9B5-C2E6-3BC8-D864-E98FF8D7F5E0}"/>
          </ac:spMkLst>
        </pc:spChg>
        <pc:grpChg chg="mod">
          <ac:chgData name="Shiva0 Kumar" userId="89033066f8f0ef15" providerId="LiveId" clId="{AFEE8D3A-6FE5-4119-B5D6-26956AD41DB2}" dt="2024-05-31T12:43:56.377" v="5105" actId="207"/>
          <ac:grpSpMkLst>
            <pc:docMk/>
            <pc:sldMk cId="962179875" sldId="354"/>
            <ac:grpSpMk id="12" creationId="{CEB11757-CE84-94A6-4E0C-D8847F43721F}"/>
          </ac:grpSpMkLst>
        </pc:grpChg>
        <pc:graphicFrameChg chg="add mod">
          <ac:chgData name="Shiva0 Kumar" userId="89033066f8f0ef15" providerId="LiveId" clId="{AFEE8D3A-6FE5-4119-B5D6-26956AD41DB2}" dt="2024-05-20T12:24:58.396" v="3438"/>
          <ac:graphicFrameMkLst>
            <pc:docMk/>
            <pc:sldMk cId="962179875" sldId="354"/>
            <ac:graphicFrameMk id="2" creationId="{944E64DC-F0B3-7AFB-5990-90A32829926B}"/>
          </ac:graphicFrameMkLst>
        </pc:graphicFrameChg>
        <pc:cxnChg chg="add del mod">
          <ac:chgData name="Shiva0 Kumar" userId="89033066f8f0ef15" providerId="LiveId" clId="{AFEE8D3A-6FE5-4119-B5D6-26956AD41DB2}" dt="2024-05-15T08:58:48.450" v="2038" actId="21"/>
          <ac:cxnSpMkLst>
            <pc:docMk/>
            <pc:sldMk cId="962179875" sldId="354"/>
            <ac:cxnSpMk id="10" creationId="{9353AA29-DF7F-933E-5A4A-36CC77E152D2}"/>
          </ac:cxnSpMkLst>
        </pc:cxnChg>
        <pc:cxnChg chg="add del mod">
          <ac:chgData name="Shiva0 Kumar" userId="89033066f8f0ef15" providerId="LiveId" clId="{AFEE8D3A-6FE5-4119-B5D6-26956AD41DB2}" dt="2024-05-15T08:58:46.428" v="2037" actId="21"/>
          <ac:cxnSpMkLst>
            <pc:docMk/>
            <pc:sldMk cId="962179875" sldId="354"/>
            <ac:cxnSpMk id="16" creationId="{BECB9B9F-F473-7E84-5F1B-DC8F8091B444}"/>
          </ac:cxnSpMkLst>
        </pc:cxnChg>
      </pc:sldChg>
      <pc:sldChg chg="addSp delSp modSp add del mod">
        <pc:chgData name="Shiva0 Kumar" userId="89033066f8f0ef15" providerId="LiveId" clId="{AFEE8D3A-6FE5-4119-B5D6-26956AD41DB2}" dt="2024-06-01T03:31:52.581" v="7638" actId="1076"/>
        <pc:sldMkLst>
          <pc:docMk/>
          <pc:sldMk cId="1505715217" sldId="355"/>
        </pc:sldMkLst>
        <pc:spChg chg="add mod">
          <ac:chgData name="Shiva0 Kumar" userId="89033066f8f0ef15" providerId="LiveId" clId="{AFEE8D3A-6FE5-4119-B5D6-26956AD41DB2}" dt="2024-06-01T03:29:39.399" v="7620" actId="20577"/>
          <ac:spMkLst>
            <pc:docMk/>
            <pc:sldMk cId="1505715217" sldId="355"/>
            <ac:spMk id="2" creationId="{3A85CA29-DACC-42BD-DF17-55A4EB5DDDC5}"/>
          </ac:spMkLst>
        </pc:spChg>
        <pc:spChg chg="add del mod ord">
          <ac:chgData name="Shiva0 Kumar" userId="89033066f8f0ef15" providerId="LiveId" clId="{AFEE8D3A-6FE5-4119-B5D6-26956AD41DB2}" dt="2024-06-01T03:28:56.827" v="7559" actId="21"/>
          <ac:spMkLst>
            <pc:docMk/>
            <pc:sldMk cId="1505715217" sldId="355"/>
            <ac:spMk id="4" creationId="{3E7AA017-FD38-C854-9454-E16D3DC69FAD}"/>
          </ac:spMkLst>
        </pc:spChg>
        <pc:spChg chg="add del mod">
          <ac:chgData name="Shiva0 Kumar" userId="89033066f8f0ef15" providerId="LiveId" clId="{AFEE8D3A-6FE5-4119-B5D6-26956AD41DB2}" dt="2024-06-01T03:29:06.349" v="7561" actId="21"/>
          <ac:spMkLst>
            <pc:docMk/>
            <pc:sldMk cId="1505715217" sldId="355"/>
            <ac:spMk id="5" creationId="{C40D9FB7-B329-D7D3-0544-7E2EA2D442F0}"/>
          </ac:spMkLst>
        </pc:spChg>
        <pc:spChg chg="del">
          <ac:chgData name="Shiva0 Kumar" userId="89033066f8f0ef15" providerId="LiveId" clId="{AFEE8D3A-6FE5-4119-B5D6-26956AD41DB2}" dt="2024-05-15T11:02:29.400" v="3326" actId="21"/>
          <ac:spMkLst>
            <pc:docMk/>
            <pc:sldMk cId="1505715217" sldId="355"/>
            <ac:spMk id="6" creationId="{D24DC781-AC70-4CCD-8B70-39BA47EBA0E9}"/>
          </ac:spMkLst>
        </pc:spChg>
        <pc:spChg chg="add del mod">
          <ac:chgData name="Shiva0 Kumar" userId="89033066f8f0ef15" providerId="LiveId" clId="{AFEE8D3A-6FE5-4119-B5D6-26956AD41DB2}" dt="2024-06-01T03:29:11.636" v="7562" actId="21"/>
          <ac:spMkLst>
            <pc:docMk/>
            <pc:sldMk cId="1505715217" sldId="355"/>
            <ac:spMk id="7" creationId="{C671727D-C79D-8A50-99CE-7650ADD7F0B2}"/>
          </ac:spMkLst>
        </pc:spChg>
        <pc:spChg chg="add del mod">
          <ac:chgData name="Shiva0 Kumar" userId="89033066f8f0ef15" providerId="LiveId" clId="{AFEE8D3A-6FE5-4119-B5D6-26956AD41DB2}" dt="2024-05-15T09:18:10.750" v="2568" actId="21"/>
          <ac:spMkLst>
            <pc:docMk/>
            <pc:sldMk cId="1505715217" sldId="355"/>
            <ac:spMk id="8" creationId="{11F3465D-21B9-E6D7-F122-F40F9A4323DA}"/>
          </ac:spMkLst>
        </pc:spChg>
        <pc:spChg chg="add del mod">
          <ac:chgData name="Shiva0 Kumar" userId="89033066f8f0ef15" providerId="LiveId" clId="{AFEE8D3A-6FE5-4119-B5D6-26956AD41DB2}" dt="2024-06-01T03:29:14.720" v="7563" actId="21"/>
          <ac:spMkLst>
            <pc:docMk/>
            <pc:sldMk cId="1505715217" sldId="355"/>
            <ac:spMk id="10" creationId="{FAAB7A20-D5B4-869F-D2B8-F216CF0F5F34}"/>
          </ac:spMkLst>
        </pc:spChg>
        <pc:spChg chg="mod">
          <ac:chgData name="Shiva0 Kumar" userId="89033066f8f0ef15" providerId="LiveId" clId="{AFEE8D3A-6FE5-4119-B5D6-26956AD41DB2}" dt="2024-05-31T12:50:34.073" v="5198" actId="207"/>
          <ac:spMkLst>
            <pc:docMk/>
            <pc:sldMk cId="1505715217" sldId="355"/>
            <ac:spMk id="11" creationId="{EFDE5DB5-4A97-D701-9D04-FF1F8B4DE9BA}"/>
          </ac:spMkLst>
        </pc:spChg>
        <pc:spChg chg="mod">
          <ac:chgData name="Shiva0 Kumar" userId="89033066f8f0ef15" providerId="LiveId" clId="{AFEE8D3A-6FE5-4119-B5D6-26956AD41DB2}" dt="2024-05-31T12:50:22.187" v="5196" actId="1076"/>
          <ac:spMkLst>
            <pc:docMk/>
            <pc:sldMk cId="1505715217" sldId="355"/>
            <ac:spMk id="13" creationId="{C971EE70-5A74-51B2-40F4-7664F031E696}"/>
          </ac:spMkLst>
        </pc:spChg>
        <pc:spChg chg="mod">
          <ac:chgData name="Shiva0 Kumar" userId="89033066f8f0ef15" providerId="LiveId" clId="{AFEE8D3A-6FE5-4119-B5D6-26956AD41DB2}" dt="2024-05-31T12:50:22.187" v="5196" actId="1076"/>
          <ac:spMkLst>
            <pc:docMk/>
            <pc:sldMk cId="1505715217" sldId="355"/>
            <ac:spMk id="14" creationId="{C9758D44-57A3-0511-7EE2-B9BA31A9EA59}"/>
          </ac:spMkLst>
        </pc:spChg>
        <pc:spChg chg="del">
          <ac:chgData name="Shiva0 Kumar" userId="89033066f8f0ef15" providerId="LiveId" clId="{AFEE8D3A-6FE5-4119-B5D6-26956AD41DB2}" dt="2024-05-31T12:44:16.342" v="5108" actId="21"/>
          <ac:spMkLst>
            <pc:docMk/>
            <pc:sldMk cId="1505715217" sldId="355"/>
            <ac:spMk id="15" creationId="{F7DFA89A-DB78-4F13-61BC-A8DA727104C9}"/>
          </ac:spMkLst>
        </pc:spChg>
        <pc:spChg chg="add mod">
          <ac:chgData name="Shiva0 Kumar" userId="89033066f8f0ef15" providerId="LiveId" clId="{AFEE8D3A-6FE5-4119-B5D6-26956AD41DB2}" dt="2024-05-15T09:20:06.268" v="2590"/>
          <ac:spMkLst>
            <pc:docMk/>
            <pc:sldMk cId="1505715217" sldId="355"/>
            <ac:spMk id="16" creationId="{9363191D-E93E-BD01-A0CE-219AF4FB6FD1}"/>
          </ac:spMkLst>
        </pc:spChg>
        <pc:spChg chg="add del mod">
          <ac:chgData name="Shiva0 Kumar" userId="89033066f8f0ef15" providerId="LiveId" clId="{AFEE8D3A-6FE5-4119-B5D6-26956AD41DB2}" dt="2024-06-01T03:29:17.173" v="7564" actId="21"/>
          <ac:spMkLst>
            <pc:docMk/>
            <pc:sldMk cId="1505715217" sldId="355"/>
            <ac:spMk id="17" creationId="{987BDFAD-22CB-0D5A-7760-1A3B7A643804}"/>
          </ac:spMkLst>
        </pc:spChg>
        <pc:spChg chg="add del mod">
          <ac:chgData name="Shiva0 Kumar" userId="89033066f8f0ef15" providerId="LiveId" clId="{AFEE8D3A-6FE5-4119-B5D6-26956AD41DB2}" dt="2024-05-15T09:21:09.096" v="2601" actId="21"/>
          <ac:spMkLst>
            <pc:docMk/>
            <pc:sldMk cId="1505715217" sldId="355"/>
            <ac:spMk id="19" creationId="{87B28D41-1B21-702D-93FC-8C47F36DBA64}"/>
          </ac:spMkLst>
        </pc:spChg>
        <pc:spChg chg="add del mod">
          <ac:chgData name="Shiva0 Kumar" userId="89033066f8f0ef15" providerId="LiveId" clId="{AFEE8D3A-6FE5-4119-B5D6-26956AD41DB2}" dt="2024-06-01T03:29:21.547" v="7565" actId="21"/>
          <ac:spMkLst>
            <pc:docMk/>
            <pc:sldMk cId="1505715217" sldId="355"/>
            <ac:spMk id="21" creationId="{87B28D41-1B21-702D-93FC-8C47F36DBA64}"/>
          </ac:spMkLst>
        </pc:spChg>
        <pc:spChg chg="add del mod">
          <ac:chgData name="Shiva0 Kumar" userId="89033066f8f0ef15" providerId="LiveId" clId="{AFEE8D3A-6FE5-4119-B5D6-26956AD41DB2}" dt="2024-05-15T09:24:23.424" v="2650" actId="21"/>
          <ac:spMkLst>
            <pc:docMk/>
            <pc:sldMk cId="1505715217" sldId="355"/>
            <ac:spMk id="25" creationId="{969B7906-7547-C668-3FD8-948BDB4BEEF5}"/>
          </ac:spMkLst>
        </pc:spChg>
        <pc:spChg chg="add del mod">
          <ac:chgData name="Shiva0 Kumar" userId="89033066f8f0ef15" providerId="LiveId" clId="{AFEE8D3A-6FE5-4119-B5D6-26956AD41DB2}" dt="2024-06-01T03:29:26.408" v="7566" actId="21"/>
          <ac:spMkLst>
            <pc:docMk/>
            <pc:sldMk cId="1505715217" sldId="355"/>
            <ac:spMk id="28" creationId="{854F275C-5CB6-E286-173D-042B92683360}"/>
          </ac:spMkLst>
        </pc:spChg>
        <pc:spChg chg="add del mod">
          <ac:chgData name="Shiva0 Kumar" userId="89033066f8f0ef15" providerId="LiveId" clId="{AFEE8D3A-6FE5-4119-B5D6-26956AD41DB2}" dt="2024-06-01T03:29:30.301" v="7567" actId="21"/>
          <ac:spMkLst>
            <pc:docMk/>
            <pc:sldMk cId="1505715217" sldId="355"/>
            <ac:spMk id="29" creationId="{E0C3AA5F-F02B-36CC-BCA5-B4F39EC12D2A}"/>
          </ac:spMkLst>
        </pc:spChg>
        <pc:grpChg chg="mod">
          <ac:chgData name="Shiva0 Kumar" userId="89033066f8f0ef15" providerId="LiveId" clId="{AFEE8D3A-6FE5-4119-B5D6-26956AD41DB2}" dt="2024-05-31T12:50:28.806" v="5197" actId="207"/>
          <ac:grpSpMkLst>
            <pc:docMk/>
            <pc:sldMk cId="1505715217" sldId="355"/>
            <ac:grpSpMk id="12" creationId="{CEB11757-CE84-94A6-4E0C-D8847F43721F}"/>
          </ac:grpSpMkLst>
        </pc:grpChg>
        <pc:picChg chg="add del mod ord">
          <ac:chgData name="Shiva0 Kumar" userId="89033066f8f0ef15" providerId="LiveId" clId="{AFEE8D3A-6FE5-4119-B5D6-26956AD41DB2}" dt="2024-06-01T03:28:59.119" v="7560" actId="21"/>
          <ac:picMkLst>
            <pc:docMk/>
            <pc:sldMk cId="1505715217" sldId="355"/>
            <ac:picMk id="3" creationId="{DCC060FE-E24C-A5D9-3B37-BDF0DFE33985}"/>
          </ac:picMkLst>
        </pc:picChg>
        <pc:picChg chg="add del mod modCrop">
          <ac:chgData name="Shiva0 Kumar" userId="89033066f8f0ef15" providerId="LiveId" clId="{AFEE8D3A-6FE5-4119-B5D6-26956AD41DB2}" dt="2024-06-01T03:31:06.327" v="7632" actId="21"/>
          <ac:picMkLst>
            <pc:docMk/>
            <pc:sldMk cId="1505715217" sldId="355"/>
            <ac:picMk id="8" creationId="{EF48005F-B4CC-FCBB-D216-F04160935B0A}"/>
          </ac:picMkLst>
        </pc:picChg>
        <pc:picChg chg="add mod">
          <ac:chgData name="Shiva0 Kumar" userId="89033066f8f0ef15" providerId="LiveId" clId="{AFEE8D3A-6FE5-4119-B5D6-26956AD41DB2}" dt="2024-06-01T03:31:50.913" v="7637" actId="1076"/>
          <ac:picMkLst>
            <pc:docMk/>
            <pc:sldMk cId="1505715217" sldId="355"/>
            <ac:picMk id="16" creationId="{137964B4-97C1-481A-84B1-5849C925916A}"/>
          </ac:picMkLst>
        </pc:picChg>
        <pc:picChg chg="add mod">
          <ac:chgData name="Shiva0 Kumar" userId="89033066f8f0ef15" providerId="LiveId" clId="{AFEE8D3A-6FE5-4119-B5D6-26956AD41DB2}" dt="2024-06-01T03:31:52.581" v="7638" actId="1076"/>
          <ac:picMkLst>
            <pc:docMk/>
            <pc:sldMk cId="1505715217" sldId="355"/>
            <ac:picMk id="19" creationId="{941A2D0B-8D98-21A1-9043-623AC6D23019}"/>
          </ac:picMkLst>
        </pc:picChg>
        <pc:cxnChg chg="add del mod">
          <ac:chgData name="Shiva0 Kumar" userId="89033066f8f0ef15" providerId="LiveId" clId="{AFEE8D3A-6FE5-4119-B5D6-26956AD41DB2}" dt="2024-05-15T09:21:09.096" v="2601" actId="21"/>
          <ac:cxnSpMkLst>
            <pc:docMk/>
            <pc:sldMk cId="1505715217" sldId="355"/>
            <ac:cxnSpMk id="18" creationId="{CCF8F9AD-8A05-1F0E-EF7C-61FCDB29ADCD}"/>
          </ac:cxnSpMkLst>
        </pc:cxnChg>
        <pc:cxnChg chg="add del mod">
          <ac:chgData name="Shiva0 Kumar" userId="89033066f8f0ef15" providerId="LiveId" clId="{AFEE8D3A-6FE5-4119-B5D6-26956AD41DB2}" dt="2024-05-15T10:37:45.970" v="2656" actId="21"/>
          <ac:cxnSpMkLst>
            <pc:docMk/>
            <pc:sldMk cId="1505715217" sldId="355"/>
            <ac:cxnSpMk id="20" creationId="{CCF8F9AD-8A05-1F0E-EF7C-61FCDB29ADCD}"/>
          </ac:cxnSpMkLst>
        </pc:cxnChg>
        <pc:cxnChg chg="add mod">
          <ac:chgData name="Shiva0 Kumar" userId="89033066f8f0ef15" providerId="LiveId" clId="{AFEE8D3A-6FE5-4119-B5D6-26956AD41DB2}" dt="2024-05-15T09:24:58.341" v="2654" actId="208"/>
          <ac:cxnSpMkLst>
            <pc:docMk/>
            <pc:sldMk cId="1505715217" sldId="355"/>
            <ac:cxnSpMk id="27" creationId="{06EAE1F1-19DE-D18C-9218-BCB3625892C9}"/>
          </ac:cxnSpMkLst>
        </pc:cxnChg>
      </pc:sldChg>
      <pc:sldChg chg="addSp delSp modSp add del mod">
        <pc:chgData name="Shiva0 Kumar" userId="89033066f8f0ef15" providerId="LiveId" clId="{AFEE8D3A-6FE5-4119-B5D6-26956AD41DB2}" dt="2024-06-01T03:32:03.747" v="7639" actId="2696"/>
        <pc:sldMkLst>
          <pc:docMk/>
          <pc:sldMk cId="1693693596" sldId="356"/>
        </pc:sldMkLst>
        <pc:spChg chg="add mod">
          <ac:chgData name="Shiva0 Kumar" userId="89033066f8f0ef15" providerId="LiveId" clId="{AFEE8D3A-6FE5-4119-B5D6-26956AD41DB2}" dt="2024-05-31T12:51:22.235" v="5264" actId="20577"/>
          <ac:spMkLst>
            <pc:docMk/>
            <pc:sldMk cId="1693693596" sldId="356"/>
            <ac:spMk id="2" creationId="{D9EC8E74-EB6C-ECE4-164F-B5CCAD8DB74E}"/>
          </ac:spMkLst>
        </pc:spChg>
        <pc:spChg chg="add mod ord">
          <ac:chgData name="Shiva0 Kumar" userId="89033066f8f0ef15" providerId="LiveId" clId="{AFEE8D3A-6FE5-4119-B5D6-26956AD41DB2}" dt="2024-05-15T10:52:19.747" v="3237" actId="14100"/>
          <ac:spMkLst>
            <pc:docMk/>
            <pc:sldMk cId="1693693596" sldId="356"/>
            <ac:spMk id="3" creationId="{56BE4BDA-31C8-364C-E1C1-F41BB8CF1A3C}"/>
          </ac:spMkLst>
        </pc:spChg>
        <pc:spChg chg="del">
          <ac:chgData name="Shiva0 Kumar" userId="89033066f8f0ef15" providerId="LiveId" clId="{AFEE8D3A-6FE5-4119-B5D6-26956AD41DB2}" dt="2024-05-31T12:50:57.107" v="5200" actId="21"/>
          <ac:spMkLst>
            <pc:docMk/>
            <pc:sldMk cId="1693693596" sldId="356"/>
            <ac:spMk id="4" creationId="{F4A45F01-78F0-4AED-CA72-CF7D2B9615CC}"/>
          </ac:spMkLst>
        </pc:spChg>
        <pc:spChg chg="add del mod">
          <ac:chgData name="Shiva0 Kumar" userId="89033066f8f0ef15" providerId="LiveId" clId="{AFEE8D3A-6FE5-4119-B5D6-26956AD41DB2}" dt="2024-05-15T10:49:39.900" v="3164" actId="21"/>
          <ac:spMkLst>
            <pc:docMk/>
            <pc:sldMk cId="1693693596" sldId="356"/>
            <ac:spMk id="5" creationId="{C0061FF6-C014-88EE-84EA-A4A8D8E07ACE}"/>
          </ac:spMkLst>
        </pc:spChg>
        <pc:spChg chg="del">
          <ac:chgData name="Shiva0 Kumar" userId="89033066f8f0ef15" providerId="LiveId" clId="{AFEE8D3A-6FE5-4119-B5D6-26956AD41DB2}" dt="2024-05-15T11:02:16.264" v="3324" actId="21"/>
          <ac:spMkLst>
            <pc:docMk/>
            <pc:sldMk cId="1693693596" sldId="356"/>
            <ac:spMk id="6" creationId="{D24DC781-AC70-4CCD-8B70-39BA47EBA0E9}"/>
          </ac:spMkLst>
        </pc:spChg>
        <pc:spChg chg="add del mod">
          <ac:chgData name="Shiva0 Kumar" userId="89033066f8f0ef15" providerId="LiveId" clId="{AFEE8D3A-6FE5-4119-B5D6-26956AD41DB2}" dt="2024-05-15T10:49:56.935" v="3172" actId="21"/>
          <ac:spMkLst>
            <pc:docMk/>
            <pc:sldMk cId="1693693596" sldId="356"/>
            <ac:spMk id="7" creationId="{D23EE483-5DB3-7EB9-439C-E13E813C6541}"/>
          </ac:spMkLst>
        </pc:spChg>
        <pc:spChg chg="add del mod">
          <ac:chgData name="Shiva0 Kumar" userId="89033066f8f0ef15" providerId="LiveId" clId="{AFEE8D3A-6FE5-4119-B5D6-26956AD41DB2}" dt="2024-05-15T10:49:54.614" v="3171" actId="21"/>
          <ac:spMkLst>
            <pc:docMk/>
            <pc:sldMk cId="1693693596" sldId="356"/>
            <ac:spMk id="8" creationId="{39F30770-C1E2-62D7-21BB-33A77050975D}"/>
          </ac:spMkLst>
        </pc:spChg>
        <pc:spChg chg="add del mod">
          <ac:chgData name="Shiva0 Kumar" userId="89033066f8f0ef15" providerId="LiveId" clId="{AFEE8D3A-6FE5-4119-B5D6-26956AD41DB2}" dt="2024-05-15T10:49:52.461" v="3170" actId="21"/>
          <ac:spMkLst>
            <pc:docMk/>
            <pc:sldMk cId="1693693596" sldId="356"/>
            <ac:spMk id="9" creationId="{553F500E-42F0-A9D0-EC13-EC53B4EEDD8A}"/>
          </ac:spMkLst>
        </pc:spChg>
        <pc:spChg chg="add del mod">
          <ac:chgData name="Shiva0 Kumar" userId="89033066f8f0ef15" providerId="LiveId" clId="{AFEE8D3A-6FE5-4119-B5D6-26956AD41DB2}" dt="2024-05-15T10:49:50.350" v="3169" actId="21"/>
          <ac:spMkLst>
            <pc:docMk/>
            <pc:sldMk cId="1693693596" sldId="356"/>
            <ac:spMk id="10" creationId="{98911358-F4A6-0BE2-E3CD-E9C487ACB31A}"/>
          </ac:spMkLst>
        </pc:spChg>
        <pc:spChg chg="mod">
          <ac:chgData name="Shiva0 Kumar" userId="89033066f8f0ef15" providerId="LiveId" clId="{AFEE8D3A-6FE5-4119-B5D6-26956AD41DB2}" dt="2024-05-31T12:51:55.696" v="5269" actId="207"/>
          <ac:spMkLst>
            <pc:docMk/>
            <pc:sldMk cId="1693693596" sldId="356"/>
            <ac:spMk id="11" creationId="{EFDE5DB5-4A97-D701-9D04-FF1F8B4DE9BA}"/>
          </ac:spMkLst>
        </pc:spChg>
        <pc:spChg chg="mod">
          <ac:chgData name="Shiva0 Kumar" userId="89033066f8f0ef15" providerId="LiveId" clId="{AFEE8D3A-6FE5-4119-B5D6-26956AD41DB2}" dt="2024-05-31T12:51:40.112" v="5266" actId="1076"/>
          <ac:spMkLst>
            <pc:docMk/>
            <pc:sldMk cId="1693693596" sldId="356"/>
            <ac:spMk id="13" creationId="{C971EE70-5A74-51B2-40F4-7664F031E696}"/>
          </ac:spMkLst>
        </pc:spChg>
        <pc:spChg chg="mod">
          <ac:chgData name="Shiva0 Kumar" userId="89033066f8f0ef15" providerId="LiveId" clId="{AFEE8D3A-6FE5-4119-B5D6-26956AD41DB2}" dt="2024-05-31T12:51:40.112" v="5266" actId="1076"/>
          <ac:spMkLst>
            <pc:docMk/>
            <pc:sldMk cId="1693693596" sldId="356"/>
            <ac:spMk id="14" creationId="{C9758D44-57A3-0511-7EE2-B9BA31A9EA59}"/>
          </ac:spMkLst>
        </pc:spChg>
        <pc:spChg chg="add del mod">
          <ac:chgData name="Shiva0 Kumar" userId="89033066f8f0ef15" providerId="LiveId" clId="{AFEE8D3A-6FE5-4119-B5D6-26956AD41DB2}" dt="2024-05-15T10:49:48.166" v="3168" actId="21"/>
          <ac:spMkLst>
            <pc:docMk/>
            <pc:sldMk cId="1693693596" sldId="356"/>
            <ac:spMk id="15" creationId="{94F3A6AE-05FB-9FEB-6CA1-FD33E99F67AD}"/>
          </ac:spMkLst>
        </pc:spChg>
        <pc:spChg chg="add del mod">
          <ac:chgData name="Shiva0 Kumar" userId="89033066f8f0ef15" providerId="LiveId" clId="{AFEE8D3A-6FE5-4119-B5D6-26956AD41DB2}" dt="2024-05-15T10:49:46.096" v="3167" actId="21"/>
          <ac:spMkLst>
            <pc:docMk/>
            <pc:sldMk cId="1693693596" sldId="356"/>
            <ac:spMk id="16" creationId="{9C8F5C57-EAEE-41BE-D82C-4E0EA63967AC}"/>
          </ac:spMkLst>
        </pc:spChg>
        <pc:spChg chg="add del mod">
          <ac:chgData name="Shiva0 Kumar" userId="89033066f8f0ef15" providerId="LiveId" clId="{AFEE8D3A-6FE5-4119-B5D6-26956AD41DB2}" dt="2024-05-15T10:49:44.184" v="3166" actId="21"/>
          <ac:spMkLst>
            <pc:docMk/>
            <pc:sldMk cId="1693693596" sldId="356"/>
            <ac:spMk id="17" creationId="{343AE765-A543-9759-881A-EF329F4110DD}"/>
          </ac:spMkLst>
        </pc:spChg>
        <pc:spChg chg="add del mod">
          <ac:chgData name="Shiva0 Kumar" userId="89033066f8f0ef15" providerId="LiveId" clId="{AFEE8D3A-6FE5-4119-B5D6-26956AD41DB2}" dt="2024-05-15T10:49:38.006" v="3163" actId="21"/>
          <ac:spMkLst>
            <pc:docMk/>
            <pc:sldMk cId="1693693596" sldId="356"/>
            <ac:spMk id="18" creationId="{60B5AF3B-EF1C-1224-889B-7AAE65D5B3A2}"/>
          </ac:spMkLst>
        </pc:spChg>
        <pc:spChg chg="add del mod">
          <ac:chgData name="Shiva0 Kumar" userId="89033066f8f0ef15" providerId="LiveId" clId="{AFEE8D3A-6FE5-4119-B5D6-26956AD41DB2}" dt="2024-05-15T10:49:42.104" v="3165" actId="21"/>
          <ac:spMkLst>
            <pc:docMk/>
            <pc:sldMk cId="1693693596" sldId="356"/>
            <ac:spMk id="19" creationId="{C3A55867-8ABE-5FFE-2134-8FC05CCF4FDE}"/>
          </ac:spMkLst>
        </pc:spChg>
        <pc:spChg chg="add del mod">
          <ac:chgData name="Shiva0 Kumar" userId="89033066f8f0ef15" providerId="LiveId" clId="{AFEE8D3A-6FE5-4119-B5D6-26956AD41DB2}" dt="2024-05-15T10:49:14.596" v="3153" actId="21"/>
          <ac:spMkLst>
            <pc:docMk/>
            <pc:sldMk cId="1693693596" sldId="356"/>
            <ac:spMk id="20" creationId="{7ABACC0D-1482-DD1F-3CFE-0DDEF518A65E}"/>
          </ac:spMkLst>
        </pc:spChg>
        <pc:spChg chg="add mod">
          <ac:chgData name="Shiva0 Kumar" userId="89033066f8f0ef15" providerId="LiveId" clId="{AFEE8D3A-6FE5-4119-B5D6-26956AD41DB2}" dt="2024-05-15T10:52:37.651" v="3238"/>
          <ac:spMkLst>
            <pc:docMk/>
            <pc:sldMk cId="1693693596" sldId="356"/>
            <ac:spMk id="22" creationId="{3934D5D5-5EEB-F7BA-88A7-29DFF7F6E68F}"/>
          </ac:spMkLst>
        </pc:spChg>
        <pc:spChg chg="add mod">
          <ac:chgData name="Shiva0 Kumar" userId="89033066f8f0ef15" providerId="LiveId" clId="{AFEE8D3A-6FE5-4119-B5D6-26956AD41DB2}" dt="2024-05-20T12:10:19.296" v="3373" actId="113"/>
          <ac:spMkLst>
            <pc:docMk/>
            <pc:sldMk cId="1693693596" sldId="356"/>
            <ac:spMk id="23" creationId="{33372AC5-E8C3-F83A-61A7-6C903BDAD96A}"/>
          </ac:spMkLst>
        </pc:spChg>
        <pc:grpChg chg="mod">
          <ac:chgData name="Shiva0 Kumar" userId="89033066f8f0ef15" providerId="LiveId" clId="{AFEE8D3A-6FE5-4119-B5D6-26956AD41DB2}" dt="2024-05-31T12:51:50.920" v="5268" actId="207"/>
          <ac:grpSpMkLst>
            <pc:docMk/>
            <pc:sldMk cId="1693693596" sldId="356"/>
            <ac:grpSpMk id="12" creationId="{CEB11757-CE84-94A6-4E0C-D8847F43721F}"/>
          </ac:grpSpMkLst>
        </pc:grpChg>
        <pc:graphicFrameChg chg="add del mod ord">
          <ac:chgData name="Shiva0 Kumar" userId="89033066f8f0ef15" providerId="LiveId" clId="{AFEE8D3A-6FE5-4119-B5D6-26956AD41DB2}" dt="2024-05-15T10:49:17.865" v="3155" actId="21"/>
          <ac:graphicFrameMkLst>
            <pc:docMk/>
            <pc:sldMk cId="1693693596" sldId="356"/>
            <ac:graphicFrameMk id="2" creationId="{245950C8-B212-6AFB-A3D8-E536F5213877}"/>
          </ac:graphicFrameMkLst>
        </pc:graphicFrameChg>
        <pc:graphicFrameChg chg="add mod">
          <ac:chgData name="Shiva0 Kumar" userId="89033066f8f0ef15" providerId="LiveId" clId="{AFEE8D3A-6FE5-4119-B5D6-26956AD41DB2}" dt="2024-05-15T10:52:13.229" v="3212" actId="14861"/>
          <ac:graphicFrameMkLst>
            <pc:docMk/>
            <pc:sldMk cId="1693693596" sldId="356"/>
            <ac:graphicFrameMk id="21" creationId="{245950C8-B212-6AFB-A3D8-E536F5213877}"/>
          </ac:graphicFrameMkLst>
        </pc:graphicFrameChg>
      </pc:sldChg>
      <pc:sldChg chg="addSp delSp modSp del mod">
        <pc:chgData name="Shiva0 Kumar" userId="89033066f8f0ef15" providerId="LiveId" clId="{AFEE8D3A-6FE5-4119-B5D6-26956AD41DB2}" dt="2024-06-01T03:32:10.998" v="7641" actId="2696"/>
        <pc:sldMkLst>
          <pc:docMk/>
          <pc:sldMk cId="2491489327" sldId="357"/>
        </pc:sldMkLst>
        <pc:spChg chg="add del mod">
          <ac:chgData name="Shiva0 Kumar" userId="89033066f8f0ef15" providerId="LiveId" clId="{AFEE8D3A-6FE5-4119-B5D6-26956AD41DB2}" dt="2024-05-31T12:59:35.435" v="5454" actId="21"/>
          <ac:spMkLst>
            <pc:docMk/>
            <pc:sldMk cId="2491489327" sldId="357"/>
            <ac:spMk id="2" creationId="{6A500FB9-A08B-B353-F062-5DC9C6F1265C}"/>
          </ac:spMkLst>
        </pc:spChg>
        <pc:spChg chg="add mod">
          <ac:chgData name="Shiva0 Kumar" userId="89033066f8f0ef15" providerId="LiveId" clId="{AFEE8D3A-6FE5-4119-B5D6-26956AD41DB2}" dt="2024-05-31T12:59:54.085" v="5483" actId="20577"/>
          <ac:spMkLst>
            <pc:docMk/>
            <pc:sldMk cId="2491489327" sldId="357"/>
            <ac:spMk id="4" creationId="{0C93E352-C0A6-A51E-33F9-E74035337C81}"/>
          </ac:spMkLst>
        </pc:spChg>
        <pc:spChg chg="del">
          <ac:chgData name="Shiva0 Kumar" userId="89033066f8f0ef15" providerId="LiveId" clId="{AFEE8D3A-6FE5-4119-B5D6-26956AD41DB2}" dt="2024-05-15T11:02:01.537" v="3321" actId="21"/>
          <ac:spMkLst>
            <pc:docMk/>
            <pc:sldMk cId="2491489327" sldId="357"/>
            <ac:spMk id="6" creationId="{D24DC781-AC70-4CCD-8B70-39BA47EBA0E9}"/>
          </ac:spMkLst>
        </pc:spChg>
        <pc:spChg chg="mod">
          <ac:chgData name="Shiva0 Kumar" userId="89033066f8f0ef15" providerId="LiveId" clId="{AFEE8D3A-6FE5-4119-B5D6-26956AD41DB2}" dt="2024-05-31T12:53:58.138" v="5391" actId="207"/>
          <ac:spMkLst>
            <pc:docMk/>
            <pc:sldMk cId="2491489327" sldId="357"/>
            <ac:spMk id="11" creationId="{EFDE5DB5-4A97-D701-9D04-FF1F8B4DE9BA}"/>
          </ac:spMkLst>
        </pc:spChg>
        <pc:spChg chg="mod">
          <ac:chgData name="Shiva0 Kumar" userId="89033066f8f0ef15" providerId="LiveId" clId="{AFEE8D3A-6FE5-4119-B5D6-26956AD41DB2}" dt="2024-05-31T12:53:47.105" v="5389" actId="1076"/>
          <ac:spMkLst>
            <pc:docMk/>
            <pc:sldMk cId="2491489327" sldId="357"/>
            <ac:spMk id="13" creationId="{C971EE70-5A74-51B2-40F4-7664F031E696}"/>
          </ac:spMkLst>
        </pc:spChg>
        <pc:spChg chg="mod">
          <ac:chgData name="Shiva0 Kumar" userId="89033066f8f0ef15" providerId="LiveId" clId="{AFEE8D3A-6FE5-4119-B5D6-26956AD41DB2}" dt="2024-05-31T12:53:47.105" v="5389" actId="1076"/>
          <ac:spMkLst>
            <pc:docMk/>
            <pc:sldMk cId="2491489327" sldId="357"/>
            <ac:spMk id="14" creationId="{C9758D44-57A3-0511-7EE2-B9BA31A9EA59}"/>
          </ac:spMkLst>
        </pc:spChg>
        <pc:spChg chg="del">
          <ac:chgData name="Shiva0 Kumar" userId="89033066f8f0ef15" providerId="LiveId" clId="{AFEE8D3A-6FE5-4119-B5D6-26956AD41DB2}" dt="2024-05-31T12:52:21.195" v="5271" actId="21"/>
          <ac:spMkLst>
            <pc:docMk/>
            <pc:sldMk cId="2491489327" sldId="357"/>
            <ac:spMk id="15" creationId="{F7DFA89A-DB78-4F13-61BC-A8DA727104C9}"/>
          </ac:spMkLst>
        </pc:spChg>
        <pc:grpChg chg="mod">
          <ac:chgData name="Shiva0 Kumar" userId="89033066f8f0ef15" providerId="LiveId" clId="{AFEE8D3A-6FE5-4119-B5D6-26956AD41DB2}" dt="2024-05-31T12:53:53.045" v="5390" actId="207"/>
          <ac:grpSpMkLst>
            <pc:docMk/>
            <pc:sldMk cId="2491489327" sldId="357"/>
            <ac:grpSpMk id="12" creationId="{CEB11757-CE84-94A6-4E0C-D8847F43721F}"/>
          </ac:grpSpMkLst>
        </pc:grpChg>
        <pc:picChg chg="add del mod modCrop">
          <ac:chgData name="Shiva0 Kumar" userId="89033066f8f0ef15" providerId="LiveId" clId="{AFEE8D3A-6FE5-4119-B5D6-26956AD41DB2}" dt="2024-05-31T12:53:06.633" v="5323" actId="21"/>
          <ac:picMkLst>
            <pc:docMk/>
            <pc:sldMk cId="2491489327" sldId="357"/>
            <ac:picMk id="3" creationId="{D7B9ED26-7169-E5BB-8AD4-26E9C36E7D50}"/>
          </ac:picMkLst>
        </pc:picChg>
        <pc:picChg chg="add mod">
          <ac:chgData name="Shiva0 Kumar" userId="89033066f8f0ef15" providerId="LiveId" clId="{AFEE8D3A-6FE5-4119-B5D6-26956AD41DB2}" dt="2024-05-31T13:07:23.469" v="5507" actId="14100"/>
          <ac:picMkLst>
            <pc:docMk/>
            <pc:sldMk cId="2491489327" sldId="357"/>
            <ac:picMk id="6" creationId="{0C2E52F4-D5E2-856E-0DA3-E7E0C608F03F}"/>
          </ac:picMkLst>
        </pc:picChg>
        <pc:picChg chg="add mod">
          <ac:chgData name="Shiva0 Kumar" userId="89033066f8f0ef15" providerId="LiveId" clId="{AFEE8D3A-6FE5-4119-B5D6-26956AD41DB2}" dt="2024-05-31T13:07:17.957" v="5506" actId="1076"/>
          <ac:picMkLst>
            <pc:docMk/>
            <pc:sldMk cId="2491489327" sldId="357"/>
            <ac:picMk id="8" creationId="{BB0374FF-994F-38FC-A54A-48EC0987967B}"/>
          </ac:picMkLst>
        </pc:picChg>
      </pc:sldChg>
      <pc:sldChg chg="addSp delSp modSp mod">
        <pc:chgData name="Shiva0 Kumar" userId="89033066f8f0ef15" providerId="LiveId" clId="{AFEE8D3A-6FE5-4119-B5D6-26956AD41DB2}" dt="2024-06-01T03:32:37.651" v="7645"/>
        <pc:sldMkLst>
          <pc:docMk/>
          <pc:sldMk cId="838286782" sldId="358"/>
        </pc:sldMkLst>
        <pc:spChg chg="add mod">
          <ac:chgData name="Shiva0 Kumar" userId="89033066f8f0ef15" providerId="LiveId" clId="{AFEE8D3A-6FE5-4119-B5D6-26956AD41DB2}" dt="2024-05-28T09:03:56.484" v="3499" actId="20577"/>
          <ac:spMkLst>
            <pc:docMk/>
            <pc:sldMk cId="838286782" sldId="358"/>
            <ac:spMk id="2" creationId="{6BF4DE67-0C7D-3B38-80C6-7ABB6FEE5DE8}"/>
          </ac:spMkLst>
        </pc:spChg>
        <pc:spChg chg="add mod">
          <ac:chgData name="Shiva0 Kumar" userId="89033066f8f0ef15" providerId="LiveId" clId="{AFEE8D3A-6FE5-4119-B5D6-26956AD41DB2}" dt="2024-06-01T03:32:37.651" v="7645"/>
          <ac:spMkLst>
            <pc:docMk/>
            <pc:sldMk cId="838286782" sldId="358"/>
            <ac:spMk id="3" creationId="{61481D86-43BA-3A5C-7E65-4ACDE98DF286}"/>
          </ac:spMkLst>
        </pc:spChg>
        <pc:spChg chg="add del mod">
          <ac:chgData name="Shiva0 Kumar" userId="89033066f8f0ef15" providerId="LiveId" clId="{AFEE8D3A-6FE5-4119-B5D6-26956AD41DB2}" dt="2024-05-31T13:29:30.121" v="5541" actId="21"/>
          <ac:spMkLst>
            <pc:docMk/>
            <pc:sldMk cId="838286782" sldId="358"/>
            <ac:spMk id="3" creationId="{B0BBAA67-5E46-3EF9-19F4-7F2E6E6A3706}"/>
          </ac:spMkLst>
        </pc:spChg>
        <pc:spChg chg="del mod">
          <ac:chgData name="Shiva0 Kumar" userId="89033066f8f0ef15" providerId="LiveId" clId="{AFEE8D3A-6FE5-4119-B5D6-26956AD41DB2}" dt="2024-05-31T12:55:24.820" v="5399" actId="21"/>
          <ac:spMkLst>
            <pc:docMk/>
            <pc:sldMk cId="838286782" sldId="358"/>
            <ac:spMk id="4" creationId="{F4A45F01-78F0-4AED-CA72-CF7D2B9615CC}"/>
          </ac:spMkLst>
        </pc:spChg>
        <pc:spChg chg="add del mod">
          <ac:chgData name="Shiva0 Kumar" userId="89033066f8f0ef15" providerId="LiveId" clId="{AFEE8D3A-6FE5-4119-B5D6-26956AD41DB2}" dt="2024-06-01T03:32:32.237" v="7644" actId="21"/>
          <ac:spMkLst>
            <pc:docMk/>
            <pc:sldMk cId="838286782" sldId="358"/>
            <ac:spMk id="5" creationId="{44FBA82B-FF8D-8FC0-A5A8-B9D47C708AC2}"/>
          </ac:spMkLst>
        </pc:spChg>
        <pc:spChg chg="del">
          <ac:chgData name="Shiva0 Kumar" userId="89033066f8f0ef15" providerId="LiveId" clId="{AFEE8D3A-6FE5-4119-B5D6-26956AD41DB2}" dt="2024-05-15T11:01:51.532" v="3319" actId="21"/>
          <ac:spMkLst>
            <pc:docMk/>
            <pc:sldMk cId="838286782" sldId="358"/>
            <ac:spMk id="6" creationId="{D24DC781-AC70-4CCD-8B70-39BA47EBA0E9}"/>
          </ac:spMkLst>
        </pc:spChg>
        <pc:spChg chg="mod">
          <ac:chgData name="Shiva0 Kumar" userId="89033066f8f0ef15" providerId="LiveId" clId="{AFEE8D3A-6FE5-4119-B5D6-26956AD41DB2}" dt="2024-05-31T12:56:12.015" v="5433" actId="207"/>
          <ac:spMkLst>
            <pc:docMk/>
            <pc:sldMk cId="838286782" sldId="358"/>
            <ac:spMk id="11" creationId="{EFDE5DB5-4A97-D701-9D04-FF1F8B4DE9BA}"/>
          </ac:spMkLst>
        </pc:spChg>
        <pc:spChg chg="mod">
          <ac:chgData name="Shiva0 Kumar" userId="89033066f8f0ef15" providerId="LiveId" clId="{AFEE8D3A-6FE5-4119-B5D6-26956AD41DB2}" dt="2024-05-31T12:55:58.157" v="5431" actId="1076"/>
          <ac:spMkLst>
            <pc:docMk/>
            <pc:sldMk cId="838286782" sldId="358"/>
            <ac:spMk id="13" creationId="{C971EE70-5A74-51B2-40F4-7664F031E696}"/>
          </ac:spMkLst>
        </pc:spChg>
        <pc:spChg chg="mod">
          <ac:chgData name="Shiva0 Kumar" userId="89033066f8f0ef15" providerId="LiveId" clId="{AFEE8D3A-6FE5-4119-B5D6-26956AD41DB2}" dt="2024-05-31T12:55:58.157" v="5431" actId="1076"/>
          <ac:spMkLst>
            <pc:docMk/>
            <pc:sldMk cId="838286782" sldId="358"/>
            <ac:spMk id="14" creationId="{C9758D44-57A3-0511-7EE2-B9BA31A9EA59}"/>
          </ac:spMkLst>
        </pc:spChg>
        <pc:grpChg chg="mod">
          <ac:chgData name="Shiva0 Kumar" userId="89033066f8f0ef15" providerId="LiveId" clId="{AFEE8D3A-6FE5-4119-B5D6-26956AD41DB2}" dt="2024-05-31T12:56:07.103" v="5432" actId="207"/>
          <ac:grpSpMkLst>
            <pc:docMk/>
            <pc:sldMk cId="838286782" sldId="358"/>
            <ac:grpSpMk id="12" creationId="{CEB11757-CE84-94A6-4E0C-D8847F43721F}"/>
          </ac:grpSpMkLst>
        </pc:grpChg>
      </pc:sldChg>
      <pc:sldChg chg="addSp delSp modSp add del mod">
        <pc:chgData name="Shiva0 Kumar" userId="89033066f8f0ef15" providerId="LiveId" clId="{AFEE8D3A-6FE5-4119-B5D6-26956AD41DB2}" dt="2024-05-31T12:53:38.320" v="5387" actId="2696"/>
        <pc:sldMkLst>
          <pc:docMk/>
          <pc:sldMk cId="1284901108" sldId="359"/>
        </pc:sldMkLst>
        <pc:spChg chg="del">
          <ac:chgData name="Shiva0 Kumar" userId="89033066f8f0ef15" providerId="LiveId" clId="{AFEE8D3A-6FE5-4119-B5D6-26956AD41DB2}" dt="2024-05-15T11:01:05.089" v="3312" actId="21"/>
          <ac:spMkLst>
            <pc:docMk/>
            <pc:sldMk cId="1284901108" sldId="359"/>
            <ac:spMk id="6" creationId="{D24DC781-AC70-4CCD-8B70-39BA47EBA0E9}"/>
          </ac:spMkLst>
        </pc:spChg>
        <pc:picChg chg="del">
          <ac:chgData name="Shiva0 Kumar" userId="89033066f8f0ef15" providerId="LiveId" clId="{AFEE8D3A-6FE5-4119-B5D6-26956AD41DB2}" dt="2024-05-15T11:00:10.860" v="3308" actId="21"/>
          <ac:picMkLst>
            <pc:docMk/>
            <pc:sldMk cId="1284901108" sldId="359"/>
            <ac:picMk id="3" creationId="{D7B9ED26-7169-E5BB-8AD4-26E9C36E7D50}"/>
          </ac:picMkLst>
        </pc:picChg>
        <pc:picChg chg="add del mod">
          <ac:chgData name="Shiva0 Kumar" userId="89033066f8f0ef15" providerId="LiveId" clId="{AFEE8D3A-6FE5-4119-B5D6-26956AD41DB2}" dt="2024-05-31T12:53:13.139" v="5325" actId="21"/>
          <ac:picMkLst>
            <pc:docMk/>
            <pc:sldMk cId="1284901108" sldId="359"/>
            <ac:picMk id="4" creationId="{F30CFC6E-A7B0-7A04-75BC-E35AA309F467}"/>
          </ac:picMkLst>
        </pc:picChg>
      </pc:sldChg>
      <pc:sldChg chg="addSp delSp modSp add mod">
        <pc:chgData name="Shiva0 Kumar" userId="89033066f8f0ef15" providerId="LiveId" clId="{AFEE8D3A-6FE5-4119-B5D6-26956AD41DB2}" dt="2024-06-01T03:32:55.714" v="7671" actId="20577"/>
        <pc:sldMkLst>
          <pc:docMk/>
          <pc:sldMk cId="2357404143" sldId="360"/>
        </pc:sldMkLst>
        <pc:spChg chg="mod">
          <ac:chgData name="Shiva0 Kumar" userId="89033066f8f0ef15" providerId="LiveId" clId="{AFEE8D3A-6FE5-4119-B5D6-26956AD41DB2}" dt="2024-05-28T09:04:18.284" v="3563" actId="20577"/>
          <ac:spMkLst>
            <pc:docMk/>
            <pc:sldMk cId="2357404143" sldId="360"/>
            <ac:spMk id="2" creationId="{6BF4DE67-0C7D-3B38-80C6-7ABB6FEE5DE8}"/>
          </ac:spMkLst>
        </pc:spChg>
        <pc:spChg chg="add del mod">
          <ac:chgData name="Shiva0 Kumar" userId="89033066f8f0ef15" providerId="LiveId" clId="{AFEE8D3A-6FE5-4119-B5D6-26956AD41DB2}" dt="2024-06-01T03:32:41.231" v="7646" actId="21"/>
          <ac:spMkLst>
            <pc:docMk/>
            <pc:sldMk cId="2357404143" sldId="360"/>
            <ac:spMk id="3" creationId="{A8AE6970-6DAE-C9BE-32B7-2F46D90DDAEC}"/>
          </ac:spMkLst>
        </pc:spChg>
        <pc:spChg chg="add mod">
          <ac:chgData name="Shiva0 Kumar" userId="89033066f8f0ef15" providerId="LiveId" clId="{AFEE8D3A-6FE5-4119-B5D6-26956AD41DB2}" dt="2024-06-01T03:32:55.714" v="7671" actId="20577"/>
          <ac:spMkLst>
            <pc:docMk/>
            <pc:sldMk cId="2357404143" sldId="360"/>
            <ac:spMk id="4" creationId="{1FCE28D2-625F-7DFA-3144-550973237851}"/>
          </ac:spMkLst>
        </pc:spChg>
        <pc:spChg chg="del mod">
          <ac:chgData name="Shiva0 Kumar" userId="89033066f8f0ef15" providerId="LiveId" clId="{AFEE8D3A-6FE5-4119-B5D6-26956AD41DB2}" dt="2024-05-31T13:29:39.138" v="5543" actId="21"/>
          <ac:spMkLst>
            <pc:docMk/>
            <pc:sldMk cId="2357404143" sldId="360"/>
            <ac:spMk id="4" creationId="{F4A45F01-78F0-4AED-CA72-CF7D2B9615CC}"/>
          </ac:spMkLst>
        </pc:spChg>
        <pc:spChg chg="mod">
          <ac:chgData name="Shiva0 Kumar" userId="89033066f8f0ef15" providerId="LiveId" clId="{AFEE8D3A-6FE5-4119-B5D6-26956AD41DB2}" dt="2024-05-31T12:56:22.571" v="5434" actId="1076"/>
          <ac:spMkLst>
            <pc:docMk/>
            <pc:sldMk cId="2357404143" sldId="360"/>
            <ac:spMk id="11" creationId="{EFDE5DB5-4A97-D701-9D04-FF1F8B4DE9BA}"/>
          </ac:spMkLst>
        </pc:spChg>
        <pc:spChg chg="mod">
          <ac:chgData name="Shiva0 Kumar" userId="89033066f8f0ef15" providerId="LiveId" clId="{AFEE8D3A-6FE5-4119-B5D6-26956AD41DB2}" dt="2024-05-31T12:56:28.704" v="5435" actId="1076"/>
          <ac:spMkLst>
            <pc:docMk/>
            <pc:sldMk cId="2357404143" sldId="360"/>
            <ac:spMk id="13" creationId="{C971EE70-5A74-51B2-40F4-7664F031E696}"/>
          </ac:spMkLst>
        </pc:spChg>
        <pc:spChg chg="mod">
          <ac:chgData name="Shiva0 Kumar" userId="89033066f8f0ef15" providerId="LiveId" clId="{AFEE8D3A-6FE5-4119-B5D6-26956AD41DB2}" dt="2024-05-31T12:56:28.704" v="5435" actId="1076"/>
          <ac:spMkLst>
            <pc:docMk/>
            <pc:sldMk cId="2357404143" sldId="360"/>
            <ac:spMk id="14" creationId="{C9758D44-57A3-0511-7EE2-B9BA31A9EA59}"/>
          </ac:spMkLst>
        </pc:spChg>
        <pc:grpChg chg="mod">
          <ac:chgData name="Shiva0 Kumar" userId="89033066f8f0ef15" providerId="LiveId" clId="{AFEE8D3A-6FE5-4119-B5D6-26956AD41DB2}" dt="2024-05-31T12:56:28.704" v="5435" actId="1076"/>
          <ac:grpSpMkLst>
            <pc:docMk/>
            <pc:sldMk cId="2357404143" sldId="360"/>
            <ac:grpSpMk id="12" creationId="{CEB11757-CE84-94A6-4E0C-D8847F43721F}"/>
          </ac:grpSpMkLst>
        </pc:grpChg>
      </pc:sldChg>
      <pc:sldChg chg="addSp delSp modSp add del mod">
        <pc:chgData name="Shiva0 Kumar" userId="89033066f8f0ef15" providerId="LiveId" clId="{AFEE8D3A-6FE5-4119-B5D6-26956AD41DB2}" dt="2024-05-20T12:12:50.156" v="3394" actId="2696"/>
        <pc:sldMkLst>
          <pc:docMk/>
          <pc:sldMk cId="2462667784" sldId="360"/>
        </pc:sldMkLst>
        <pc:spChg chg="del mod">
          <ac:chgData name="Shiva0 Kumar" userId="89033066f8f0ef15" providerId="LiveId" clId="{AFEE8D3A-6FE5-4119-B5D6-26956AD41DB2}" dt="2024-05-20T12:09:01.359" v="3354"/>
          <ac:spMkLst>
            <pc:docMk/>
            <pc:sldMk cId="2462667784" sldId="360"/>
            <ac:spMk id="2" creationId="{6BF4DE67-0C7D-3B38-80C6-7ABB6FEE5DE8}"/>
          </ac:spMkLst>
        </pc:spChg>
        <pc:spChg chg="add del mod">
          <ac:chgData name="Shiva0 Kumar" userId="89033066f8f0ef15" providerId="LiveId" clId="{AFEE8D3A-6FE5-4119-B5D6-26956AD41DB2}" dt="2024-05-20T12:12:47.575" v="3393" actId="21"/>
          <ac:spMkLst>
            <pc:docMk/>
            <pc:sldMk cId="2462667784" sldId="360"/>
            <ac:spMk id="5" creationId="{6D9920C6-AF53-7508-AB74-2FE2CB0FF88A}"/>
          </ac:spMkLst>
        </pc:spChg>
      </pc:sldChg>
      <pc:sldChg chg="addSp delSp modSp add del mod ord">
        <pc:chgData name="Shiva0 Kumar" userId="89033066f8f0ef15" providerId="LiveId" clId="{AFEE8D3A-6FE5-4119-B5D6-26956AD41DB2}" dt="2024-06-01T03:32:07.655" v="7640" actId="2696"/>
        <pc:sldMkLst>
          <pc:docMk/>
          <pc:sldMk cId="1943688574" sldId="361"/>
        </pc:sldMkLst>
        <pc:spChg chg="add del mod">
          <ac:chgData name="Shiva0 Kumar" userId="89033066f8f0ef15" providerId="LiveId" clId="{AFEE8D3A-6FE5-4119-B5D6-26956AD41DB2}" dt="2024-05-31T12:53:18.496" v="5326" actId="21"/>
          <ac:spMkLst>
            <pc:docMk/>
            <pc:sldMk cId="1943688574" sldId="361"/>
            <ac:spMk id="7" creationId="{958F31C2-A22F-B5A6-5F1F-19532169280D}"/>
          </ac:spMkLst>
        </pc:spChg>
        <pc:spChg chg="add mod">
          <ac:chgData name="Shiva0 Kumar" userId="89033066f8f0ef15" providerId="LiveId" clId="{AFEE8D3A-6FE5-4119-B5D6-26956AD41DB2}" dt="2024-05-31T12:59:29.476" v="5453"/>
          <ac:spMkLst>
            <pc:docMk/>
            <pc:sldMk cId="1943688574" sldId="361"/>
            <ac:spMk id="8" creationId="{EC3D114C-425B-D6CC-0D83-E06C5A32CD72}"/>
          </ac:spMkLst>
        </pc:spChg>
        <pc:spChg chg="mod">
          <ac:chgData name="Shiva0 Kumar" userId="89033066f8f0ef15" providerId="LiveId" clId="{AFEE8D3A-6FE5-4119-B5D6-26956AD41DB2}" dt="2024-05-31T12:54:14.158" v="5392" actId="1076"/>
          <ac:spMkLst>
            <pc:docMk/>
            <pc:sldMk cId="1943688574" sldId="361"/>
            <ac:spMk id="11" creationId="{EFDE5DB5-4A97-D701-9D04-FF1F8B4DE9BA}"/>
          </ac:spMkLst>
        </pc:spChg>
        <pc:spChg chg="mod">
          <ac:chgData name="Shiva0 Kumar" userId="89033066f8f0ef15" providerId="LiveId" clId="{AFEE8D3A-6FE5-4119-B5D6-26956AD41DB2}" dt="2024-05-31T12:54:27.503" v="5393" actId="1076"/>
          <ac:spMkLst>
            <pc:docMk/>
            <pc:sldMk cId="1943688574" sldId="361"/>
            <ac:spMk id="13" creationId="{C971EE70-5A74-51B2-40F4-7664F031E696}"/>
          </ac:spMkLst>
        </pc:spChg>
        <pc:spChg chg="mod">
          <ac:chgData name="Shiva0 Kumar" userId="89033066f8f0ef15" providerId="LiveId" clId="{AFEE8D3A-6FE5-4119-B5D6-26956AD41DB2}" dt="2024-05-31T12:54:27.503" v="5393" actId="1076"/>
          <ac:spMkLst>
            <pc:docMk/>
            <pc:sldMk cId="1943688574" sldId="361"/>
            <ac:spMk id="14" creationId="{C9758D44-57A3-0511-7EE2-B9BA31A9EA59}"/>
          </ac:spMkLst>
        </pc:spChg>
        <pc:spChg chg="del mod">
          <ac:chgData name="Shiva0 Kumar" userId="89033066f8f0ef15" providerId="LiveId" clId="{AFEE8D3A-6FE5-4119-B5D6-26956AD41DB2}" dt="2024-05-31T12:59:21.078" v="5452" actId="21"/>
          <ac:spMkLst>
            <pc:docMk/>
            <pc:sldMk cId="1943688574" sldId="361"/>
            <ac:spMk id="15" creationId="{F7DFA89A-DB78-4F13-61BC-A8DA727104C9}"/>
          </ac:spMkLst>
        </pc:spChg>
        <pc:grpChg chg="mod">
          <ac:chgData name="Shiva0 Kumar" userId="89033066f8f0ef15" providerId="LiveId" clId="{AFEE8D3A-6FE5-4119-B5D6-26956AD41DB2}" dt="2024-05-31T12:54:27.503" v="5393" actId="1076"/>
          <ac:grpSpMkLst>
            <pc:docMk/>
            <pc:sldMk cId="1943688574" sldId="361"/>
            <ac:grpSpMk id="12" creationId="{CEB11757-CE84-94A6-4E0C-D8847F43721F}"/>
          </ac:grpSpMkLst>
        </pc:grpChg>
        <pc:picChg chg="add del mod">
          <ac:chgData name="Shiva0 Kumar" userId="89033066f8f0ef15" providerId="LiveId" clId="{AFEE8D3A-6FE5-4119-B5D6-26956AD41DB2}" dt="2024-05-31T13:07:28.238" v="5508" actId="21"/>
          <ac:picMkLst>
            <pc:docMk/>
            <pc:sldMk cId="1943688574" sldId="361"/>
            <ac:picMk id="3" creationId="{45C5653C-E47B-36CA-58FF-B09B94E08779}"/>
          </ac:picMkLst>
        </pc:picChg>
        <pc:picChg chg="del">
          <ac:chgData name="Shiva0 Kumar" userId="89033066f8f0ef15" providerId="LiveId" clId="{AFEE8D3A-6FE5-4119-B5D6-26956AD41DB2}" dt="2024-05-20T12:20:01.681" v="3414" actId="21"/>
          <ac:picMkLst>
            <pc:docMk/>
            <pc:sldMk cId="1943688574" sldId="361"/>
            <ac:picMk id="3" creationId="{D7B9ED26-7169-E5BB-8AD4-26E9C36E7D50}"/>
          </ac:picMkLst>
        </pc:picChg>
        <pc:picChg chg="add del mod">
          <ac:chgData name="Shiva0 Kumar" userId="89033066f8f0ef15" providerId="LiveId" clId="{AFEE8D3A-6FE5-4119-B5D6-26956AD41DB2}" dt="2024-05-20T12:21:07.886" v="3421" actId="21"/>
          <ac:picMkLst>
            <pc:docMk/>
            <pc:sldMk cId="1943688574" sldId="361"/>
            <ac:picMk id="4" creationId="{DD6846F5-4CA6-D306-E801-595BC53F49CC}"/>
          </ac:picMkLst>
        </pc:picChg>
        <pc:picChg chg="add del mod modCrop">
          <ac:chgData name="Shiva0 Kumar" userId="89033066f8f0ef15" providerId="LiveId" clId="{AFEE8D3A-6FE5-4119-B5D6-26956AD41DB2}" dt="2024-05-31T13:07:30.158" v="5509" actId="21"/>
          <ac:picMkLst>
            <pc:docMk/>
            <pc:sldMk cId="1943688574" sldId="361"/>
            <ac:picMk id="5" creationId="{E4076256-A069-C01D-EFC6-7A8BD7B0CC33}"/>
          </ac:picMkLst>
        </pc:picChg>
        <pc:picChg chg="add del mod">
          <ac:chgData name="Shiva0 Kumar" userId="89033066f8f0ef15" providerId="LiveId" clId="{AFEE8D3A-6FE5-4119-B5D6-26956AD41DB2}" dt="2024-05-31T12:53:09.105" v="5324" actId="21"/>
          <ac:picMkLst>
            <pc:docMk/>
            <pc:sldMk cId="1943688574" sldId="361"/>
            <ac:picMk id="6" creationId="{CFBBE23D-ADD2-4A01-2A4F-0AC680D80C1D}"/>
          </ac:picMkLst>
        </pc:picChg>
        <pc:picChg chg="add mod">
          <ac:chgData name="Shiva0 Kumar" userId="89033066f8f0ef15" providerId="LiveId" clId="{AFEE8D3A-6FE5-4119-B5D6-26956AD41DB2}" dt="2024-05-31T13:08:48.041" v="5518" actId="1076"/>
          <ac:picMkLst>
            <pc:docMk/>
            <pc:sldMk cId="1943688574" sldId="361"/>
            <ac:picMk id="16" creationId="{925C7595-F5FB-1E57-165D-8E545E2BAA36}"/>
          </ac:picMkLst>
        </pc:picChg>
        <pc:picChg chg="add mod">
          <ac:chgData name="Shiva0 Kumar" userId="89033066f8f0ef15" providerId="LiveId" clId="{AFEE8D3A-6FE5-4119-B5D6-26956AD41DB2}" dt="2024-05-31T13:08:54.200" v="5520" actId="1076"/>
          <ac:picMkLst>
            <pc:docMk/>
            <pc:sldMk cId="1943688574" sldId="361"/>
            <ac:picMk id="18" creationId="{1123AC91-69D3-0415-0D77-B164CC8FE648}"/>
          </ac:picMkLst>
        </pc:picChg>
      </pc:sldChg>
      <pc:sldChg chg="add del ord">
        <pc:chgData name="Shiva0 Kumar" userId="89033066f8f0ef15" providerId="LiveId" clId="{AFEE8D3A-6FE5-4119-B5D6-26956AD41DB2}" dt="2024-05-31T07:50:44.172" v="3565" actId="2696"/>
        <pc:sldMkLst>
          <pc:docMk/>
          <pc:sldMk cId="905398062" sldId="362"/>
        </pc:sldMkLst>
      </pc:sldChg>
      <pc:sldChg chg="addSp delSp modSp add mod modTransition modClrScheme chgLayout">
        <pc:chgData name="Shiva0 Kumar" userId="89033066f8f0ef15" providerId="LiveId" clId="{AFEE8D3A-6FE5-4119-B5D6-26956AD41DB2}" dt="2024-06-01T03:12:25.547" v="7304" actId="1036"/>
        <pc:sldMkLst>
          <pc:docMk/>
          <pc:sldMk cId="1985914554" sldId="363"/>
        </pc:sldMkLst>
        <pc:spChg chg="add mod">
          <ac:chgData name="Shiva0 Kumar" userId="89033066f8f0ef15" providerId="LiveId" clId="{AFEE8D3A-6FE5-4119-B5D6-26956AD41DB2}" dt="2024-06-01T02:59:53.377" v="6455" actId="20577"/>
          <ac:spMkLst>
            <pc:docMk/>
            <pc:sldMk cId="1985914554" sldId="363"/>
            <ac:spMk id="2" creationId="{D0CA24E5-8F12-DC62-FEAF-14D167C6E280}"/>
          </ac:spMkLst>
        </pc:spChg>
        <pc:spChg chg="del">
          <ac:chgData name="Shiva0 Kumar" userId="89033066f8f0ef15" providerId="LiveId" clId="{AFEE8D3A-6FE5-4119-B5D6-26956AD41DB2}" dt="2024-06-01T02:59:24.571" v="6417" actId="21"/>
          <ac:spMkLst>
            <pc:docMk/>
            <pc:sldMk cId="1985914554" sldId="363"/>
            <ac:spMk id="3" creationId="{2A501783-0074-7960-A908-49EFD5B5EE5E}"/>
          </ac:spMkLst>
        </pc:spChg>
        <pc:spChg chg="del">
          <ac:chgData name="Shiva0 Kumar" userId="89033066f8f0ef15" providerId="LiveId" clId="{AFEE8D3A-6FE5-4119-B5D6-26956AD41DB2}" dt="2024-06-01T02:59:41.252" v="6419" actId="21"/>
          <ac:spMkLst>
            <pc:docMk/>
            <pc:sldMk cId="1985914554" sldId="363"/>
            <ac:spMk id="5" creationId="{F7DFA89A-DB78-4F13-61BC-A8DA727104C9}"/>
          </ac:spMkLst>
        </pc:spChg>
        <pc:spChg chg="add mod">
          <ac:chgData name="Shiva0 Kumar" userId="89033066f8f0ef15" providerId="LiveId" clId="{AFEE8D3A-6FE5-4119-B5D6-26956AD41DB2}" dt="2024-06-01T03:12:25.547" v="7304" actId="1036"/>
          <ac:spMkLst>
            <pc:docMk/>
            <pc:sldMk cId="1985914554" sldId="363"/>
            <ac:spMk id="6" creationId="{0DA89328-7174-036E-3CA1-DF45E5881396}"/>
          </ac:spMkLst>
        </pc:spChg>
        <pc:spChg chg="add del mod">
          <ac:chgData name="Shiva0 Kumar" userId="89033066f8f0ef15" providerId="LiveId" clId="{AFEE8D3A-6FE5-4119-B5D6-26956AD41DB2}" dt="2024-05-31T12:35:48.531" v="4870" actId="21"/>
          <ac:spMkLst>
            <pc:docMk/>
            <pc:sldMk cId="1985914554" sldId="363"/>
            <ac:spMk id="6" creationId="{726C17B7-5425-6CA3-98E0-CF58E1F53C83}"/>
          </ac:spMkLst>
        </pc:spChg>
        <pc:spChg chg="add del mod ord">
          <ac:chgData name="Shiva0 Kumar" userId="89033066f8f0ef15" providerId="LiveId" clId="{AFEE8D3A-6FE5-4119-B5D6-26956AD41DB2}" dt="2024-06-01T03:04:24.049" v="7054" actId="700"/>
          <ac:spMkLst>
            <pc:docMk/>
            <pc:sldMk cId="1985914554" sldId="363"/>
            <ac:spMk id="7" creationId="{3F1355BD-0543-549F-AFC9-9CDFE77B6FE0}"/>
          </ac:spMkLst>
        </pc:spChg>
        <pc:spChg chg="del">
          <ac:chgData name="Shiva0 Kumar" userId="89033066f8f0ef15" providerId="LiveId" clId="{AFEE8D3A-6FE5-4119-B5D6-26956AD41DB2}" dt="2024-05-31T12:27:45.269" v="4743" actId="21"/>
          <ac:spMkLst>
            <pc:docMk/>
            <pc:sldMk cId="1985914554" sldId="363"/>
            <ac:spMk id="7" creationId="{40A139BC-01BA-C6F9-5E16-7A379486AC6A}"/>
          </ac:spMkLst>
        </pc:spChg>
        <pc:spChg chg="del">
          <ac:chgData name="Shiva0 Kumar" userId="89033066f8f0ef15" providerId="LiveId" clId="{AFEE8D3A-6FE5-4119-B5D6-26956AD41DB2}" dt="2024-06-01T02:59:21.878" v="6416" actId="21"/>
          <ac:spMkLst>
            <pc:docMk/>
            <pc:sldMk cId="1985914554" sldId="363"/>
            <ac:spMk id="8" creationId="{9F0304EA-AA92-B276-9CF8-FB3AA1D74CDA}"/>
          </ac:spMkLst>
        </pc:spChg>
        <pc:spChg chg="add mod">
          <ac:chgData name="Shiva0 Kumar" userId="89033066f8f0ef15" providerId="LiveId" clId="{AFEE8D3A-6FE5-4119-B5D6-26956AD41DB2}" dt="2024-05-31T12:33:33.381" v="4821" actId="1076"/>
          <ac:spMkLst>
            <pc:docMk/>
            <pc:sldMk cId="1985914554" sldId="363"/>
            <ac:spMk id="10" creationId="{6B85F97E-EB9E-967B-4DD5-449678C0C056}"/>
          </ac:spMkLst>
        </pc:spChg>
        <pc:spChg chg="add del mod ord">
          <ac:chgData name="Shiva0 Kumar" userId="89033066f8f0ef15" providerId="LiveId" clId="{AFEE8D3A-6FE5-4119-B5D6-26956AD41DB2}" dt="2024-06-01T03:04:24.049" v="7054" actId="700"/>
          <ac:spMkLst>
            <pc:docMk/>
            <pc:sldMk cId="1985914554" sldId="363"/>
            <ac:spMk id="11" creationId="{52A3863C-A441-17AD-143F-69D72920EBA6}"/>
          </ac:spMkLst>
        </pc:spChg>
        <pc:spChg chg="del">
          <ac:chgData name="Shiva0 Kumar" userId="89033066f8f0ef15" providerId="LiveId" clId="{AFEE8D3A-6FE5-4119-B5D6-26956AD41DB2}" dt="2024-05-31T12:27:52.887" v="4745" actId="21"/>
          <ac:spMkLst>
            <pc:docMk/>
            <pc:sldMk cId="1985914554" sldId="363"/>
            <ac:spMk id="11" creationId="{EFDE5DB5-4A97-D701-9D04-FF1F8B4DE9BA}"/>
          </ac:spMkLst>
        </pc:spChg>
        <pc:spChg chg="add del mod ord">
          <ac:chgData name="Shiva0 Kumar" userId="89033066f8f0ef15" providerId="LiveId" clId="{AFEE8D3A-6FE5-4119-B5D6-26956AD41DB2}" dt="2024-06-01T03:04:24.049" v="7054" actId="700"/>
          <ac:spMkLst>
            <pc:docMk/>
            <pc:sldMk cId="1985914554" sldId="363"/>
            <ac:spMk id="12" creationId="{B145B02E-E923-675B-638A-4B049C07FFF7}"/>
          </ac:spMkLst>
        </pc:spChg>
        <pc:spChg chg="add mod">
          <ac:chgData name="Shiva0 Kumar" userId="89033066f8f0ef15" providerId="LiveId" clId="{AFEE8D3A-6FE5-4119-B5D6-26956AD41DB2}" dt="2024-06-01T03:10:02.347" v="7126"/>
          <ac:spMkLst>
            <pc:docMk/>
            <pc:sldMk cId="1985914554" sldId="363"/>
            <ac:spMk id="13" creationId="{F6182DD3-604A-9C9B-4D65-FB2BB3CCAF70}"/>
          </ac:spMkLst>
        </pc:spChg>
        <pc:spChg chg="add mod">
          <ac:chgData name="Shiva0 Kumar" userId="89033066f8f0ef15" providerId="LiveId" clId="{AFEE8D3A-6FE5-4119-B5D6-26956AD41DB2}" dt="2024-06-01T03:12:22.378" v="7303" actId="20577"/>
          <ac:spMkLst>
            <pc:docMk/>
            <pc:sldMk cId="1985914554" sldId="363"/>
            <ac:spMk id="14" creationId="{B9AED846-DF76-84CA-B0CA-9135B1936C4B}"/>
          </ac:spMkLst>
        </pc:spChg>
        <pc:spChg chg="del">
          <ac:chgData name="Shiva0 Kumar" userId="89033066f8f0ef15" providerId="LiveId" clId="{AFEE8D3A-6FE5-4119-B5D6-26956AD41DB2}" dt="2024-05-31T12:24:01.729" v="4697" actId="21"/>
          <ac:spMkLst>
            <pc:docMk/>
            <pc:sldMk cId="1985914554" sldId="363"/>
            <ac:spMk id="15" creationId="{F7DFA89A-DB78-4F13-61BC-A8DA727104C9}"/>
          </ac:spMkLst>
        </pc:spChg>
        <pc:spChg chg="mod">
          <ac:chgData name="Shiva0 Kumar" userId="89033066f8f0ef15" providerId="LiveId" clId="{AFEE8D3A-6FE5-4119-B5D6-26956AD41DB2}" dt="2024-05-31T12:33:41.001" v="4822"/>
          <ac:spMkLst>
            <pc:docMk/>
            <pc:sldMk cId="1985914554" sldId="363"/>
            <ac:spMk id="17" creationId="{EC6F524A-23B8-81C0-6185-71D6A5991960}"/>
          </ac:spMkLst>
        </pc:spChg>
        <pc:spChg chg="mod">
          <ac:chgData name="Shiva0 Kumar" userId="89033066f8f0ef15" providerId="LiveId" clId="{AFEE8D3A-6FE5-4119-B5D6-26956AD41DB2}" dt="2024-05-31T12:33:41.001" v="4822"/>
          <ac:spMkLst>
            <pc:docMk/>
            <pc:sldMk cId="1985914554" sldId="363"/>
            <ac:spMk id="18" creationId="{44932F1B-37FF-A0A1-106E-712394FD3767}"/>
          </ac:spMkLst>
        </pc:spChg>
        <pc:spChg chg="add del mod">
          <ac:chgData name="Shiva0 Kumar" userId="89033066f8f0ef15" providerId="LiveId" clId="{AFEE8D3A-6FE5-4119-B5D6-26956AD41DB2}" dt="2024-06-01T02:59:17.679" v="6415" actId="21"/>
          <ac:spMkLst>
            <pc:docMk/>
            <pc:sldMk cId="1985914554" sldId="363"/>
            <ac:spMk id="19" creationId="{B8D97C62-97C2-7B3E-0A32-320304068DCD}"/>
          </ac:spMkLst>
        </pc:spChg>
        <pc:grpChg chg="del">
          <ac:chgData name="Shiva0 Kumar" userId="89033066f8f0ef15" providerId="LiveId" clId="{AFEE8D3A-6FE5-4119-B5D6-26956AD41DB2}" dt="2024-05-31T12:27:56.905" v="4746" actId="21"/>
          <ac:grpSpMkLst>
            <pc:docMk/>
            <pc:sldMk cId="1985914554" sldId="363"/>
            <ac:grpSpMk id="12" creationId="{CEB11757-CE84-94A6-4E0C-D8847F43721F}"/>
          </ac:grpSpMkLst>
        </pc:grpChg>
        <pc:grpChg chg="add mod">
          <ac:chgData name="Shiva0 Kumar" userId="89033066f8f0ef15" providerId="LiveId" clId="{AFEE8D3A-6FE5-4119-B5D6-26956AD41DB2}" dt="2024-05-31T12:33:41.001" v="4822"/>
          <ac:grpSpMkLst>
            <pc:docMk/>
            <pc:sldMk cId="1985914554" sldId="363"/>
            <ac:grpSpMk id="16" creationId="{8E1DDA62-F660-4F35-7C97-31CD614747E3}"/>
          </ac:grpSpMkLst>
        </pc:grpChg>
        <pc:graphicFrameChg chg="del">
          <ac:chgData name="Shiva0 Kumar" userId="89033066f8f0ef15" providerId="LiveId" clId="{AFEE8D3A-6FE5-4119-B5D6-26956AD41DB2}" dt="2024-06-01T02:59:38.487" v="6418" actId="21"/>
          <ac:graphicFrameMkLst>
            <pc:docMk/>
            <pc:sldMk cId="1985914554" sldId="363"/>
            <ac:graphicFrameMk id="4" creationId="{4BFAEC6E-ED7A-D5D8-C974-BE29D15C8EF8}"/>
          </ac:graphicFrameMkLst>
        </pc:graphicFrameChg>
      </pc:sldChg>
      <pc:sldChg chg="addSp delSp modSp add mod ord modTransition">
        <pc:chgData name="Shiva0 Kumar" userId="89033066f8f0ef15" providerId="LiveId" clId="{AFEE8D3A-6FE5-4119-B5D6-26956AD41DB2}" dt="2024-06-01T02:42:05.813" v="5653" actId="20577"/>
        <pc:sldMkLst>
          <pc:docMk/>
          <pc:sldMk cId="75890333" sldId="364"/>
        </pc:sldMkLst>
        <pc:spChg chg="mod">
          <ac:chgData name="Shiva0 Kumar" userId="89033066f8f0ef15" providerId="LiveId" clId="{AFEE8D3A-6FE5-4119-B5D6-26956AD41DB2}" dt="2024-05-31T12:05:45.208" v="4493" actId="20577"/>
          <ac:spMkLst>
            <pc:docMk/>
            <pc:sldMk cId="75890333" sldId="364"/>
            <ac:spMk id="3" creationId="{8505CDED-13AE-40F0-87D6-E4A6DDAE0C42}"/>
          </ac:spMkLst>
        </pc:spChg>
        <pc:spChg chg="del">
          <ac:chgData name="Shiva0 Kumar" userId="89033066f8f0ef15" providerId="LiveId" clId="{AFEE8D3A-6FE5-4119-B5D6-26956AD41DB2}" dt="2024-05-31T12:05:49.274" v="4494" actId="21"/>
          <ac:spMkLst>
            <pc:docMk/>
            <pc:sldMk cId="75890333" sldId="364"/>
            <ac:spMk id="4" creationId="{650DC6E6-7E8C-4810-BA99-8139F7C1E125}"/>
          </ac:spMkLst>
        </pc:spChg>
        <pc:spChg chg="del">
          <ac:chgData name="Shiva0 Kumar" userId="89033066f8f0ef15" providerId="LiveId" clId="{AFEE8D3A-6FE5-4119-B5D6-26956AD41DB2}" dt="2024-06-01T02:21:41.152" v="5613" actId="21"/>
          <ac:spMkLst>
            <pc:docMk/>
            <pc:sldMk cId="75890333" sldId="364"/>
            <ac:spMk id="5" creationId="{D372E057-0BFB-4CB4-8BB3-967DEB9AF72C}"/>
          </ac:spMkLst>
        </pc:spChg>
        <pc:spChg chg="add del mod">
          <ac:chgData name="Shiva0 Kumar" userId="89033066f8f0ef15" providerId="LiveId" clId="{AFEE8D3A-6FE5-4119-B5D6-26956AD41DB2}" dt="2024-05-31T12:13:14.179" v="4522" actId="21"/>
          <ac:spMkLst>
            <pc:docMk/>
            <pc:sldMk cId="75890333" sldId="364"/>
            <ac:spMk id="10" creationId="{45EAE082-1C7D-CCE7-25CB-E92306F64758}"/>
          </ac:spMkLst>
        </pc:spChg>
        <pc:spChg chg="add mod">
          <ac:chgData name="Shiva0 Kumar" userId="89033066f8f0ef15" providerId="LiveId" clId="{AFEE8D3A-6FE5-4119-B5D6-26956AD41DB2}" dt="2024-05-31T12:31:54.629" v="4807" actId="1076"/>
          <ac:spMkLst>
            <pc:docMk/>
            <pc:sldMk cId="75890333" sldId="364"/>
            <ac:spMk id="17" creationId="{BE63A3B8-B82F-33D8-BD2C-AAC2BBABD742}"/>
          </ac:spMkLst>
        </pc:spChg>
        <pc:spChg chg="mod">
          <ac:chgData name="Shiva0 Kumar" userId="89033066f8f0ef15" providerId="LiveId" clId="{AFEE8D3A-6FE5-4119-B5D6-26956AD41DB2}" dt="2024-05-31T12:32:11.570" v="4809" actId="1076"/>
          <ac:spMkLst>
            <pc:docMk/>
            <pc:sldMk cId="75890333" sldId="364"/>
            <ac:spMk id="19" creationId="{AC0D1BE7-E9A6-0305-F40B-97B53EC4D8D8}"/>
          </ac:spMkLst>
        </pc:spChg>
        <pc:spChg chg="mod">
          <ac:chgData name="Shiva0 Kumar" userId="89033066f8f0ef15" providerId="LiveId" clId="{AFEE8D3A-6FE5-4119-B5D6-26956AD41DB2}" dt="2024-05-31T12:32:11.570" v="4809" actId="1076"/>
          <ac:spMkLst>
            <pc:docMk/>
            <pc:sldMk cId="75890333" sldId="364"/>
            <ac:spMk id="20" creationId="{80EC7F60-1482-76CE-C7DB-E3F9F18FBF1A}"/>
          </ac:spMkLst>
        </pc:spChg>
        <pc:spChg chg="mod">
          <ac:chgData name="Shiva0 Kumar" userId="89033066f8f0ef15" providerId="LiveId" clId="{AFEE8D3A-6FE5-4119-B5D6-26956AD41DB2}" dt="2024-06-01T02:42:05.813" v="5653" actId="20577"/>
          <ac:spMkLst>
            <pc:docMk/>
            <pc:sldMk cId="75890333" sldId="364"/>
            <ac:spMk id="70" creationId="{EEA33782-7A7E-4D41-81B3-F50E206F5DD2}"/>
          </ac:spMkLst>
        </pc:spChg>
        <pc:spChg chg="mod">
          <ac:chgData name="Shiva0 Kumar" userId="89033066f8f0ef15" providerId="LiveId" clId="{AFEE8D3A-6FE5-4119-B5D6-26956AD41DB2}" dt="2024-05-31T12:25:14.350" v="4737" actId="255"/>
          <ac:spMkLst>
            <pc:docMk/>
            <pc:sldMk cId="75890333" sldId="364"/>
            <ac:spMk id="71" creationId="{2DB7BD0B-175A-494D-871C-CFFA2385BD20}"/>
          </ac:spMkLst>
        </pc:spChg>
        <pc:spChg chg="mod">
          <ac:chgData name="Shiva0 Kumar" userId="89033066f8f0ef15" providerId="LiveId" clId="{AFEE8D3A-6FE5-4119-B5D6-26956AD41DB2}" dt="2024-05-31T12:53:00.637" v="5322" actId="20577"/>
          <ac:spMkLst>
            <pc:docMk/>
            <pc:sldMk cId="75890333" sldId="364"/>
            <ac:spMk id="72" creationId="{3A71C9F2-634E-46AD-9325-47516FC1ED7C}"/>
          </ac:spMkLst>
        </pc:spChg>
        <pc:spChg chg="mod">
          <ac:chgData name="Shiva0 Kumar" userId="89033066f8f0ef15" providerId="LiveId" clId="{AFEE8D3A-6FE5-4119-B5D6-26956AD41DB2}" dt="2024-05-31T12:25:31.884" v="4741" actId="2711"/>
          <ac:spMkLst>
            <pc:docMk/>
            <pc:sldMk cId="75890333" sldId="364"/>
            <ac:spMk id="73" creationId="{EE801752-C377-4A58-80CA-F6C4BD366299}"/>
          </ac:spMkLst>
        </pc:spChg>
        <pc:grpChg chg="add mod">
          <ac:chgData name="Shiva0 Kumar" userId="89033066f8f0ef15" providerId="LiveId" clId="{AFEE8D3A-6FE5-4119-B5D6-26956AD41DB2}" dt="2024-05-31T12:32:11.570" v="4809" actId="1076"/>
          <ac:grpSpMkLst>
            <pc:docMk/>
            <pc:sldMk cId="75890333" sldId="364"/>
            <ac:grpSpMk id="18" creationId="{89B710DE-570A-34D4-BF3E-1C99BE9CDAEF}"/>
          </ac:grpSpMkLst>
        </pc:grpChg>
        <pc:grpChg chg="del">
          <ac:chgData name="Shiva0 Kumar" userId="89033066f8f0ef15" providerId="LiveId" clId="{AFEE8D3A-6FE5-4119-B5D6-26956AD41DB2}" dt="2024-05-31T12:06:54.211" v="4496" actId="21"/>
          <ac:grpSpMkLst>
            <pc:docMk/>
            <pc:sldMk cId="75890333" sldId="364"/>
            <ac:grpSpMk id="74" creationId="{B948E77D-5CEE-4261-9A51-8995B9C0CA16}"/>
          </ac:grpSpMkLst>
        </pc:grpChg>
        <pc:grpChg chg="del">
          <ac:chgData name="Shiva0 Kumar" userId="89033066f8f0ef15" providerId="LiveId" clId="{AFEE8D3A-6FE5-4119-B5D6-26956AD41DB2}" dt="2024-05-31T12:13:58.904" v="4530" actId="21"/>
          <ac:grpSpMkLst>
            <pc:docMk/>
            <pc:sldMk cId="75890333" sldId="364"/>
            <ac:grpSpMk id="79" creationId="{506280C8-7C00-4451-B900-7CC9AFE83431}"/>
          </ac:grpSpMkLst>
        </pc:grpChg>
        <pc:grpChg chg="del">
          <ac:chgData name="Shiva0 Kumar" userId="89033066f8f0ef15" providerId="LiveId" clId="{AFEE8D3A-6FE5-4119-B5D6-26956AD41DB2}" dt="2024-05-31T12:16:05.492" v="4534" actId="21"/>
          <ac:grpSpMkLst>
            <pc:docMk/>
            <pc:sldMk cId="75890333" sldId="364"/>
            <ac:grpSpMk id="83" creationId="{E6F395BA-90D8-4100-9EF1-DBF9E65546A4}"/>
          </ac:grpSpMkLst>
        </pc:grpChg>
        <pc:grpChg chg="del">
          <ac:chgData name="Shiva0 Kumar" userId="89033066f8f0ef15" providerId="LiveId" clId="{AFEE8D3A-6FE5-4119-B5D6-26956AD41DB2}" dt="2024-05-31T12:07:07.004" v="4499" actId="21"/>
          <ac:grpSpMkLst>
            <pc:docMk/>
            <pc:sldMk cId="75890333" sldId="364"/>
            <ac:grpSpMk id="86" creationId="{DAB3506F-004A-40E9-815A-A703FA199FD4}"/>
          </ac:grpSpMkLst>
        </pc:grpChg>
        <pc:picChg chg="add mod">
          <ac:chgData name="Shiva0 Kumar" userId="89033066f8f0ef15" providerId="LiveId" clId="{AFEE8D3A-6FE5-4119-B5D6-26956AD41DB2}" dt="2024-05-31T12:07:03.274" v="4498" actId="1076"/>
          <ac:picMkLst>
            <pc:docMk/>
            <pc:sldMk cId="75890333" sldId="364"/>
            <ac:picMk id="7" creationId="{450AE50E-8AF2-079E-FB08-731201D07633}"/>
          </ac:picMkLst>
        </pc:picChg>
        <pc:picChg chg="add del mod">
          <ac:chgData name="Shiva0 Kumar" userId="89033066f8f0ef15" providerId="LiveId" clId="{AFEE8D3A-6FE5-4119-B5D6-26956AD41DB2}" dt="2024-05-31T12:13:40.342" v="4525" actId="21"/>
          <ac:picMkLst>
            <pc:docMk/>
            <pc:sldMk cId="75890333" sldId="364"/>
            <ac:picMk id="9" creationId="{7840E5F3-9F3C-3261-12D6-8389F58D73C2}"/>
          </ac:picMkLst>
        </pc:picChg>
        <pc:picChg chg="add mod">
          <ac:chgData name="Shiva0 Kumar" userId="89033066f8f0ef15" providerId="LiveId" clId="{AFEE8D3A-6FE5-4119-B5D6-26956AD41DB2}" dt="2024-05-31T12:13:50.493" v="4529" actId="1076"/>
          <ac:picMkLst>
            <pc:docMk/>
            <pc:sldMk cId="75890333" sldId="364"/>
            <ac:picMk id="12" creationId="{03C8E6E6-02A9-4B4B-52FF-21CC76C1AA20}"/>
          </ac:picMkLst>
        </pc:picChg>
        <pc:picChg chg="add mod">
          <ac:chgData name="Shiva0 Kumar" userId="89033066f8f0ef15" providerId="LiveId" clId="{AFEE8D3A-6FE5-4119-B5D6-26956AD41DB2}" dt="2024-05-31T12:16:02.018" v="4533" actId="1076"/>
          <ac:picMkLst>
            <pc:docMk/>
            <pc:sldMk cId="75890333" sldId="364"/>
            <ac:picMk id="14" creationId="{06955D80-DEAB-DCDF-A7B9-E44941FC6241}"/>
          </ac:picMkLst>
        </pc:picChg>
        <pc:picChg chg="add mod">
          <ac:chgData name="Shiva0 Kumar" userId="89033066f8f0ef15" providerId="LiveId" clId="{AFEE8D3A-6FE5-4119-B5D6-26956AD41DB2}" dt="2024-05-31T12:17:48.781" v="4540" actId="1076"/>
          <ac:picMkLst>
            <pc:docMk/>
            <pc:sldMk cId="75890333" sldId="364"/>
            <ac:picMk id="16" creationId="{F8954DCF-A6CA-4FB0-1D4B-1CAFDEADBA78}"/>
          </ac:picMkLst>
        </pc:picChg>
      </pc:sldChg>
      <pc:sldChg chg="add del ord">
        <pc:chgData name="Shiva0 Kumar" userId="89033066f8f0ef15" providerId="LiveId" clId="{AFEE8D3A-6FE5-4119-B5D6-26956AD41DB2}" dt="2024-05-31T12:02:04.142" v="4421" actId="2890"/>
        <pc:sldMkLst>
          <pc:docMk/>
          <pc:sldMk cId="245195443" sldId="364"/>
        </pc:sldMkLst>
      </pc:sldChg>
      <pc:sldChg chg="addSp modSp add del mod ord">
        <pc:chgData name="Shiva0 Kumar" userId="89033066f8f0ef15" providerId="LiveId" clId="{AFEE8D3A-6FE5-4119-B5D6-26956AD41DB2}" dt="2024-06-01T03:32:14.687" v="7642" actId="2696"/>
        <pc:sldMkLst>
          <pc:docMk/>
          <pc:sldMk cId="561065614" sldId="365"/>
        </pc:sldMkLst>
        <pc:spChg chg="mod">
          <ac:chgData name="Shiva0 Kumar" userId="89033066f8f0ef15" providerId="LiveId" clId="{AFEE8D3A-6FE5-4119-B5D6-26956AD41DB2}" dt="2024-05-31T12:54:56.917" v="5397" actId="207"/>
          <ac:spMkLst>
            <pc:docMk/>
            <pc:sldMk cId="561065614" sldId="365"/>
            <ac:spMk id="11" creationId="{EFDE5DB5-4A97-D701-9D04-FF1F8B4DE9BA}"/>
          </ac:spMkLst>
        </pc:spChg>
        <pc:spChg chg="mod">
          <ac:chgData name="Shiva0 Kumar" userId="89033066f8f0ef15" providerId="LiveId" clId="{AFEE8D3A-6FE5-4119-B5D6-26956AD41DB2}" dt="2024-05-31T12:54:42.696" v="5395" actId="1076"/>
          <ac:spMkLst>
            <pc:docMk/>
            <pc:sldMk cId="561065614" sldId="365"/>
            <ac:spMk id="13" creationId="{C971EE70-5A74-51B2-40F4-7664F031E696}"/>
          </ac:spMkLst>
        </pc:spChg>
        <pc:spChg chg="mod">
          <ac:chgData name="Shiva0 Kumar" userId="89033066f8f0ef15" providerId="LiveId" clId="{AFEE8D3A-6FE5-4119-B5D6-26956AD41DB2}" dt="2024-05-31T12:54:42.696" v="5395" actId="1076"/>
          <ac:spMkLst>
            <pc:docMk/>
            <pc:sldMk cId="561065614" sldId="365"/>
            <ac:spMk id="14" creationId="{C9758D44-57A3-0511-7EE2-B9BA31A9EA59}"/>
          </ac:spMkLst>
        </pc:spChg>
        <pc:grpChg chg="mod">
          <ac:chgData name="Shiva0 Kumar" userId="89033066f8f0ef15" providerId="LiveId" clId="{AFEE8D3A-6FE5-4119-B5D6-26956AD41DB2}" dt="2024-05-31T12:54:52.286" v="5396" actId="207"/>
          <ac:grpSpMkLst>
            <pc:docMk/>
            <pc:sldMk cId="561065614" sldId="365"/>
            <ac:grpSpMk id="12" creationId="{CEB11757-CE84-94A6-4E0C-D8847F43721F}"/>
          </ac:grpSpMkLst>
        </pc:grpChg>
        <pc:picChg chg="add mod">
          <ac:chgData name="Shiva0 Kumar" userId="89033066f8f0ef15" providerId="LiveId" clId="{AFEE8D3A-6FE5-4119-B5D6-26956AD41DB2}" dt="2024-05-31T13:25:42.051" v="5531" actId="1076"/>
          <ac:picMkLst>
            <pc:docMk/>
            <pc:sldMk cId="561065614" sldId="365"/>
            <ac:picMk id="4" creationId="{33A12F66-EDA7-06EC-7F15-804A46055C3A}"/>
          </ac:picMkLst>
        </pc:picChg>
        <pc:picChg chg="add mod">
          <ac:chgData name="Shiva0 Kumar" userId="89033066f8f0ef15" providerId="LiveId" clId="{AFEE8D3A-6FE5-4119-B5D6-26956AD41DB2}" dt="2024-05-31T13:25:39.598" v="5530" actId="1076"/>
          <ac:picMkLst>
            <pc:docMk/>
            <pc:sldMk cId="561065614" sldId="365"/>
            <ac:picMk id="6" creationId="{FBC1AD77-5508-213C-534C-9E1DF12FED3F}"/>
          </ac:picMkLst>
        </pc:picChg>
        <pc:picChg chg="add mod">
          <ac:chgData name="Shiva0 Kumar" userId="89033066f8f0ef15" providerId="LiveId" clId="{AFEE8D3A-6FE5-4119-B5D6-26956AD41DB2}" dt="2024-05-31T13:28:57.467" v="5535" actId="1076"/>
          <ac:picMkLst>
            <pc:docMk/>
            <pc:sldMk cId="561065614" sldId="365"/>
            <ac:picMk id="8" creationId="{DBCC899B-D27B-3416-36E9-7ECEE0ADD61D}"/>
          </ac:picMkLst>
        </pc:picChg>
      </pc:sldChg>
      <pc:sldChg chg="addSp delSp modSp add del mod ord">
        <pc:chgData name="Shiva0 Kumar" userId="89033066f8f0ef15" providerId="LiveId" clId="{AFEE8D3A-6FE5-4119-B5D6-26956AD41DB2}" dt="2024-06-01T03:32:17.825" v="7643" actId="2696"/>
        <pc:sldMkLst>
          <pc:docMk/>
          <pc:sldMk cId="3790645987" sldId="366"/>
        </pc:sldMkLst>
        <pc:picChg chg="add mod modCrop">
          <ac:chgData name="Shiva0 Kumar" userId="89033066f8f0ef15" providerId="LiveId" clId="{AFEE8D3A-6FE5-4119-B5D6-26956AD41DB2}" dt="2024-05-31T13:31:49" v="5588" actId="14100"/>
          <ac:picMkLst>
            <pc:docMk/>
            <pc:sldMk cId="3790645987" sldId="366"/>
            <ac:picMk id="3" creationId="{51C65A23-BB8E-DF00-0C75-355B8BBD196B}"/>
          </ac:picMkLst>
        </pc:picChg>
        <pc:picChg chg="del">
          <ac:chgData name="Shiva0 Kumar" userId="89033066f8f0ef15" providerId="LiveId" clId="{AFEE8D3A-6FE5-4119-B5D6-26956AD41DB2}" dt="2024-05-31T13:29:11.958" v="5539" actId="21"/>
          <ac:picMkLst>
            <pc:docMk/>
            <pc:sldMk cId="3790645987" sldId="366"/>
            <ac:picMk id="6" creationId="{0C2E52F4-D5E2-856E-0DA3-E7E0C608F03F}"/>
          </ac:picMkLst>
        </pc:picChg>
        <pc:picChg chg="add mod">
          <ac:chgData name="Shiva0 Kumar" userId="89033066f8f0ef15" providerId="LiveId" clId="{AFEE8D3A-6FE5-4119-B5D6-26956AD41DB2}" dt="2024-05-31T13:31:52.808" v="5589" actId="14100"/>
          <ac:picMkLst>
            <pc:docMk/>
            <pc:sldMk cId="3790645987" sldId="366"/>
            <ac:picMk id="7" creationId="{DEC7F1E6-5343-FA81-209E-C0850F95DA7F}"/>
          </ac:picMkLst>
        </pc:picChg>
        <pc:picChg chg="del">
          <ac:chgData name="Shiva0 Kumar" userId="89033066f8f0ef15" providerId="LiveId" clId="{AFEE8D3A-6FE5-4119-B5D6-26956AD41DB2}" dt="2024-05-31T13:29:14.285" v="5540" actId="21"/>
          <ac:picMkLst>
            <pc:docMk/>
            <pc:sldMk cId="3790645987" sldId="366"/>
            <ac:picMk id="8" creationId="{BB0374FF-994F-38FC-A54A-48EC0987967B}"/>
          </ac:picMkLst>
        </pc:picChg>
        <pc:picChg chg="add mod">
          <ac:chgData name="Shiva0 Kumar" userId="89033066f8f0ef15" providerId="LiveId" clId="{AFEE8D3A-6FE5-4119-B5D6-26956AD41DB2}" dt="2024-05-31T13:32:40.725" v="5597" actId="1076"/>
          <ac:picMkLst>
            <pc:docMk/>
            <pc:sldMk cId="3790645987" sldId="366"/>
            <ac:picMk id="15" creationId="{33FDA326-6A0D-93FE-C89F-C414B2AAF376}"/>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d.docs.live.net/89033066f8f0ef15/Desktop/excel%20dashboard.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89033066f8f0ef15/Desktop/Manufacturing%20Project/Manufacturing%20repor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89033066f8f0ef15/Desktop/excel%20dashboard.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89033066f8f0ef15/Desktop/excel%20dashboard.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excel dashboard.xlsx]KPI-2!PivotTable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000" b="1">
                <a:solidFill>
                  <a:schemeClr val="bg1"/>
                </a:solidFill>
              </a:rPr>
              <a:t>Rejected</a:t>
            </a:r>
            <a:r>
              <a:rPr lang="en-US" sz="2000" b="1" baseline="0">
                <a:solidFill>
                  <a:schemeClr val="bg1"/>
                </a:solidFill>
              </a:rPr>
              <a:t> Qty</a:t>
            </a:r>
            <a:endParaRPr lang="en-US" sz="2000" b="1">
              <a:solidFill>
                <a:schemeClr val="bg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rgbClr val="FFC000"/>
          </a:solidFill>
          <a:ln>
            <a:solidFill>
              <a:schemeClr val="bg1">
                <a:lumMod val="95000"/>
              </a:schemeClr>
            </a:solid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rgbClr val="FFC000"/>
          </a:solidFill>
          <a:ln>
            <a:solidFill>
              <a:schemeClr val="bg1">
                <a:lumMod val="95000"/>
              </a:schemeClr>
            </a:solidFill>
          </a:ln>
          <a:effectLst/>
        </c:spPr>
      </c:pivotFmt>
      <c:pivotFmt>
        <c:idx val="2"/>
        <c:spPr>
          <a:solidFill>
            <a:srgbClr val="FFC000"/>
          </a:solidFill>
          <a:ln>
            <a:solidFill>
              <a:schemeClr val="bg1">
                <a:lumMod val="95000"/>
              </a:schemeClr>
            </a:solid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rgbClr val="FFC000"/>
          </a:solidFill>
          <a:ln>
            <a:solidFill>
              <a:schemeClr val="bg1">
                <a:lumMod val="95000"/>
              </a:schemeClr>
            </a:solid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clustered"/>
        <c:varyColors val="0"/>
        <c:ser>
          <c:idx val="0"/>
          <c:order val="0"/>
          <c:tx>
            <c:strRef>
              <c:f>'KPI-2'!$A$3</c:f>
              <c:strCache>
                <c:ptCount val="1"/>
                <c:pt idx="0">
                  <c:v>Total</c:v>
                </c:pt>
              </c:strCache>
            </c:strRef>
          </c:tx>
          <c:spPr>
            <a:solidFill>
              <a:srgbClr val="FFC000"/>
            </a:solidFill>
            <a:ln>
              <a:solidFill>
                <a:schemeClr val="bg1">
                  <a:lumMod val="95000"/>
                </a:schemeClr>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PI-2'!$A$4</c:f>
              <c:strCache>
                <c:ptCount val="1"/>
                <c:pt idx="0">
                  <c:v>Total</c:v>
                </c:pt>
              </c:strCache>
            </c:strRef>
          </c:cat>
          <c:val>
            <c:numRef>
              <c:f>'KPI-2'!$A$4</c:f>
              <c:numCache>
                <c:formatCode>General</c:formatCode>
                <c:ptCount val="1"/>
                <c:pt idx="0">
                  <c:v>524729</c:v>
                </c:pt>
              </c:numCache>
            </c:numRef>
          </c:val>
          <c:extLst>
            <c:ext xmlns:c16="http://schemas.microsoft.com/office/drawing/2014/chart" uri="{C3380CC4-5D6E-409C-BE32-E72D297353CC}">
              <c16:uniqueId val="{00000000-030A-45B0-A001-856930A70D14}"/>
            </c:ext>
          </c:extLst>
        </c:ser>
        <c:dLbls>
          <c:dLblPos val="outEnd"/>
          <c:showLegendKey val="0"/>
          <c:showVal val="1"/>
          <c:showCatName val="0"/>
          <c:showSerName val="0"/>
          <c:showPercent val="0"/>
          <c:showBubbleSize val="0"/>
        </c:dLbls>
        <c:gapWidth val="182"/>
        <c:axId val="1467724831"/>
        <c:axId val="1467729631"/>
      </c:barChart>
      <c:catAx>
        <c:axId val="146772483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crossAx val="1467729631"/>
        <c:crosses val="autoZero"/>
        <c:auto val="1"/>
        <c:lblAlgn val="ctr"/>
        <c:lblOffset val="100"/>
        <c:noMultiLvlLbl val="0"/>
      </c:catAx>
      <c:valAx>
        <c:axId val="1467729631"/>
        <c:scaling>
          <c:orientation val="minMax"/>
        </c:scaling>
        <c:delete val="0"/>
        <c:axPos val="b"/>
        <c:majorGridlines>
          <c:spPr>
            <a:ln w="6350" cap="flat" cmpd="sng" algn="ctr">
              <a:solidFill>
                <a:schemeClr val="bg1">
                  <a:alpha val="30000"/>
                </a:schemeClr>
              </a:solidFill>
              <a:prstDash val="sysDot"/>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crossAx val="1467724831"/>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44546A"/>
    </a:solidFill>
    <a:ln w="9525" cap="flat" cmpd="sng" algn="ctr">
      <a:solidFill>
        <a:srgbClr val="44546A"/>
      </a:solidFill>
      <a:round/>
    </a:ln>
    <a:effectLst/>
  </c:spPr>
  <c:txPr>
    <a:bodyPr/>
    <a:lstStyle/>
    <a:p>
      <a:pPr>
        <a:defRPr/>
      </a:pPr>
      <a:endParaRPr lang="en-US"/>
    </a:p>
  </c:txPr>
  <c:externalData r:id="rId3">
    <c:autoUpdate val="0"/>
  </c:externalData>
  <c:userShapes r:id="rId4"/>
  <c:extLst>
    <c:ext xmlns:c14="http://schemas.microsoft.com/office/drawing/2007/8/2/chart" uri="{781A3756-C4B2-4CAC-9D66-4F8BD8637D16}">
      <c14:pivotOptions>
        <c14:dropZoneFilter val="1"/>
        <c14:dropZoneCategories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Manufacturing report.xlsx]KPI-1!PivotTable1</c:name>
    <c:fmtId val="-1"/>
  </c:pivotSource>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IN" sz="2000" b="1" i="0" baseline="0">
                <a:solidFill>
                  <a:schemeClr val="bg1"/>
                </a:solidFill>
              </a:rPr>
              <a:t>Manufactured Qty</a:t>
            </a: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2"/>
          </a:solidFill>
          <a:ln>
            <a:solidFill>
              <a:schemeClr val="bg1"/>
            </a:solid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solidFill>
          <a:ln>
            <a:solidFill>
              <a:schemeClr val="bg1"/>
            </a:solid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2"/>
          </a:solidFill>
          <a:ln>
            <a:solidFill>
              <a:schemeClr val="bg1"/>
            </a:solid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KPI-1'!$A$3</c:f>
              <c:strCache>
                <c:ptCount val="1"/>
                <c:pt idx="0">
                  <c:v>Total</c:v>
                </c:pt>
              </c:strCache>
            </c:strRef>
          </c:tx>
          <c:spPr>
            <a:solidFill>
              <a:srgbClr val="FEC00B"/>
            </a:solidFill>
            <a:ln>
              <a:solidFill>
                <a:schemeClr val="bg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PI-1'!$A$4</c:f>
              <c:strCache>
                <c:ptCount val="1"/>
                <c:pt idx="0">
                  <c:v>Total</c:v>
                </c:pt>
              </c:strCache>
            </c:strRef>
          </c:cat>
          <c:val>
            <c:numRef>
              <c:f>'KPI-1'!$A$4</c:f>
              <c:numCache>
                <c:formatCode>General</c:formatCode>
                <c:ptCount val="1"/>
                <c:pt idx="0">
                  <c:v>86766796</c:v>
                </c:pt>
              </c:numCache>
            </c:numRef>
          </c:val>
          <c:extLst>
            <c:ext xmlns:c16="http://schemas.microsoft.com/office/drawing/2014/chart" uri="{C3380CC4-5D6E-409C-BE32-E72D297353CC}">
              <c16:uniqueId val="{00000000-216C-491C-A40F-D8A9099B3415}"/>
            </c:ext>
          </c:extLst>
        </c:ser>
        <c:dLbls>
          <c:dLblPos val="outEnd"/>
          <c:showLegendKey val="0"/>
          <c:showVal val="1"/>
          <c:showCatName val="0"/>
          <c:showSerName val="0"/>
          <c:showPercent val="0"/>
          <c:showBubbleSize val="0"/>
        </c:dLbls>
        <c:gapWidth val="219"/>
        <c:overlap val="-27"/>
        <c:axId val="1178659775"/>
        <c:axId val="1178678015"/>
      </c:barChart>
      <c:catAx>
        <c:axId val="11786597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crossAx val="1178678015"/>
        <c:crosses val="autoZero"/>
        <c:auto val="1"/>
        <c:lblAlgn val="ctr"/>
        <c:lblOffset val="100"/>
        <c:noMultiLvlLbl val="0"/>
      </c:catAx>
      <c:valAx>
        <c:axId val="1178678015"/>
        <c:scaling>
          <c:orientation val="minMax"/>
        </c:scaling>
        <c:delete val="0"/>
        <c:axPos val="l"/>
        <c:majorGridlines>
          <c:spPr>
            <a:ln w="6350" cap="flat" cmpd="sng" algn="ctr">
              <a:solidFill>
                <a:schemeClr val="bg1">
                  <a:alpha val="30000"/>
                </a:schemeClr>
              </a:solidFill>
              <a:prstDash val="sysDot"/>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crossAx val="1178659775"/>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44546A"/>
    </a:solidFill>
    <a:ln w="9525" cap="flat" cmpd="sng" algn="ctr">
      <a:solidFill>
        <a:srgbClr val="424769"/>
      </a:solidFill>
      <a:round/>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excel dashboard.xlsx]KPI-5!PivotTable8</c:name>
    <c:fmtId val="-1"/>
  </c:pivotSource>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2000" b="1" i="0" u="none" strike="noStrike" kern="1200" spc="0" baseline="0" dirty="0">
                <a:solidFill>
                  <a:schemeClr val="bg1"/>
                </a:solidFill>
              </a:rPr>
              <a:t>EMPLOYEE WISE REJECTED QTY</a:t>
            </a:r>
          </a:p>
        </c:rich>
      </c:tx>
      <c:layout>
        <c:manualLayout>
          <c:xMode val="edge"/>
          <c:yMode val="edge"/>
          <c:x val="9.3450951916313071E-2"/>
          <c:y val="0.10651178110265998"/>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ivotFmts>
      <c:pivotFmt>
        <c:idx val="0"/>
        <c:spPr>
          <a:solidFill>
            <a:schemeClr val="accent1"/>
          </a:solidFill>
          <a:ln w="28575" cap="rnd">
            <a:solidFill>
              <a:srgbClr val="FDBF10"/>
            </a:solidFill>
            <a:round/>
          </a:ln>
          <a:effectLst/>
        </c:spPr>
        <c:marker>
          <c:symbol val="circle"/>
          <c:size val="5"/>
          <c:spPr>
            <a:solidFill>
              <a:srgbClr val="FDBF10"/>
            </a:solidFill>
            <a:ln w="9525">
              <a:solidFill>
                <a:srgbClr val="F29B3C"/>
              </a:solidFill>
            </a:ln>
            <a:effectLst/>
          </c:spPr>
        </c:marker>
        <c:dLbl>
          <c:idx val="0"/>
          <c:numFmt formatCode="#,##0" sourceLinked="0"/>
          <c:spPr>
            <a:noFill/>
            <a:ln>
              <a:noFill/>
            </a:ln>
            <a:effectLst/>
          </c:spPr>
          <c:txPr>
            <a:bodyPr rot="-5400000" spcFirstLastPara="1" vertOverflow="ellipsis"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rgbClr val="FDBF10"/>
            </a:solidFill>
            <a:round/>
          </a:ln>
          <a:effectLst/>
        </c:spPr>
        <c:marker>
          <c:symbol val="circle"/>
          <c:size val="5"/>
        </c:marker>
      </c:pivotFmt>
      <c:pivotFmt>
        <c:idx val="2"/>
        <c:spPr>
          <a:solidFill>
            <a:schemeClr val="accent1"/>
          </a:solidFill>
          <a:ln w="28575" cap="rnd">
            <a:solidFill>
              <a:srgbClr val="FDBF10"/>
            </a:solidFill>
            <a:round/>
          </a:ln>
          <a:effectLst/>
        </c:spPr>
        <c:marker>
          <c:symbol val="circle"/>
          <c:size val="5"/>
          <c:spPr>
            <a:solidFill>
              <a:srgbClr val="FDBF10"/>
            </a:solidFill>
            <a:ln w="9525">
              <a:solidFill>
                <a:srgbClr val="F29B3C"/>
              </a:solidFill>
            </a:ln>
            <a:effectLst/>
          </c:spPr>
        </c:marker>
      </c:pivotFmt>
      <c:pivotFmt>
        <c:idx val="3"/>
        <c:spPr>
          <a:solidFill>
            <a:schemeClr val="accent1"/>
          </a:solidFill>
          <a:ln w="28575" cap="rnd">
            <a:solidFill>
              <a:srgbClr val="FDBF10"/>
            </a:solidFill>
            <a:round/>
          </a:ln>
          <a:effectLst/>
        </c:spPr>
        <c:marker>
          <c:symbol val="circle"/>
          <c:size val="5"/>
          <c:spPr>
            <a:solidFill>
              <a:srgbClr val="FDBF10"/>
            </a:solidFill>
            <a:ln w="9525">
              <a:solidFill>
                <a:srgbClr val="F29B3C"/>
              </a:solidFill>
            </a:ln>
            <a:effectLst/>
          </c:spPr>
        </c:marker>
      </c:pivotFmt>
      <c:pivotFmt>
        <c:idx val="4"/>
        <c:spPr>
          <a:solidFill>
            <a:schemeClr val="accent1"/>
          </a:solidFill>
          <a:ln w="28575" cap="rnd">
            <a:solidFill>
              <a:srgbClr val="FDBF10"/>
            </a:solidFill>
            <a:round/>
          </a:ln>
          <a:effectLst/>
        </c:spPr>
        <c:marker>
          <c:symbol val="circle"/>
          <c:size val="5"/>
          <c:spPr>
            <a:solidFill>
              <a:srgbClr val="FDBF10"/>
            </a:solidFill>
            <a:ln w="9525">
              <a:solidFill>
                <a:srgbClr val="F29B3C"/>
              </a:solidFill>
            </a:ln>
            <a:effectLst/>
          </c:spPr>
        </c:marker>
        <c:dLbl>
          <c:idx val="0"/>
          <c:numFmt formatCode="#,##0" sourceLinked="0"/>
          <c:spPr>
            <a:noFill/>
            <a:ln>
              <a:noFill/>
            </a:ln>
            <a:effectLst/>
          </c:spPr>
          <c:txPr>
            <a:bodyPr rot="-5400000" spcFirstLastPara="1" vertOverflow="ellipsis"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rgbClr val="FDBF10"/>
            </a:solidFill>
            <a:round/>
          </a:ln>
          <a:effectLst/>
        </c:spPr>
        <c:marker>
          <c:symbol val="circle"/>
          <c:size val="5"/>
          <c:spPr>
            <a:solidFill>
              <a:srgbClr val="FDBF10"/>
            </a:solidFill>
            <a:ln w="9525">
              <a:solidFill>
                <a:srgbClr val="F29B3C"/>
              </a:solidFill>
            </a:ln>
            <a:effectLst/>
          </c:spPr>
        </c:marker>
      </c:pivotFmt>
      <c:pivotFmt>
        <c:idx val="6"/>
        <c:spPr>
          <a:solidFill>
            <a:schemeClr val="accent1"/>
          </a:solidFill>
          <a:ln w="28575" cap="rnd">
            <a:solidFill>
              <a:srgbClr val="FDBF10"/>
            </a:solidFill>
            <a:round/>
          </a:ln>
          <a:effectLst/>
        </c:spPr>
        <c:marker>
          <c:symbol val="circle"/>
          <c:size val="5"/>
          <c:spPr>
            <a:solidFill>
              <a:srgbClr val="FDBF10"/>
            </a:solidFill>
            <a:ln w="9525">
              <a:solidFill>
                <a:srgbClr val="F29B3C"/>
              </a:solidFill>
            </a:ln>
            <a:effectLst/>
          </c:spPr>
        </c:marker>
        <c:dLbl>
          <c:idx val="0"/>
          <c:numFmt formatCode="#,##0" sourceLinked="0"/>
          <c:spPr>
            <a:noFill/>
            <a:ln>
              <a:noFill/>
            </a:ln>
            <a:effectLst/>
          </c:spPr>
          <c:txPr>
            <a:bodyPr rot="-5400000" spcFirstLastPara="1" vertOverflow="ellipsis"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rgbClr val="FDBF10"/>
            </a:solidFill>
            <a:round/>
          </a:ln>
          <a:effectLst/>
        </c:spPr>
        <c:marker>
          <c:symbol val="circle"/>
          <c:size val="5"/>
          <c:spPr>
            <a:solidFill>
              <a:srgbClr val="FDBF10"/>
            </a:solidFill>
            <a:ln w="9525">
              <a:solidFill>
                <a:srgbClr val="F29B3C"/>
              </a:solidFill>
            </a:ln>
            <a:effectLst/>
          </c:spPr>
        </c:marker>
      </c:pivotFmt>
    </c:pivotFmts>
    <c:plotArea>
      <c:layout/>
      <c:lineChart>
        <c:grouping val="standard"/>
        <c:varyColors val="0"/>
        <c:ser>
          <c:idx val="0"/>
          <c:order val="0"/>
          <c:tx>
            <c:strRef>
              <c:f>'KPI-5'!$B$3</c:f>
              <c:strCache>
                <c:ptCount val="1"/>
                <c:pt idx="0">
                  <c:v>Total</c:v>
                </c:pt>
              </c:strCache>
            </c:strRef>
          </c:tx>
          <c:spPr>
            <a:ln w="28575" cap="rnd">
              <a:solidFill>
                <a:srgbClr val="FDBF10"/>
              </a:solidFill>
              <a:round/>
            </a:ln>
            <a:effectLst/>
          </c:spPr>
          <c:marker>
            <c:symbol val="circle"/>
            <c:size val="5"/>
            <c:spPr>
              <a:solidFill>
                <a:srgbClr val="FDBF10"/>
              </a:solidFill>
              <a:ln w="9525">
                <a:solidFill>
                  <a:srgbClr val="F29B3C"/>
                </a:solidFill>
              </a:ln>
              <a:effectLst/>
            </c:spPr>
          </c:marker>
          <c:dPt>
            <c:idx val="33"/>
            <c:marker>
              <c:symbol val="circle"/>
              <c:size val="5"/>
              <c:spPr>
                <a:solidFill>
                  <a:srgbClr val="FDBF10"/>
                </a:solidFill>
                <a:ln w="9525">
                  <a:solidFill>
                    <a:srgbClr val="F29B3C"/>
                  </a:solidFill>
                </a:ln>
                <a:effectLst/>
              </c:spPr>
            </c:marker>
            <c:bubble3D val="0"/>
            <c:spPr>
              <a:ln w="28575" cap="rnd">
                <a:solidFill>
                  <a:srgbClr val="FDBF10"/>
                </a:solidFill>
                <a:round/>
              </a:ln>
              <a:effectLst/>
            </c:spPr>
            <c:extLst>
              <c:ext xmlns:c16="http://schemas.microsoft.com/office/drawing/2014/chart" uri="{C3380CC4-5D6E-409C-BE32-E72D297353CC}">
                <c16:uniqueId val="{00000001-4AD1-483E-AE55-3AC497F061BA}"/>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PI-5'!$A$4:$A$42</c:f>
              <c:strCache>
                <c:ptCount val="38"/>
                <c:pt idx="0">
                  <c:v>Amit Sahu</c:v>
                </c:pt>
                <c:pt idx="1">
                  <c:v>ASHOK</c:v>
                </c:pt>
                <c:pt idx="2">
                  <c:v>ASHVANI</c:v>
                </c:pt>
                <c:pt idx="3">
                  <c:v>AVINASH</c:v>
                </c:pt>
                <c:pt idx="4">
                  <c:v>BHAGWAN SINGH</c:v>
                </c:pt>
                <c:pt idx="5">
                  <c:v>BITTU mishra</c:v>
                </c:pt>
                <c:pt idx="6">
                  <c:v>GYAN BHUSHAN</c:v>
                </c:pt>
                <c:pt idx="7">
                  <c:v>HETPAL</c:v>
                </c:pt>
                <c:pt idx="8">
                  <c:v>JAY PARKASH</c:v>
                </c:pt>
                <c:pt idx="9">
                  <c:v>KALI PARSAD</c:v>
                </c:pt>
                <c:pt idx="10">
                  <c:v>kanhaiya lal</c:v>
                </c:pt>
                <c:pt idx="11">
                  <c:v>Karunakar</c:v>
                </c:pt>
                <c:pt idx="12">
                  <c:v>KRISHNA</c:v>
                </c:pt>
                <c:pt idx="13">
                  <c:v>Mahender</c:v>
                </c:pt>
                <c:pt idx="14">
                  <c:v>Mohit</c:v>
                </c:pt>
                <c:pt idx="15">
                  <c:v>Montu Sharma</c:v>
                </c:pt>
                <c:pt idx="16">
                  <c:v>mukesh-1</c:v>
                </c:pt>
                <c:pt idx="17">
                  <c:v>mukesh-1 kumar</c:v>
                </c:pt>
                <c:pt idx="18">
                  <c:v>NAVEEN</c:v>
                </c:pt>
                <c:pt idx="19">
                  <c:v>PAWAN KUMAR</c:v>
                </c:pt>
                <c:pt idx="20">
                  <c:v>PREM PAL</c:v>
                </c:pt>
                <c:pt idx="21">
                  <c:v>raj  kumar</c:v>
                </c:pt>
                <c:pt idx="22">
                  <c:v>RAJ KUMAR</c:v>
                </c:pt>
                <c:pt idx="23">
                  <c:v>Ram Chandar</c:v>
                </c:pt>
                <c:pt idx="24">
                  <c:v>RAM JI</c:v>
                </c:pt>
                <c:pt idx="25">
                  <c:v>RAM SUTI</c:v>
                </c:pt>
                <c:pt idx="26">
                  <c:v>SAMEER</c:v>
                </c:pt>
                <c:pt idx="27">
                  <c:v>Sandeep kr</c:v>
                </c:pt>
                <c:pt idx="28">
                  <c:v>sanjay  kumar</c:v>
                </c:pt>
                <c:pt idx="29">
                  <c:v>SANTOSH</c:v>
                </c:pt>
                <c:pt idx="30">
                  <c:v>SANTOSH KUMAR</c:v>
                </c:pt>
                <c:pt idx="31">
                  <c:v>SATENDER</c:v>
                </c:pt>
                <c:pt idx="32">
                  <c:v>Shekhar Chandra</c:v>
                </c:pt>
                <c:pt idx="33">
                  <c:v>Shruti Singh</c:v>
                </c:pt>
                <c:pt idx="34">
                  <c:v>SUNIL</c:v>
                </c:pt>
                <c:pt idx="35">
                  <c:v>Surender</c:v>
                </c:pt>
                <c:pt idx="36">
                  <c:v>umesh</c:v>
                </c:pt>
                <c:pt idx="37">
                  <c:v>VINOD</c:v>
                </c:pt>
              </c:strCache>
            </c:strRef>
          </c:cat>
          <c:val>
            <c:numRef>
              <c:f>'KPI-5'!$B$4:$B$42</c:f>
              <c:numCache>
                <c:formatCode>General</c:formatCode>
                <c:ptCount val="38"/>
                <c:pt idx="0">
                  <c:v>160</c:v>
                </c:pt>
                <c:pt idx="1">
                  <c:v>20</c:v>
                </c:pt>
                <c:pt idx="2">
                  <c:v>60</c:v>
                </c:pt>
                <c:pt idx="3">
                  <c:v>245</c:v>
                </c:pt>
                <c:pt idx="4">
                  <c:v>55</c:v>
                </c:pt>
                <c:pt idx="5">
                  <c:v>290</c:v>
                </c:pt>
                <c:pt idx="6">
                  <c:v>70</c:v>
                </c:pt>
                <c:pt idx="7">
                  <c:v>130</c:v>
                </c:pt>
                <c:pt idx="8">
                  <c:v>160</c:v>
                </c:pt>
                <c:pt idx="9">
                  <c:v>1</c:v>
                </c:pt>
                <c:pt idx="10">
                  <c:v>20</c:v>
                </c:pt>
                <c:pt idx="11">
                  <c:v>45</c:v>
                </c:pt>
                <c:pt idx="12">
                  <c:v>50</c:v>
                </c:pt>
                <c:pt idx="13">
                  <c:v>45</c:v>
                </c:pt>
                <c:pt idx="14">
                  <c:v>20</c:v>
                </c:pt>
                <c:pt idx="15">
                  <c:v>45</c:v>
                </c:pt>
                <c:pt idx="16">
                  <c:v>10</c:v>
                </c:pt>
                <c:pt idx="17">
                  <c:v>60</c:v>
                </c:pt>
                <c:pt idx="18">
                  <c:v>45</c:v>
                </c:pt>
                <c:pt idx="19">
                  <c:v>25</c:v>
                </c:pt>
                <c:pt idx="20">
                  <c:v>141</c:v>
                </c:pt>
                <c:pt idx="21">
                  <c:v>250</c:v>
                </c:pt>
                <c:pt idx="22">
                  <c:v>30</c:v>
                </c:pt>
                <c:pt idx="23">
                  <c:v>70</c:v>
                </c:pt>
                <c:pt idx="24">
                  <c:v>500</c:v>
                </c:pt>
                <c:pt idx="25">
                  <c:v>40</c:v>
                </c:pt>
                <c:pt idx="26">
                  <c:v>120</c:v>
                </c:pt>
                <c:pt idx="27">
                  <c:v>50</c:v>
                </c:pt>
                <c:pt idx="28">
                  <c:v>205</c:v>
                </c:pt>
                <c:pt idx="29">
                  <c:v>15</c:v>
                </c:pt>
                <c:pt idx="30">
                  <c:v>350</c:v>
                </c:pt>
                <c:pt idx="31">
                  <c:v>230</c:v>
                </c:pt>
                <c:pt idx="32">
                  <c:v>130</c:v>
                </c:pt>
                <c:pt idx="33">
                  <c:v>520867</c:v>
                </c:pt>
                <c:pt idx="34">
                  <c:v>60</c:v>
                </c:pt>
                <c:pt idx="35">
                  <c:v>85</c:v>
                </c:pt>
                <c:pt idx="36">
                  <c:v>20</c:v>
                </c:pt>
                <c:pt idx="37">
                  <c:v>10</c:v>
                </c:pt>
              </c:numCache>
            </c:numRef>
          </c:val>
          <c:smooth val="0"/>
          <c:extLst>
            <c:ext xmlns:c16="http://schemas.microsoft.com/office/drawing/2014/chart" uri="{C3380CC4-5D6E-409C-BE32-E72D297353CC}">
              <c16:uniqueId val="{00000002-4AD1-483E-AE55-3AC497F061BA}"/>
            </c:ext>
          </c:extLst>
        </c:ser>
        <c:dLbls>
          <c:dLblPos val="t"/>
          <c:showLegendKey val="0"/>
          <c:showVal val="1"/>
          <c:showCatName val="0"/>
          <c:showSerName val="0"/>
          <c:showPercent val="0"/>
          <c:showBubbleSize val="0"/>
        </c:dLbls>
        <c:marker val="1"/>
        <c:smooth val="0"/>
        <c:axId val="1467726751"/>
        <c:axId val="1467736831"/>
      </c:lineChart>
      <c:catAx>
        <c:axId val="14677267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crossAx val="1467736831"/>
        <c:crosses val="autoZero"/>
        <c:auto val="1"/>
        <c:lblAlgn val="ctr"/>
        <c:lblOffset val="100"/>
        <c:noMultiLvlLbl val="0"/>
      </c:catAx>
      <c:valAx>
        <c:axId val="1467736831"/>
        <c:scaling>
          <c:orientation val="minMax"/>
        </c:scaling>
        <c:delete val="0"/>
        <c:axPos val="l"/>
        <c:majorGridlines>
          <c:spPr>
            <a:ln w="6350" cap="flat" cmpd="sng" algn="ctr">
              <a:solidFill>
                <a:schemeClr val="bg1">
                  <a:alpha val="30000"/>
                </a:schemeClr>
              </a:solidFill>
              <a:prstDash val="sysDot"/>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crossAx val="14677267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44546A"/>
    </a:solidFill>
    <a:ln w="9525" cap="flat" cmpd="sng" algn="ctr">
      <a:solidFill>
        <a:srgbClr val="44546A"/>
      </a:solidFill>
      <a:round/>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excel dashboard.xlsx]KPI-8!PivotTable5</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000" b="1" dirty="0">
                <a:solidFill>
                  <a:schemeClr val="bg1"/>
                </a:solidFill>
              </a:rPr>
              <a:t>Manufacturing</a:t>
            </a:r>
            <a:r>
              <a:rPr lang="en-US" sz="2000" b="1" baseline="0" dirty="0">
                <a:solidFill>
                  <a:schemeClr val="bg1"/>
                </a:solidFill>
              </a:rPr>
              <a:t> Vs Rejected Qty</a:t>
            </a:r>
            <a:endParaRPr lang="en-US" sz="2000" b="1" dirty="0">
              <a:solidFill>
                <a:schemeClr val="bg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rgbClr val="FDBF10"/>
          </a:solidFill>
          <a:ln w="19050">
            <a:solidFill>
              <a:schemeClr val="lt1"/>
            </a:solid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rgbClr val="00B0F0"/>
          </a:solidFill>
          <a:ln w="19050">
            <a:solidFill>
              <a:schemeClr val="lt1"/>
            </a:solidFill>
          </a:ln>
          <a:effectLst/>
        </c:spPr>
      </c:pivotFmt>
      <c:pivotFmt>
        <c:idx val="3"/>
        <c:spPr>
          <a:solidFill>
            <a:srgbClr val="FDBF10"/>
          </a:solidFill>
          <a:ln w="19050">
            <a:solidFill>
              <a:schemeClr val="lt1"/>
            </a:solidFill>
          </a:ln>
          <a:effectLst/>
        </c:spPr>
      </c:pivotFmt>
      <c:pivotFmt>
        <c:idx val="4"/>
        <c:spPr>
          <a:solidFill>
            <a:srgbClr val="FDBF10"/>
          </a:solidFill>
          <a:ln w="19050">
            <a:solidFill>
              <a:schemeClr val="lt1"/>
            </a:solid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rgbClr val="FDBF10"/>
          </a:solidFill>
          <a:ln w="19050">
            <a:solidFill>
              <a:schemeClr val="lt1"/>
            </a:solidFill>
          </a:ln>
          <a:effectLst/>
        </c:spPr>
      </c:pivotFmt>
      <c:pivotFmt>
        <c:idx val="6"/>
        <c:spPr>
          <a:solidFill>
            <a:srgbClr val="00B0F0"/>
          </a:solidFill>
          <a:ln w="19050">
            <a:solidFill>
              <a:schemeClr val="lt1"/>
            </a:solidFill>
          </a:ln>
          <a:effectLst/>
        </c:spPr>
      </c:pivotFmt>
      <c:pivotFmt>
        <c:idx val="7"/>
        <c:spPr>
          <a:solidFill>
            <a:srgbClr val="FDBF10"/>
          </a:solidFill>
          <a:ln w="19050">
            <a:solidFill>
              <a:schemeClr val="lt1"/>
            </a:solid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rgbClr val="FDBF10"/>
          </a:solidFill>
          <a:ln w="19050">
            <a:solidFill>
              <a:schemeClr val="lt1"/>
            </a:solidFill>
          </a:ln>
          <a:effectLst/>
        </c:spPr>
      </c:pivotFmt>
      <c:pivotFmt>
        <c:idx val="9"/>
        <c:spPr>
          <a:solidFill>
            <a:srgbClr val="00B0F0"/>
          </a:solidFill>
          <a:ln w="19050">
            <a:solidFill>
              <a:schemeClr val="lt1"/>
            </a:solidFill>
          </a:ln>
          <a:effectLst/>
        </c:spPr>
      </c:pivotFmt>
    </c:pivotFmts>
    <c:plotArea>
      <c:layout/>
      <c:pieChart>
        <c:varyColors val="1"/>
        <c:ser>
          <c:idx val="0"/>
          <c:order val="0"/>
          <c:tx>
            <c:strRef>
              <c:f>'KPI-8'!$B$3</c:f>
              <c:strCache>
                <c:ptCount val="1"/>
                <c:pt idx="0">
                  <c:v>Total</c:v>
                </c:pt>
              </c:strCache>
            </c:strRef>
          </c:tx>
          <c:spPr>
            <a:solidFill>
              <a:srgbClr val="FDBF10"/>
            </a:solidFill>
            <a:ln>
              <a:noFill/>
            </a:ln>
          </c:spPr>
          <c:dPt>
            <c:idx val="0"/>
            <c:bubble3D val="0"/>
            <c:spPr>
              <a:solidFill>
                <a:srgbClr val="FEC00B"/>
              </a:solidFill>
              <a:ln w="19050">
                <a:noFill/>
              </a:ln>
              <a:effectLst/>
            </c:spPr>
            <c:extLst>
              <c:ext xmlns:c16="http://schemas.microsoft.com/office/drawing/2014/chart" uri="{C3380CC4-5D6E-409C-BE32-E72D297353CC}">
                <c16:uniqueId val="{00000001-1748-4003-B4E4-25E4B6C59918}"/>
              </c:ext>
            </c:extLst>
          </c:dPt>
          <c:dPt>
            <c:idx val="1"/>
            <c:bubble3D val="0"/>
            <c:spPr>
              <a:solidFill>
                <a:srgbClr val="00B0F0"/>
              </a:solidFill>
              <a:ln w="19050">
                <a:noFill/>
              </a:ln>
              <a:effectLst/>
            </c:spPr>
            <c:extLst>
              <c:ext xmlns:c16="http://schemas.microsoft.com/office/drawing/2014/chart" uri="{C3380CC4-5D6E-409C-BE32-E72D297353CC}">
                <c16:uniqueId val="{00000003-1748-4003-B4E4-25E4B6C59918}"/>
              </c:ext>
            </c:extLst>
          </c:dPt>
          <c:dLbls>
            <c:dLbl>
              <c:idx val="1"/>
              <c:layout>
                <c:manualLayout>
                  <c:x val="1.6778523489932834E-2"/>
                  <c:y val="-1.1013215859030862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748-4003-B4E4-25E4B6C5991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PI-8'!$A$4:$A$5</c:f>
              <c:strCache>
                <c:ptCount val="2"/>
                <c:pt idx="0">
                  <c:v>Sum of Manufactured Qty</c:v>
                </c:pt>
                <c:pt idx="1">
                  <c:v>Sum of Rejected Qty</c:v>
                </c:pt>
              </c:strCache>
            </c:strRef>
          </c:cat>
          <c:val>
            <c:numRef>
              <c:f>'KPI-8'!$B$4:$B$5</c:f>
              <c:numCache>
                <c:formatCode>General</c:formatCode>
                <c:ptCount val="2"/>
                <c:pt idx="0">
                  <c:v>86766796</c:v>
                </c:pt>
                <c:pt idx="1">
                  <c:v>524729</c:v>
                </c:pt>
              </c:numCache>
            </c:numRef>
          </c:val>
          <c:extLst>
            <c:ext xmlns:c16="http://schemas.microsoft.com/office/drawing/2014/chart" uri="{C3380CC4-5D6E-409C-BE32-E72D297353CC}">
              <c16:uniqueId val="{00000004-1748-4003-B4E4-25E4B6C59918}"/>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44546A"/>
    </a:solidFill>
    <a:ln w="9525" cap="flat" cmpd="sng" algn="ctr">
      <a:solidFill>
        <a:srgbClr val="44546A"/>
      </a:solidFill>
      <a:round/>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1142</cdr:x>
      <cdr:y>0.41242</cdr:y>
    </cdr:from>
    <cdr:to>
      <cdr:x>0.70801</cdr:x>
      <cdr:y>0.69306</cdr:y>
    </cdr:to>
    <cdr:sp macro="" textlink="">
      <cdr:nvSpPr>
        <cdr:cNvPr id="2" name="Rectangle: Rounded Corners 1">
          <a:extLst xmlns:a="http://schemas.openxmlformats.org/drawingml/2006/main">
            <a:ext uri="{FF2B5EF4-FFF2-40B4-BE49-F238E27FC236}">
              <a16:creationId xmlns:a16="http://schemas.microsoft.com/office/drawing/2014/main" id="{F7DFA89A-DB78-4F13-61BC-A8DA727104C9}"/>
            </a:ext>
          </a:extLst>
        </cdr:cNvPr>
        <cdr:cNvSpPr/>
      </cdr:nvSpPr>
      <cdr:spPr>
        <a:xfrm xmlns:a="http://schemas.openxmlformats.org/drawingml/2006/main">
          <a:off x="438086" y="944880"/>
          <a:ext cx="2345754" cy="642976"/>
        </a:xfrm>
        <a:prstGeom xmlns:a="http://schemas.openxmlformats.org/drawingml/2006/main" prst="roundRect">
          <a:avLst>
            <a:gd name="adj" fmla="val 13547"/>
          </a:avLst>
        </a:prstGeom>
        <a:gradFill xmlns:a="http://schemas.openxmlformats.org/drawingml/2006/main">
          <a:gsLst>
            <a:gs pos="0">
              <a:schemeClr val="accent4"/>
            </a:gs>
            <a:gs pos="100000">
              <a:schemeClr val="tx2"/>
            </a:gs>
          </a:gsLst>
          <a:lin ang="5400000" scaled="1"/>
        </a:gra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endParaRPr lang="en-ID" sz="3200" b="1">
            <a:solidFill>
              <a:schemeClr val="bg1"/>
            </a:solidFill>
            <a:latin typeface="+mj-lt"/>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66785D-7C8C-4CB4-BFFD-3F9D8313768A}" type="datetimeFigureOut">
              <a:rPr lang="en-ID" smtClean="0"/>
              <a:t>01/06/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5B3261B-B98E-436B-8679-930407ED11BC}" type="slidenum">
              <a:rPr lang="en-ID" smtClean="0"/>
              <a:t>‹#›</a:t>
            </a:fld>
            <a:endParaRPr lang="en-ID"/>
          </a:p>
        </p:txBody>
      </p:sp>
    </p:spTree>
    <p:extLst>
      <p:ext uri="{BB962C8B-B14F-4D97-AF65-F5344CB8AC3E}">
        <p14:creationId xmlns:p14="http://schemas.microsoft.com/office/powerpoint/2010/main" val="1479974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andhikayw?utm_source=unsplash&amp;utm_medium=referral&amp;utm_content=creditCopyText"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unsplash.com/s/photos/supply?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andhikayw?utm_source=unsplash&amp;utm_medium=referral&amp;utm_content=creditCopyText"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unsplash.com/s/photos/supply?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Photo by </a:t>
            </a:r>
            <a:r>
              <a:rPr lang="en-US" sz="1200" b="0" i="0" kern="1200" dirty="0" err="1">
                <a:solidFill>
                  <a:schemeClr val="tx1"/>
                </a:solidFill>
                <a:effectLst/>
                <a:latin typeface="+mn-lt"/>
                <a:ea typeface="+mn-ea"/>
                <a:cs typeface="+mn-cs"/>
                <a:hlinkClick r:id="rId3"/>
              </a:rPr>
              <a:t>Andhika</a:t>
            </a:r>
            <a:r>
              <a:rPr lang="en-US" sz="1200" b="0" i="0" kern="1200" dirty="0">
                <a:solidFill>
                  <a:schemeClr val="tx1"/>
                </a:solidFill>
                <a:effectLst/>
                <a:latin typeface="+mn-lt"/>
                <a:ea typeface="+mn-ea"/>
                <a:cs typeface="+mn-cs"/>
                <a:hlinkClick r:id="rId3"/>
              </a:rPr>
              <a:t> Y. </a:t>
            </a:r>
            <a:r>
              <a:rPr lang="en-US" sz="1200" b="0" i="0" kern="1200" dirty="0" err="1">
                <a:solidFill>
                  <a:schemeClr val="tx1"/>
                </a:solidFill>
                <a:effectLst/>
                <a:latin typeface="+mn-lt"/>
                <a:ea typeface="+mn-ea"/>
                <a:cs typeface="+mn-cs"/>
                <a:hlinkClick r:id="rId3"/>
              </a:rPr>
              <a:t>Wiguna</a:t>
            </a:r>
            <a:r>
              <a:rPr lang="en-US" sz="1200" b="0" i="0" kern="1200" dirty="0">
                <a:solidFill>
                  <a:schemeClr val="tx1"/>
                </a:solidFill>
                <a:effectLst/>
                <a:latin typeface="+mn-lt"/>
                <a:ea typeface="+mn-ea"/>
                <a:cs typeface="+mn-cs"/>
              </a:rPr>
              <a:t> on </a:t>
            </a:r>
            <a:r>
              <a:rPr lang="en-US" sz="1200" b="0" i="0" kern="1200" dirty="0" err="1">
                <a:solidFill>
                  <a:schemeClr val="tx1"/>
                </a:solidFill>
                <a:effectLst/>
                <a:latin typeface="+mn-lt"/>
                <a:ea typeface="+mn-ea"/>
                <a:cs typeface="+mn-cs"/>
                <a:hlinkClick r:id="rId4"/>
              </a:rPr>
              <a:t>Unsplash</a:t>
            </a:r>
            <a:endParaRPr lang="en-ID" dirty="0"/>
          </a:p>
        </p:txBody>
      </p:sp>
      <p:sp>
        <p:nvSpPr>
          <p:cNvPr id="4" name="Slide Number Placeholder 3"/>
          <p:cNvSpPr>
            <a:spLocks noGrp="1"/>
          </p:cNvSpPr>
          <p:nvPr>
            <p:ph type="sldNum" sz="quarter" idx="5"/>
          </p:nvPr>
        </p:nvSpPr>
        <p:spPr/>
        <p:txBody>
          <a:bodyPr/>
          <a:lstStyle/>
          <a:p>
            <a:fld id="{55B3261B-B98E-436B-8679-930407ED11BC}" type="slidenum">
              <a:rPr lang="en-ID" smtClean="0"/>
              <a:t>1</a:t>
            </a:fld>
            <a:endParaRPr lang="en-ID"/>
          </a:p>
        </p:txBody>
      </p:sp>
    </p:spTree>
    <p:extLst>
      <p:ext uri="{BB962C8B-B14F-4D97-AF65-F5344CB8AC3E}">
        <p14:creationId xmlns:p14="http://schemas.microsoft.com/office/powerpoint/2010/main" val="2256252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5B3261B-B98E-436B-8679-930407ED11BC}" type="slidenum">
              <a:rPr lang="en-ID" smtClean="0"/>
              <a:t>9</a:t>
            </a:fld>
            <a:endParaRPr lang="en-ID"/>
          </a:p>
        </p:txBody>
      </p:sp>
    </p:spTree>
    <p:extLst>
      <p:ext uri="{BB962C8B-B14F-4D97-AF65-F5344CB8AC3E}">
        <p14:creationId xmlns:p14="http://schemas.microsoft.com/office/powerpoint/2010/main" val="26286222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Photo by </a:t>
            </a:r>
            <a:r>
              <a:rPr lang="en-US" sz="1200" b="0" i="0" kern="1200" dirty="0" err="1">
                <a:solidFill>
                  <a:schemeClr val="tx1"/>
                </a:solidFill>
                <a:effectLst/>
                <a:latin typeface="+mn-lt"/>
                <a:ea typeface="+mn-ea"/>
                <a:cs typeface="+mn-cs"/>
                <a:hlinkClick r:id="rId3"/>
              </a:rPr>
              <a:t>Andhika</a:t>
            </a:r>
            <a:r>
              <a:rPr lang="en-US" sz="1200" b="0" i="0" kern="1200" dirty="0">
                <a:solidFill>
                  <a:schemeClr val="tx1"/>
                </a:solidFill>
                <a:effectLst/>
                <a:latin typeface="+mn-lt"/>
                <a:ea typeface="+mn-ea"/>
                <a:cs typeface="+mn-cs"/>
                <a:hlinkClick r:id="rId3"/>
              </a:rPr>
              <a:t> Y. </a:t>
            </a:r>
            <a:r>
              <a:rPr lang="en-US" sz="1200" b="0" i="0" kern="1200" dirty="0" err="1">
                <a:solidFill>
                  <a:schemeClr val="tx1"/>
                </a:solidFill>
                <a:effectLst/>
                <a:latin typeface="+mn-lt"/>
                <a:ea typeface="+mn-ea"/>
                <a:cs typeface="+mn-cs"/>
                <a:hlinkClick r:id="rId3"/>
              </a:rPr>
              <a:t>Wiguna</a:t>
            </a:r>
            <a:r>
              <a:rPr lang="en-US" sz="1200" b="0" i="0" kern="1200" dirty="0">
                <a:solidFill>
                  <a:schemeClr val="tx1"/>
                </a:solidFill>
                <a:effectLst/>
                <a:latin typeface="+mn-lt"/>
                <a:ea typeface="+mn-ea"/>
                <a:cs typeface="+mn-cs"/>
              </a:rPr>
              <a:t> on </a:t>
            </a:r>
            <a:r>
              <a:rPr lang="en-US" sz="1200" b="0" i="0" kern="1200" dirty="0" err="1">
                <a:solidFill>
                  <a:schemeClr val="tx1"/>
                </a:solidFill>
                <a:effectLst/>
                <a:latin typeface="+mn-lt"/>
                <a:ea typeface="+mn-ea"/>
                <a:cs typeface="+mn-cs"/>
                <a:hlinkClick r:id="rId4"/>
              </a:rPr>
              <a:t>Unsplash</a:t>
            </a:r>
            <a:endParaRPr lang="en-ID" dirty="0"/>
          </a:p>
        </p:txBody>
      </p:sp>
      <p:sp>
        <p:nvSpPr>
          <p:cNvPr id="4" name="Slide Number Placeholder 3"/>
          <p:cNvSpPr>
            <a:spLocks noGrp="1"/>
          </p:cNvSpPr>
          <p:nvPr>
            <p:ph type="sldNum" sz="quarter" idx="5"/>
          </p:nvPr>
        </p:nvSpPr>
        <p:spPr/>
        <p:txBody>
          <a:bodyPr/>
          <a:lstStyle/>
          <a:p>
            <a:fld id="{55B3261B-B98E-436B-8679-930407ED11BC}" type="slidenum">
              <a:rPr lang="en-ID" smtClean="0"/>
              <a:t>12</a:t>
            </a:fld>
            <a:endParaRPr lang="en-ID"/>
          </a:p>
        </p:txBody>
      </p:sp>
    </p:spTree>
    <p:extLst>
      <p:ext uri="{BB962C8B-B14F-4D97-AF65-F5344CB8AC3E}">
        <p14:creationId xmlns:p14="http://schemas.microsoft.com/office/powerpoint/2010/main" val="33367229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77E83-5A07-491A-B66B-02F17FF846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4B56414D-07E1-4DEA-9BBC-4442CE64F5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C27CFDDA-007F-46A6-8BAE-66C9EE8D88A5}"/>
              </a:ext>
            </a:extLst>
          </p:cNvPr>
          <p:cNvSpPr>
            <a:spLocks noGrp="1"/>
          </p:cNvSpPr>
          <p:nvPr>
            <p:ph type="dt" sz="half" idx="10"/>
          </p:nvPr>
        </p:nvSpPr>
        <p:spPr/>
        <p:txBody>
          <a:bodyPr/>
          <a:lstStyle/>
          <a:p>
            <a:fld id="{E1B03E03-D9DE-4D95-8BE5-ECE555D348CA}" type="datetimeFigureOut">
              <a:rPr lang="en-ID" smtClean="0"/>
              <a:t>01/06/2024</a:t>
            </a:fld>
            <a:endParaRPr lang="en-ID"/>
          </a:p>
        </p:txBody>
      </p:sp>
      <p:sp>
        <p:nvSpPr>
          <p:cNvPr id="5" name="Footer Placeholder 4">
            <a:extLst>
              <a:ext uri="{FF2B5EF4-FFF2-40B4-BE49-F238E27FC236}">
                <a16:creationId xmlns:a16="http://schemas.microsoft.com/office/drawing/2014/main" id="{FBB6B4C0-EBD0-461E-AA67-968A10E399F1}"/>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8D7A79AC-2EF6-4189-93E2-13BD14CF879B}"/>
              </a:ext>
            </a:extLst>
          </p:cNvPr>
          <p:cNvSpPr>
            <a:spLocks noGrp="1"/>
          </p:cNvSpPr>
          <p:nvPr>
            <p:ph type="sldNum" sz="quarter" idx="12"/>
          </p:nvPr>
        </p:nvSpPr>
        <p:spPr/>
        <p:txBody>
          <a:bodyPr/>
          <a:lstStyle/>
          <a:p>
            <a:fld id="{67F89122-6C24-49FD-BEBC-7A811562A5F5}" type="slidenum">
              <a:rPr lang="en-ID" smtClean="0"/>
              <a:t>‹#›</a:t>
            </a:fld>
            <a:endParaRPr lang="en-ID"/>
          </a:p>
        </p:txBody>
      </p:sp>
    </p:spTree>
    <p:extLst>
      <p:ext uri="{BB962C8B-B14F-4D97-AF65-F5344CB8AC3E}">
        <p14:creationId xmlns:p14="http://schemas.microsoft.com/office/powerpoint/2010/main" val="30653374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ADF819E-B830-4AAD-876A-6F659FC2E5F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273746E8-84F3-4B9F-B789-8B38DC92AD8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62194E2C-6814-4552-BFCB-DDC8E4DAEBB7}"/>
              </a:ext>
            </a:extLst>
          </p:cNvPr>
          <p:cNvSpPr>
            <a:spLocks noGrp="1"/>
          </p:cNvSpPr>
          <p:nvPr>
            <p:ph type="dt" sz="half" idx="10"/>
          </p:nvPr>
        </p:nvSpPr>
        <p:spPr/>
        <p:txBody>
          <a:bodyPr/>
          <a:lstStyle/>
          <a:p>
            <a:fld id="{E1B03E03-D9DE-4D95-8BE5-ECE555D348CA}" type="datetimeFigureOut">
              <a:rPr lang="en-ID" smtClean="0"/>
              <a:t>01/06/2024</a:t>
            </a:fld>
            <a:endParaRPr lang="en-ID"/>
          </a:p>
        </p:txBody>
      </p:sp>
      <p:sp>
        <p:nvSpPr>
          <p:cNvPr id="5" name="Footer Placeholder 4">
            <a:extLst>
              <a:ext uri="{FF2B5EF4-FFF2-40B4-BE49-F238E27FC236}">
                <a16:creationId xmlns:a16="http://schemas.microsoft.com/office/drawing/2014/main" id="{F7AA95D2-C37D-4719-8668-6C56BE01B99E}"/>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0EAB9E42-9D29-4F79-A8A9-FE720BAF66CD}"/>
              </a:ext>
            </a:extLst>
          </p:cNvPr>
          <p:cNvSpPr>
            <a:spLocks noGrp="1"/>
          </p:cNvSpPr>
          <p:nvPr>
            <p:ph type="sldNum" sz="quarter" idx="12"/>
          </p:nvPr>
        </p:nvSpPr>
        <p:spPr/>
        <p:txBody>
          <a:bodyPr/>
          <a:lstStyle/>
          <a:p>
            <a:fld id="{67F89122-6C24-49FD-BEBC-7A811562A5F5}" type="slidenum">
              <a:rPr lang="en-ID" smtClean="0"/>
              <a:t>‹#›</a:t>
            </a:fld>
            <a:endParaRPr lang="en-ID"/>
          </a:p>
        </p:txBody>
      </p:sp>
    </p:spTree>
    <p:extLst>
      <p:ext uri="{BB962C8B-B14F-4D97-AF65-F5344CB8AC3E}">
        <p14:creationId xmlns:p14="http://schemas.microsoft.com/office/powerpoint/2010/main" val="32198262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D065C-2BB8-448F-A6C8-A4B838F0642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10E6BB88-4C2A-4B48-83E7-B1ABD9ACA7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0BB2BF99-57C7-4A07-A307-3BD948BBB8FA}"/>
              </a:ext>
            </a:extLst>
          </p:cNvPr>
          <p:cNvSpPr>
            <a:spLocks noGrp="1"/>
          </p:cNvSpPr>
          <p:nvPr>
            <p:ph type="dt" sz="half" idx="10"/>
          </p:nvPr>
        </p:nvSpPr>
        <p:spPr/>
        <p:txBody>
          <a:bodyPr/>
          <a:lstStyle/>
          <a:p>
            <a:fld id="{E1B03E03-D9DE-4D95-8BE5-ECE555D348CA}" type="datetimeFigureOut">
              <a:rPr lang="en-ID" smtClean="0"/>
              <a:t>01/06/2024</a:t>
            </a:fld>
            <a:endParaRPr lang="en-ID"/>
          </a:p>
        </p:txBody>
      </p:sp>
      <p:sp>
        <p:nvSpPr>
          <p:cNvPr id="5" name="Footer Placeholder 4">
            <a:extLst>
              <a:ext uri="{FF2B5EF4-FFF2-40B4-BE49-F238E27FC236}">
                <a16:creationId xmlns:a16="http://schemas.microsoft.com/office/drawing/2014/main" id="{10B871C1-B052-4E29-B92A-172ABF0BDA51}"/>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85DE6FD2-6B08-4579-86C2-3B01A4B9E1BC}"/>
              </a:ext>
            </a:extLst>
          </p:cNvPr>
          <p:cNvSpPr>
            <a:spLocks noGrp="1"/>
          </p:cNvSpPr>
          <p:nvPr>
            <p:ph type="sldNum" sz="quarter" idx="12"/>
          </p:nvPr>
        </p:nvSpPr>
        <p:spPr/>
        <p:txBody>
          <a:bodyPr/>
          <a:lstStyle/>
          <a:p>
            <a:fld id="{67F89122-6C24-49FD-BEBC-7A811562A5F5}" type="slidenum">
              <a:rPr lang="en-ID" smtClean="0"/>
              <a:t>‹#›</a:t>
            </a:fld>
            <a:endParaRPr lang="en-ID"/>
          </a:p>
        </p:txBody>
      </p:sp>
    </p:spTree>
    <p:extLst>
      <p:ext uri="{BB962C8B-B14F-4D97-AF65-F5344CB8AC3E}">
        <p14:creationId xmlns:p14="http://schemas.microsoft.com/office/powerpoint/2010/main" val="2848781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6A32A-DDCA-4359-8828-91ABFB86C24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2DD0A81A-5BA1-4A3A-A9A6-2B595CF7092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892D37E-E6F6-493C-AE88-86C233040688}"/>
              </a:ext>
            </a:extLst>
          </p:cNvPr>
          <p:cNvSpPr>
            <a:spLocks noGrp="1"/>
          </p:cNvSpPr>
          <p:nvPr>
            <p:ph type="dt" sz="half" idx="10"/>
          </p:nvPr>
        </p:nvSpPr>
        <p:spPr/>
        <p:txBody>
          <a:bodyPr/>
          <a:lstStyle/>
          <a:p>
            <a:fld id="{E1B03E03-D9DE-4D95-8BE5-ECE555D348CA}" type="datetimeFigureOut">
              <a:rPr lang="en-ID" smtClean="0"/>
              <a:t>01/06/2024</a:t>
            </a:fld>
            <a:endParaRPr lang="en-ID"/>
          </a:p>
        </p:txBody>
      </p:sp>
      <p:sp>
        <p:nvSpPr>
          <p:cNvPr id="5" name="Footer Placeholder 4">
            <a:extLst>
              <a:ext uri="{FF2B5EF4-FFF2-40B4-BE49-F238E27FC236}">
                <a16:creationId xmlns:a16="http://schemas.microsoft.com/office/drawing/2014/main" id="{EFF0E9F2-35DB-4030-94CC-55979C319886}"/>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4216D8CD-7368-48B3-832F-6F886F630806}"/>
              </a:ext>
            </a:extLst>
          </p:cNvPr>
          <p:cNvSpPr>
            <a:spLocks noGrp="1"/>
          </p:cNvSpPr>
          <p:nvPr>
            <p:ph type="sldNum" sz="quarter" idx="12"/>
          </p:nvPr>
        </p:nvSpPr>
        <p:spPr/>
        <p:txBody>
          <a:bodyPr/>
          <a:lstStyle/>
          <a:p>
            <a:fld id="{67F89122-6C24-49FD-BEBC-7A811562A5F5}" type="slidenum">
              <a:rPr lang="en-ID" smtClean="0"/>
              <a:t>‹#›</a:t>
            </a:fld>
            <a:endParaRPr lang="en-ID"/>
          </a:p>
        </p:txBody>
      </p:sp>
    </p:spTree>
    <p:extLst>
      <p:ext uri="{BB962C8B-B14F-4D97-AF65-F5344CB8AC3E}">
        <p14:creationId xmlns:p14="http://schemas.microsoft.com/office/powerpoint/2010/main" val="370313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49CF1-3324-46A8-BA19-9C7223864341}"/>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BB4BB830-A132-425C-B0A3-5B531409B70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9A8980FF-7E87-43F1-8723-4F663633167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74E4B7F0-C555-4144-9C1C-7FFD705F5C9D}"/>
              </a:ext>
            </a:extLst>
          </p:cNvPr>
          <p:cNvSpPr>
            <a:spLocks noGrp="1"/>
          </p:cNvSpPr>
          <p:nvPr>
            <p:ph type="dt" sz="half" idx="10"/>
          </p:nvPr>
        </p:nvSpPr>
        <p:spPr/>
        <p:txBody>
          <a:bodyPr/>
          <a:lstStyle/>
          <a:p>
            <a:fld id="{E1B03E03-D9DE-4D95-8BE5-ECE555D348CA}" type="datetimeFigureOut">
              <a:rPr lang="en-ID" smtClean="0"/>
              <a:t>01/06/2024</a:t>
            </a:fld>
            <a:endParaRPr lang="en-ID"/>
          </a:p>
        </p:txBody>
      </p:sp>
      <p:sp>
        <p:nvSpPr>
          <p:cNvPr id="6" name="Footer Placeholder 5">
            <a:extLst>
              <a:ext uri="{FF2B5EF4-FFF2-40B4-BE49-F238E27FC236}">
                <a16:creationId xmlns:a16="http://schemas.microsoft.com/office/drawing/2014/main" id="{DCD5A093-810B-4940-A8A7-BBEFE9B8AFDA}"/>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7C5EC35D-247B-4016-A923-32ABD7F33961}"/>
              </a:ext>
            </a:extLst>
          </p:cNvPr>
          <p:cNvSpPr>
            <a:spLocks noGrp="1"/>
          </p:cNvSpPr>
          <p:nvPr>
            <p:ph type="sldNum" sz="quarter" idx="12"/>
          </p:nvPr>
        </p:nvSpPr>
        <p:spPr/>
        <p:txBody>
          <a:bodyPr/>
          <a:lstStyle/>
          <a:p>
            <a:fld id="{67F89122-6C24-49FD-BEBC-7A811562A5F5}" type="slidenum">
              <a:rPr lang="en-ID" smtClean="0"/>
              <a:t>‹#›</a:t>
            </a:fld>
            <a:endParaRPr lang="en-ID"/>
          </a:p>
        </p:txBody>
      </p:sp>
    </p:spTree>
    <p:extLst>
      <p:ext uri="{BB962C8B-B14F-4D97-AF65-F5344CB8AC3E}">
        <p14:creationId xmlns:p14="http://schemas.microsoft.com/office/powerpoint/2010/main" val="7362479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42D18-9A85-4A43-AFFD-03ED5524C3DF}"/>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3C18E5EE-DB70-4C16-929D-EF9E1C9F0C2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656229A-9C05-4969-92B6-2C4E05E8222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83E3D89E-DE95-485B-A574-0CCC4785E6F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57C988A-48E7-4272-9D0A-C0E790B002D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99C4D2F2-A03E-4D3C-8206-942851CEB7A0}"/>
              </a:ext>
            </a:extLst>
          </p:cNvPr>
          <p:cNvSpPr>
            <a:spLocks noGrp="1"/>
          </p:cNvSpPr>
          <p:nvPr>
            <p:ph type="dt" sz="half" idx="10"/>
          </p:nvPr>
        </p:nvSpPr>
        <p:spPr/>
        <p:txBody>
          <a:bodyPr/>
          <a:lstStyle/>
          <a:p>
            <a:fld id="{E1B03E03-D9DE-4D95-8BE5-ECE555D348CA}" type="datetimeFigureOut">
              <a:rPr lang="en-ID" smtClean="0"/>
              <a:t>01/06/2024</a:t>
            </a:fld>
            <a:endParaRPr lang="en-ID"/>
          </a:p>
        </p:txBody>
      </p:sp>
      <p:sp>
        <p:nvSpPr>
          <p:cNvPr id="8" name="Footer Placeholder 7">
            <a:extLst>
              <a:ext uri="{FF2B5EF4-FFF2-40B4-BE49-F238E27FC236}">
                <a16:creationId xmlns:a16="http://schemas.microsoft.com/office/drawing/2014/main" id="{4F1DB011-867A-40E9-808F-CA85B6954EB0}"/>
              </a:ext>
            </a:extLst>
          </p:cNvPr>
          <p:cNvSpPr>
            <a:spLocks noGrp="1"/>
          </p:cNvSpPr>
          <p:nvPr>
            <p:ph type="ftr" sz="quarter" idx="11"/>
          </p:nvPr>
        </p:nvSpPr>
        <p:spPr/>
        <p:txBody>
          <a:bodyPr/>
          <a:lstStyle/>
          <a:p>
            <a:endParaRPr lang="en-ID"/>
          </a:p>
        </p:txBody>
      </p:sp>
      <p:sp>
        <p:nvSpPr>
          <p:cNvPr id="9" name="Slide Number Placeholder 8">
            <a:extLst>
              <a:ext uri="{FF2B5EF4-FFF2-40B4-BE49-F238E27FC236}">
                <a16:creationId xmlns:a16="http://schemas.microsoft.com/office/drawing/2014/main" id="{B66E60BA-8316-451A-9A06-ACD8285B32FE}"/>
              </a:ext>
            </a:extLst>
          </p:cNvPr>
          <p:cNvSpPr>
            <a:spLocks noGrp="1"/>
          </p:cNvSpPr>
          <p:nvPr>
            <p:ph type="sldNum" sz="quarter" idx="12"/>
          </p:nvPr>
        </p:nvSpPr>
        <p:spPr/>
        <p:txBody>
          <a:bodyPr/>
          <a:lstStyle/>
          <a:p>
            <a:fld id="{67F89122-6C24-49FD-BEBC-7A811562A5F5}" type="slidenum">
              <a:rPr lang="en-ID" smtClean="0"/>
              <a:t>‹#›</a:t>
            </a:fld>
            <a:endParaRPr lang="en-ID"/>
          </a:p>
        </p:txBody>
      </p:sp>
    </p:spTree>
    <p:extLst>
      <p:ext uri="{BB962C8B-B14F-4D97-AF65-F5344CB8AC3E}">
        <p14:creationId xmlns:p14="http://schemas.microsoft.com/office/powerpoint/2010/main" val="32935202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Freeform 131">
            <a:extLst>
              <a:ext uri="{FF2B5EF4-FFF2-40B4-BE49-F238E27FC236}">
                <a16:creationId xmlns:a16="http://schemas.microsoft.com/office/drawing/2014/main" id="{669E9DF0-7548-4FD2-935B-841753057A15}"/>
              </a:ext>
            </a:extLst>
          </p:cNvPr>
          <p:cNvSpPr>
            <a:spLocks noEditPoints="1"/>
          </p:cNvSpPr>
          <p:nvPr userDrawn="1"/>
        </p:nvSpPr>
        <p:spPr bwMode="auto">
          <a:xfrm>
            <a:off x="6475308" y="3567113"/>
            <a:ext cx="5716692" cy="6581774"/>
          </a:xfrm>
          <a:custGeom>
            <a:avLst/>
            <a:gdLst>
              <a:gd name="T0" fmla="*/ 472 w 680"/>
              <a:gd name="T1" fmla="*/ 703 h 784"/>
              <a:gd name="T2" fmla="*/ 510 w 680"/>
              <a:gd name="T3" fmla="*/ 633 h 784"/>
              <a:gd name="T4" fmla="*/ 527 w 680"/>
              <a:gd name="T5" fmla="*/ 618 h 784"/>
              <a:gd name="T6" fmla="*/ 559 w 680"/>
              <a:gd name="T7" fmla="*/ 657 h 784"/>
              <a:gd name="T8" fmla="*/ 551 w 680"/>
              <a:gd name="T9" fmla="*/ 603 h 784"/>
              <a:gd name="T10" fmla="*/ 581 w 680"/>
              <a:gd name="T11" fmla="*/ 564 h 784"/>
              <a:gd name="T12" fmla="*/ 625 w 680"/>
              <a:gd name="T13" fmla="*/ 572 h 784"/>
              <a:gd name="T14" fmla="*/ 679 w 680"/>
              <a:gd name="T15" fmla="*/ 423 h 784"/>
              <a:gd name="T16" fmla="*/ 245 w 680"/>
              <a:gd name="T17" fmla="*/ 55 h 784"/>
              <a:gd name="T18" fmla="*/ 197 w 680"/>
              <a:gd name="T19" fmla="*/ 116 h 784"/>
              <a:gd name="T20" fmla="*/ 139 w 680"/>
              <a:gd name="T21" fmla="*/ 176 h 784"/>
              <a:gd name="T22" fmla="*/ 91 w 680"/>
              <a:gd name="T23" fmla="*/ 199 h 784"/>
              <a:gd name="T24" fmla="*/ 61 w 680"/>
              <a:gd name="T25" fmla="*/ 218 h 784"/>
              <a:gd name="T26" fmla="*/ 38 w 680"/>
              <a:gd name="T27" fmla="*/ 290 h 784"/>
              <a:gd name="T28" fmla="*/ 55 w 680"/>
              <a:gd name="T29" fmla="*/ 350 h 784"/>
              <a:gd name="T30" fmla="*/ 6 w 680"/>
              <a:gd name="T31" fmla="*/ 262 h 784"/>
              <a:gd name="T32" fmla="*/ 492 w 680"/>
              <a:gd name="T33" fmla="*/ 624 h 784"/>
              <a:gd name="T34" fmla="*/ 552 w 680"/>
              <a:gd name="T35" fmla="*/ 574 h 784"/>
              <a:gd name="T36" fmla="*/ 633 w 680"/>
              <a:gd name="T37" fmla="*/ 545 h 784"/>
              <a:gd name="T38" fmla="*/ 641 w 680"/>
              <a:gd name="T39" fmla="*/ 482 h 784"/>
              <a:gd name="T40" fmla="*/ 625 w 680"/>
              <a:gd name="T41" fmla="*/ 439 h 784"/>
              <a:gd name="T42" fmla="*/ 595 w 680"/>
              <a:gd name="T43" fmla="*/ 520 h 784"/>
              <a:gd name="T44" fmla="*/ 561 w 680"/>
              <a:gd name="T45" fmla="*/ 516 h 784"/>
              <a:gd name="T46" fmla="*/ 539 w 680"/>
              <a:gd name="T47" fmla="*/ 439 h 784"/>
              <a:gd name="T48" fmla="*/ 26 w 680"/>
              <a:gd name="T49" fmla="*/ 245 h 784"/>
              <a:gd name="T50" fmla="*/ 44 w 680"/>
              <a:gd name="T51" fmla="*/ 264 h 784"/>
              <a:gd name="T52" fmla="*/ 68 w 680"/>
              <a:gd name="T53" fmla="*/ 289 h 784"/>
              <a:gd name="T54" fmla="*/ 46 w 680"/>
              <a:gd name="T55" fmla="*/ 337 h 784"/>
              <a:gd name="T56" fmla="*/ 75 w 680"/>
              <a:gd name="T57" fmla="*/ 351 h 784"/>
              <a:gd name="T58" fmla="*/ 149 w 680"/>
              <a:gd name="T59" fmla="*/ 200 h 784"/>
              <a:gd name="T60" fmla="*/ 124 w 680"/>
              <a:gd name="T61" fmla="*/ 222 h 784"/>
              <a:gd name="T62" fmla="*/ 95 w 680"/>
              <a:gd name="T63" fmla="*/ 257 h 784"/>
              <a:gd name="T64" fmla="*/ 117 w 680"/>
              <a:gd name="T65" fmla="*/ 400 h 784"/>
              <a:gd name="T66" fmla="*/ 177 w 680"/>
              <a:gd name="T67" fmla="*/ 200 h 784"/>
              <a:gd name="T68" fmla="*/ 181 w 680"/>
              <a:gd name="T69" fmla="*/ 290 h 784"/>
              <a:gd name="T70" fmla="*/ 306 w 680"/>
              <a:gd name="T71" fmla="*/ 205 h 784"/>
              <a:gd name="T72" fmla="*/ 350 w 680"/>
              <a:gd name="T73" fmla="*/ 136 h 784"/>
              <a:gd name="T74" fmla="*/ 366 w 680"/>
              <a:gd name="T75" fmla="*/ 677 h 784"/>
              <a:gd name="T76" fmla="*/ 346 w 680"/>
              <a:gd name="T77" fmla="*/ 657 h 784"/>
              <a:gd name="T78" fmla="*/ 328 w 680"/>
              <a:gd name="T79" fmla="*/ 658 h 784"/>
              <a:gd name="T80" fmla="*/ 368 w 680"/>
              <a:gd name="T81" fmla="*/ 740 h 784"/>
              <a:gd name="T82" fmla="*/ 421 w 680"/>
              <a:gd name="T83" fmla="*/ 663 h 784"/>
              <a:gd name="T84" fmla="*/ 446 w 680"/>
              <a:gd name="T85" fmla="*/ 640 h 784"/>
              <a:gd name="T86" fmla="*/ 451 w 680"/>
              <a:gd name="T87" fmla="*/ 566 h 784"/>
              <a:gd name="T88" fmla="*/ 426 w 680"/>
              <a:gd name="T89" fmla="*/ 681 h 784"/>
              <a:gd name="T90" fmla="*/ 399 w 680"/>
              <a:gd name="T91" fmla="*/ 697 h 784"/>
              <a:gd name="T92" fmla="*/ 437 w 680"/>
              <a:gd name="T93" fmla="*/ 693 h 784"/>
              <a:gd name="T94" fmla="*/ 467 w 680"/>
              <a:gd name="T95" fmla="*/ 683 h 784"/>
              <a:gd name="T96" fmla="*/ 482 w 680"/>
              <a:gd name="T97" fmla="*/ 621 h 784"/>
              <a:gd name="T98" fmla="*/ 499 w 680"/>
              <a:gd name="T99" fmla="*/ 528 h 784"/>
              <a:gd name="T100" fmla="*/ 523 w 680"/>
              <a:gd name="T101" fmla="*/ 458 h 784"/>
              <a:gd name="T102" fmla="*/ 495 w 680"/>
              <a:gd name="T103" fmla="*/ 148 h 784"/>
              <a:gd name="T104" fmla="*/ 461 w 680"/>
              <a:gd name="T105" fmla="*/ 536 h 784"/>
              <a:gd name="T106" fmla="*/ 401 w 680"/>
              <a:gd name="T107" fmla="*/ 117 h 784"/>
              <a:gd name="T108" fmla="*/ 364 w 680"/>
              <a:gd name="T109" fmla="*/ 54 h 784"/>
              <a:gd name="T110" fmla="*/ 314 w 680"/>
              <a:gd name="T111" fmla="*/ 88 h 784"/>
              <a:gd name="T112" fmla="*/ 267 w 680"/>
              <a:gd name="T113" fmla="*/ 262 h 784"/>
              <a:gd name="T114" fmla="*/ 280 w 680"/>
              <a:gd name="T115" fmla="*/ 66 h 784"/>
              <a:gd name="T116" fmla="*/ 241 w 680"/>
              <a:gd name="T117" fmla="*/ 67 h 784"/>
              <a:gd name="T118" fmla="*/ 212 w 680"/>
              <a:gd name="T119" fmla="*/ 179 h 784"/>
              <a:gd name="T120" fmla="*/ 194 w 680"/>
              <a:gd name="T121" fmla="*/ 242 h 784"/>
              <a:gd name="T122" fmla="*/ 222 w 680"/>
              <a:gd name="T123" fmla="*/ 327 h 784"/>
              <a:gd name="T124" fmla="*/ 256 w 680"/>
              <a:gd name="T125" fmla="*/ 133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0" h="784">
                <a:moveTo>
                  <a:pt x="298" y="758"/>
                </a:moveTo>
                <a:cubicBezTo>
                  <a:pt x="300" y="757"/>
                  <a:pt x="304" y="758"/>
                  <a:pt x="305" y="756"/>
                </a:cubicBezTo>
                <a:cubicBezTo>
                  <a:pt x="305" y="756"/>
                  <a:pt x="304" y="755"/>
                  <a:pt x="305" y="755"/>
                </a:cubicBezTo>
                <a:cubicBezTo>
                  <a:pt x="307" y="753"/>
                  <a:pt x="311" y="754"/>
                  <a:pt x="312" y="754"/>
                </a:cubicBezTo>
                <a:cubicBezTo>
                  <a:pt x="324" y="757"/>
                  <a:pt x="318" y="767"/>
                  <a:pt x="306" y="764"/>
                </a:cubicBezTo>
                <a:cubicBezTo>
                  <a:pt x="304" y="763"/>
                  <a:pt x="305" y="762"/>
                  <a:pt x="302" y="762"/>
                </a:cubicBezTo>
                <a:cubicBezTo>
                  <a:pt x="340" y="784"/>
                  <a:pt x="340" y="784"/>
                  <a:pt x="340" y="784"/>
                </a:cubicBezTo>
                <a:cubicBezTo>
                  <a:pt x="340" y="783"/>
                  <a:pt x="341" y="783"/>
                  <a:pt x="341" y="783"/>
                </a:cubicBezTo>
                <a:cubicBezTo>
                  <a:pt x="344" y="782"/>
                  <a:pt x="344" y="782"/>
                  <a:pt x="344" y="782"/>
                </a:cubicBezTo>
                <a:cubicBezTo>
                  <a:pt x="344" y="782"/>
                  <a:pt x="343" y="782"/>
                  <a:pt x="343" y="781"/>
                </a:cubicBezTo>
                <a:cubicBezTo>
                  <a:pt x="344" y="781"/>
                  <a:pt x="344" y="781"/>
                  <a:pt x="344" y="782"/>
                </a:cubicBezTo>
                <a:cubicBezTo>
                  <a:pt x="346" y="781"/>
                  <a:pt x="346" y="781"/>
                  <a:pt x="346" y="781"/>
                </a:cubicBezTo>
                <a:cubicBezTo>
                  <a:pt x="346" y="780"/>
                  <a:pt x="345" y="780"/>
                  <a:pt x="345" y="779"/>
                </a:cubicBezTo>
                <a:cubicBezTo>
                  <a:pt x="345" y="777"/>
                  <a:pt x="351" y="775"/>
                  <a:pt x="354" y="776"/>
                </a:cubicBezTo>
                <a:cubicBezTo>
                  <a:pt x="363" y="770"/>
                  <a:pt x="363" y="770"/>
                  <a:pt x="363" y="770"/>
                </a:cubicBezTo>
                <a:cubicBezTo>
                  <a:pt x="363" y="770"/>
                  <a:pt x="363" y="770"/>
                  <a:pt x="363" y="770"/>
                </a:cubicBezTo>
                <a:cubicBezTo>
                  <a:pt x="363" y="770"/>
                  <a:pt x="360" y="768"/>
                  <a:pt x="361" y="766"/>
                </a:cubicBezTo>
                <a:cubicBezTo>
                  <a:pt x="361" y="765"/>
                  <a:pt x="364" y="765"/>
                  <a:pt x="364" y="765"/>
                </a:cubicBezTo>
                <a:cubicBezTo>
                  <a:pt x="366" y="762"/>
                  <a:pt x="364" y="765"/>
                  <a:pt x="366" y="764"/>
                </a:cubicBezTo>
                <a:cubicBezTo>
                  <a:pt x="366" y="764"/>
                  <a:pt x="367" y="763"/>
                  <a:pt x="367" y="763"/>
                </a:cubicBezTo>
                <a:cubicBezTo>
                  <a:pt x="369" y="763"/>
                  <a:pt x="371" y="764"/>
                  <a:pt x="372" y="766"/>
                </a:cubicBezTo>
                <a:cubicBezTo>
                  <a:pt x="420" y="738"/>
                  <a:pt x="420" y="738"/>
                  <a:pt x="420" y="738"/>
                </a:cubicBezTo>
                <a:cubicBezTo>
                  <a:pt x="420" y="737"/>
                  <a:pt x="419" y="737"/>
                  <a:pt x="419" y="737"/>
                </a:cubicBezTo>
                <a:cubicBezTo>
                  <a:pt x="419" y="735"/>
                  <a:pt x="420" y="737"/>
                  <a:pt x="421" y="737"/>
                </a:cubicBezTo>
                <a:cubicBezTo>
                  <a:pt x="419" y="734"/>
                  <a:pt x="424" y="734"/>
                  <a:pt x="423" y="732"/>
                </a:cubicBezTo>
                <a:cubicBezTo>
                  <a:pt x="425" y="733"/>
                  <a:pt x="426" y="733"/>
                  <a:pt x="428" y="733"/>
                </a:cubicBezTo>
                <a:cubicBezTo>
                  <a:pt x="444" y="724"/>
                  <a:pt x="444" y="724"/>
                  <a:pt x="444" y="724"/>
                </a:cubicBezTo>
                <a:cubicBezTo>
                  <a:pt x="442" y="723"/>
                  <a:pt x="441" y="723"/>
                  <a:pt x="440" y="723"/>
                </a:cubicBezTo>
                <a:cubicBezTo>
                  <a:pt x="439" y="723"/>
                  <a:pt x="439" y="724"/>
                  <a:pt x="438" y="724"/>
                </a:cubicBezTo>
                <a:cubicBezTo>
                  <a:pt x="438" y="724"/>
                  <a:pt x="431" y="722"/>
                  <a:pt x="431" y="721"/>
                </a:cubicBezTo>
                <a:cubicBezTo>
                  <a:pt x="430" y="721"/>
                  <a:pt x="429" y="718"/>
                  <a:pt x="429" y="718"/>
                </a:cubicBezTo>
                <a:cubicBezTo>
                  <a:pt x="429" y="718"/>
                  <a:pt x="428" y="718"/>
                  <a:pt x="428" y="717"/>
                </a:cubicBezTo>
                <a:cubicBezTo>
                  <a:pt x="428" y="716"/>
                  <a:pt x="432" y="715"/>
                  <a:pt x="436" y="715"/>
                </a:cubicBezTo>
                <a:cubicBezTo>
                  <a:pt x="436" y="715"/>
                  <a:pt x="436" y="715"/>
                  <a:pt x="436" y="715"/>
                </a:cubicBezTo>
                <a:cubicBezTo>
                  <a:pt x="436" y="715"/>
                  <a:pt x="436" y="715"/>
                  <a:pt x="436" y="715"/>
                </a:cubicBezTo>
                <a:cubicBezTo>
                  <a:pt x="437" y="715"/>
                  <a:pt x="437" y="715"/>
                  <a:pt x="438" y="715"/>
                </a:cubicBezTo>
                <a:cubicBezTo>
                  <a:pt x="440" y="714"/>
                  <a:pt x="442" y="713"/>
                  <a:pt x="440" y="711"/>
                </a:cubicBezTo>
                <a:cubicBezTo>
                  <a:pt x="441" y="712"/>
                  <a:pt x="437" y="712"/>
                  <a:pt x="437" y="711"/>
                </a:cubicBezTo>
                <a:cubicBezTo>
                  <a:pt x="437" y="711"/>
                  <a:pt x="444" y="710"/>
                  <a:pt x="443" y="708"/>
                </a:cubicBezTo>
                <a:cubicBezTo>
                  <a:pt x="443" y="709"/>
                  <a:pt x="440" y="706"/>
                  <a:pt x="441" y="706"/>
                </a:cubicBezTo>
                <a:cubicBezTo>
                  <a:pt x="441" y="705"/>
                  <a:pt x="444" y="705"/>
                  <a:pt x="446" y="705"/>
                </a:cubicBezTo>
                <a:cubicBezTo>
                  <a:pt x="446" y="705"/>
                  <a:pt x="446" y="704"/>
                  <a:pt x="446" y="704"/>
                </a:cubicBezTo>
                <a:cubicBezTo>
                  <a:pt x="446" y="704"/>
                  <a:pt x="446" y="703"/>
                  <a:pt x="446" y="703"/>
                </a:cubicBezTo>
                <a:cubicBezTo>
                  <a:pt x="445" y="702"/>
                  <a:pt x="444" y="703"/>
                  <a:pt x="445" y="701"/>
                </a:cubicBezTo>
                <a:cubicBezTo>
                  <a:pt x="443" y="702"/>
                  <a:pt x="442" y="702"/>
                  <a:pt x="440" y="703"/>
                </a:cubicBezTo>
                <a:cubicBezTo>
                  <a:pt x="442" y="703"/>
                  <a:pt x="442" y="700"/>
                  <a:pt x="443" y="700"/>
                </a:cubicBezTo>
                <a:cubicBezTo>
                  <a:pt x="446" y="700"/>
                  <a:pt x="443" y="700"/>
                  <a:pt x="442" y="698"/>
                </a:cubicBezTo>
                <a:cubicBezTo>
                  <a:pt x="441" y="699"/>
                  <a:pt x="442" y="699"/>
                  <a:pt x="442" y="700"/>
                </a:cubicBezTo>
                <a:cubicBezTo>
                  <a:pt x="440" y="705"/>
                  <a:pt x="434" y="698"/>
                  <a:pt x="437" y="696"/>
                </a:cubicBezTo>
                <a:cubicBezTo>
                  <a:pt x="438" y="696"/>
                  <a:pt x="441" y="698"/>
                  <a:pt x="441" y="697"/>
                </a:cubicBezTo>
                <a:cubicBezTo>
                  <a:pt x="443" y="697"/>
                  <a:pt x="443" y="696"/>
                  <a:pt x="443" y="694"/>
                </a:cubicBezTo>
                <a:cubicBezTo>
                  <a:pt x="444" y="694"/>
                  <a:pt x="445" y="695"/>
                  <a:pt x="447" y="695"/>
                </a:cubicBezTo>
                <a:cubicBezTo>
                  <a:pt x="447" y="695"/>
                  <a:pt x="446" y="694"/>
                  <a:pt x="447" y="694"/>
                </a:cubicBezTo>
                <a:cubicBezTo>
                  <a:pt x="448" y="692"/>
                  <a:pt x="454" y="695"/>
                  <a:pt x="453" y="693"/>
                </a:cubicBezTo>
                <a:cubicBezTo>
                  <a:pt x="454" y="693"/>
                  <a:pt x="454" y="693"/>
                  <a:pt x="454" y="693"/>
                </a:cubicBezTo>
                <a:cubicBezTo>
                  <a:pt x="454" y="693"/>
                  <a:pt x="454" y="693"/>
                  <a:pt x="454" y="693"/>
                </a:cubicBezTo>
                <a:cubicBezTo>
                  <a:pt x="455" y="693"/>
                  <a:pt x="455" y="693"/>
                  <a:pt x="455" y="693"/>
                </a:cubicBezTo>
                <a:cubicBezTo>
                  <a:pt x="454" y="693"/>
                  <a:pt x="454" y="693"/>
                  <a:pt x="454" y="693"/>
                </a:cubicBezTo>
                <a:cubicBezTo>
                  <a:pt x="455" y="694"/>
                  <a:pt x="456" y="697"/>
                  <a:pt x="457" y="699"/>
                </a:cubicBezTo>
                <a:cubicBezTo>
                  <a:pt x="457" y="700"/>
                  <a:pt x="458" y="700"/>
                  <a:pt x="458" y="701"/>
                </a:cubicBezTo>
                <a:cubicBezTo>
                  <a:pt x="457" y="702"/>
                  <a:pt x="455" y="700"/>
                  <a:pt x="455" y="702"/>
                </a:cubicBezTo>
                <a:cubicBezTo>
                  <a:pt x="455" y="706"/>
                  <a:pt x="463" y="704"/>
                  <a:pt x="461" y="698"/>
                </a:cubicBezTo>
                <a:cubicBezTo>
                  <a:pt x="463" y="700"/>
                  <a:pt x="465" y="701"/>
                  <a:pt x="466" y="703"/>
                </a:cubicBezTo>
                <a:cubicBezTo>
                  <a:pt x="466" y="702"/>
                  <a:pt x="468" y="702"/>
                  <a:pt x="468" y="703"/>
                </a:cubicBezTo>
                <a:cubicBezTo>
                  <a:pt x="469" y="704"/>
                  <a:pt x="467" y="704"/>
                  <a:pt x="466" y="703"/>
                </a:cubicBezTo>
                <a:cubicBezTo>
                  <a:pt x="467" y="704"/>
                  <a:pt x="467" y="704"/>
                  <a:pt x="467" y="705"/>
                </a:cubicBezTo>
                <a:cubicBezTo>
                  <a:pt x="467" y="705"/>
                  <a:pt x="468" y="704"/>
                  <a:pt x="468" y="705"/>
                </a:cubicBezTo>
                <a:cubicBezTo>
                  <a:pt x="468" y="706"/>
                  <a:pt x="467" y="706"/>
                  <a:pt x="467" y="705"/>
                </a:cubicBezTo>
                <a:cubicBezTo>
                  <a:pt x="467" y="706"/>
                  <a:pt x="467" y="706"/>
                  <a:pt x="467" y="707"/>
                </a:cubicBezTo>
                <a:cubicBezTo>
                  <a:pt x="467" y="706"/>
                  <a:pt x="469" y="707"/>
                  <a:pt x="471" y="706"/>
                </a:cubicBezTo>
                <a:cubicBezTo>
                  <a:pt x="471" y="706"/>
                  <a:pt x="471" y="706"/>
                  <a:pt x="471" y="706"/>
                </a:cubicBezTo>
                <a:cubicBezTo>
                  <a:pt x="472" y="706"/>
                  <a:pt x="472" y="706"/>
                  <a:pt x="472" y="706"/>
                </a:cubicBezTo>
                <a:cubicBezTo>
                  <a:pt x="472" y="706"/>
                  <a:pt x="472" y="706"/>
                  <a:pt x="472" y="706"/>
                </a:cubicBezTo>
                <a:cubicBezTo>
                  <a:pt x="472" y="706"/>
                  <a:pt x="473" y="706"/>
                  <a:pt x="474" y="706"/>
                </a:cubicBezTo>
                <a:cubicBezTo>
                  <a:pt x="474" y="706"/>
                  <a:pt x="474" y="705"/>
                  <a:pt x="472" y="705"/>
                </a:cubicBezTo>
                <a:cubicBezTo>
                  <a:pt x="472" y="704"/>
                  <a:pt x="475" y="705"/>
                  <a:pt x="476" y="705"/>
                </a:cubicBezTo>
                <a:cubicBezTo>
                  <a:pt x="476" y="705"/>
                  <a:pt x="476" y="705"/>
                  <a:pt x="476" y="705"/>
                </a:cubicBezTo>
                <a:cubicBezTo>
                  <a:pt x="476" y="705"/>
                  <a:pt x="475" y="704"/>
                  <a:pt x="475" y="704"/>
                </a:cubicBezTo>
                <a:cubicBezTo>
                  <a:pt x="474" y="705"/>
                  <a:pt x="471" y="704"/>
                  <a:pt x="472" y="703"/>
                </a:cubicBezTo>
                <a:cubicBezTo>
                  <a:pt x="473" y="703"/>
                  <a:pt x="473" y="703"/>
                  <a:pt x="473" y="703"/>
                </a:cubicBezTo>
                <a:cubicBezTo>
                  <a:pt x="473" y="703"/>
                  <a:pt x="473" y="703"/>
                  <a:pt x="473" y="702"/>
                </a:cubicBezTo>
                <a:cubicBezTo>
                  <a:pt x="473" y="703"/>
                  <a:pt x="475" y="702"/>
                  <a:pt x="475" y="703"/>
                </a:cubicBezTo>
                <a:cubicBezTo>
                  <a:pt x="474" y="701"/>
                  <a:pt x="472" y="701"/>
                  <a:pt x="472" y="700"/>
                </a:cubicBezTo>
                <a:cubicBezTo>
                  <a:pt x="474" y="698"/>
                  <a:pt x="477" y="703"/>
                  <a:pt x="479" y="702"/>
                </a:cubicBezTo>
                <a:cubicBezTo>
                  <a:pt x="479" y="702"/>
                  <a:pt x="479" y="702"/>
                  <a:pt x="479" y="702"/>
                </a:cubicBezTo>
                <a:cubicBezTo>
                  <a:pt x="479" y="702"/>
                  <a:pt x="479" y="702"/>
                  <a:pt x="479" y="702"/>
                </a:cubicBezTo>
                <a:cubicBezTo>
                  <a:pt x="477" y="700"/>
                  <a:pt x="473" y="698"/>
                  <a:pt x="476" y="697"/>
                </a:cubicBezTo>
                <a:cubicBezTo>
                  <a:pt x="475" y="697"/>
                  <a:pt x="475" y="697"/>
                  <a:pt x="474" y="696"/>
                </a:cubicBezTo>
                <a:cubicBezTo>
                  <a:pt x="474" y="696"/>
                  <a:pt x="474" y="695"/>
                  <a:pt x="474" y="695"/>
                </a:cubicBezTo>
                <a:cubicBezTo>
                  <a:pt x="474" y="695"/>
                  <a:pt x="474" y="695"/>
                  <a:pt x="474" y="695"/>
                </a:cubicBezTo>
                <a:cubicBezTo>
                  <a:pt x="474" y="694"/>
                  <a:pt x="476" y="693"/>
                  <a:pt x="476" y="694"/>
                </a:cubicBezTo>
                <a:cubicBezTo>
                  <a:pt x="479" y="694"/>
                  <a:pt x="485" y="695"/>
                  <a:pt x="481" y="692"/>
                </a:cubicBezTo>
                <a:cubicBezTo>
                  <a:pt x="482" y="693"/>
                  <a:pt x="485" y="690"/>
                  <a:pt x="487" y="693"/>
                </a:cubicBezTo>
                <a:cubicBezTo>
                  <a:pt x="487" y="693"/>
                  <a:pt x="486" y="694"/>
                  <a:pt x="486" y="694"/>
                </a:cubicBezTo>
                <a:cubicBezTo>
                  <a:pt x="487" y="694"/>
                  <a:pt x="494" y="692"/>
                  <a:pt x="494" y="691"/>
                </a:cubicBezTo>
                <a:cubicBezTo>
                  <a:pt x="494" y="691"/>
                  <a:pt x="488" y="688"/>
                  <a:pt x="492" y="687"/>
                </a:cubicBezTo>
                <a:cubicBezTo>
                  <a:pt x="494" y="687"/>
                  <a:pt x="496" y="689"/>
                  <a:pt x="496" y="690"/>
                </a:cubicBezTo>
                <a:cubicBezTo>
                  <a:pt x="496" y="693"/>
                  <a:pt x="499" y="688"/>
                  <a:pt x="499" y="688"/>
                </a:cubicBezTo>
                <a:cubicBezTo>
                  <a:pt x="498" y="686"/>
                  <a:pt x="497" y="688"/>
                  <a:pt x="497" y="686"/>
                </a:cubicBezTo>
                <a:cubicBezTo>
                  <a:pt x="497" y="687"/>
                  <a:pt x="500" y="684"/>
                  <a:pt x="500" y="684"/>
                </a:cubicBezTo>
                <a:cubicBezTo>
                  <a:pt x="501" y="683"/>
                  <a:pt x="500" y="682"/>
                  <a:pt x="503" y="683"/>
                </a:cubicBezTo>
                <a:cubicBezTo>
                  <a:pt x="502" y="683"/>
                  <a:pt x="501" y="682"/>
                  <a:pt x="501" y="681"/>
                </a:cubicBezTo>
                <a:cubicBezTo>
                  <a:pt x="500" y="680"/>
                  <a:pt x="499" y="679"/>
                  <a:pt x="500" y="679"/>
                </a:cubicBezTo>
                <a:cubicBezTo>
                  <a:pt x="500" y="678"/>
                  <a:pt x="500" y="678"/>
                  <a:pt x="501" y="678"/>
                </a:cubicBezTo>
                <a:cubicBezTo>
                  <a:pt x="501" y="678"/>
                  <a:pt x="501" y="678"/>
                  <a:pt x="501" y="678"/>
                </a:cubicBezTo>
                <a:cubicBezTo>
                  <a:pt x="502" y="679"/>
                  <a:pt x="503" y="679"/>
                  <a:pt x="503" y="680"/>
                </a:cubicBezTo>
                <a:cubicBezTo>
                  <a:pt x="503" y="680"/>
                  <a:pt x="503" y="680"/>
                  <a:pt x="504" y="680"/>
                </a:cubicBezTo>
                <a:cubicBezTo>
                  <a:pt x="504" y="680"/>
                  <a:pt x="504" y="680"/>
                  <a:pt x="505" y="679"/>
                </a:cubicBezTo>
                <a:cubicBezTo>
                  <a:pt x="504" y="679"/>
                  <a:pt x="504" y="678"/>
                  <a:pt x="504" y="678"/>
                </a:cubicBezTo>
                <a:cubicBezTo>
                  <a:pt x="505" y="676"/>
                  <a:pt x="508" y="676"/>
                  <a:pt x="509" y="678"/>
                </a:cubicBezTo>
                <a:cubicBezTo>
                  <a:pt x="509" y="677"/>
                  <a:pt x="510" y="677"/>
                  <a:pt x="510" y="677"/>
                </a:cubicBezTo>
                <a:cubicBezTo>
                  <a:pt x="510" y="678"/>
                  <a:pt x="512" y="680"/>
                  <a:pt x="513" y="680"/>
                </a:cubicBezTo>
                <a:cubicBezTo>
                  <a:pt x="513" y="680"/>
                  <a:pt x="513" y="681"/>
                  <a:pt x="513" y="681"/>
                </a:cubicBezTo>
                <a:cubicBezTo>
                  <a:pt x="513" y="681"/>
                  <a:pt x="513" y="681"/>
                  <a:pt x="513" y="682"/>
                </a:cubicBezTo>
                <a:cubicBezTo>
                  <a:pt x="513" y="682"/>
                  <a:pt x="513" y="682"/>
                  <a:pt x="513" y="682"/>
                </a:cubicBezTo>
                <a:cubicBezTo>
                  <a:pt x="516" y="683"/>
                  <a:pt x="514" y="677"/>
                  <a:pt x="517" y="678"/>
                </a:cubicBezTo>
                <a:cubicBezTo>
                  <a:pt x="515" y="678"/>
                  <a:pt x="514" y="677"/>
                  <a:pt x="514" y="676"/>
                </a:cubicBezTo>
                <a:cubicBezTo>
                  <a:pt x="512" y="676"/>
                  <a:pt x="510" y="674"/>
                  <a:pt x="511" y="673"/>
                </a:cubicBezTo>
                <a:cubicBezTo>
                  <a:pt x="509" y="673"/>
                  <a:pt x="506" y="673"/>
                  <a:pt x="507" y="670"/>
                </a:cubicBezTo>
                <a:cubicBezTo>
                  <a:pt x="507" y="670"/>
                  <a:pt x="506" y="670"/>
                  <a:pt x="506" y="670"/>
                </a:cubicBezTo>
                <a:cubicBezTo>
                  <a:pt x="508" y="672"/>
                  <a:pt x="505" y="672"/>
                  <a:pt x="504" y="671"/>
                </a:cubicBezTo>
                <a:cubicBezTo>
                  <a:pt x="504" y="670"/>
                  <a:pt x="505" y="670"/>
                  <a:pt x="505" y="670"/>
                </a:cubicBezTo>
                <a:cubicBezTo>
                  <a:pt x="505" y="669"/>
                  <a:pt x="503" y="669"/>
                  <a:pt x="503" y="668"/>
                </a:cubicBezTo>
                <a:cubicBezTo>
                  <a:pt x="501" y="666"/>
                  <a:pt x="502" y="664"/>
                  <a:pt x="499" y="664"/>
                </a:cubicBezTo>
                <a:cubicBezTo>
                  <a:pt x="496" y="664"/>
                  <a:pt x="496" y="661"/>
                  <a:pt x="494" y="661"/>
                </a:cubicBezTo>
                <a:cubicBezTo>
                  <a:pt x="493" y="662"/>
                  <a:pt x="493" y="669"/>
                  <a:pt x="489" y="666"/>
                </a:cubicBezTo>
                <a:cubicBezTo>
                  <a:pt x="488" y="665"/>
                  <a:pt x="489" y="665"/>
                  <a:pt x="488" y="665"/>
                </a:cubicBezTo>
                <a:cubicBezTo>
                  <a:pt x="486" y="665"/>
                  <a:pt x="480" y="661"/>
                  <a:pt x="486" y="661"/>
                </a:cubicBezTo>
                <a:cubicBezTo>
                  <a:pt x="487" y="661"/>
                  <a:pt x="488" y="662"/>
                  <a:pt x="488" y="662"/>
                </a:cubicBezTo>
                <a:cubicBezTo>
                  <a:pt x="490" y="663"/>
                  <a:pt x="490" y="661"/>
                  <a:pt x="492" y="660"/>
                </a:cubicBezTo>
                <a:cubicBezTo>
                  <a:pt x="493" y="660"/>
                  <a:pt x="493" y="662"/>
                  <a:pt x="494" y="661"/>
                </a:cubicBezTo>
                <a:cubicBezTo>
                  <a:pt x="495" y="659"/>
                  <a:pt x="491" y="658"/>
                  <a:pt x="491" y="658"/>
                </a:cubicBezTo>
                <a:cubicBezTo>
                  <a:pt x="490" y="658"/>
                  <a:pt x="490" y="661"/>
                  <a:pt x="489" y="659"/>
                </a:cubicBezTo>
                <a:cubicBezTo>
                  <a:pt x="489" y="658"/>
                  <a:pt x="491" y="655"/>
                  <a:pt x="491" y="655"/>
                </a:cubicBezTo>
                <a:cubicBezTo>
                  <a:pt x="492" y="652"/>
                  <a:pt x="491" y="653"/>
                  <a:pt x="494" y="652"/>
                </a:cubicBezTo>
                <a:cubicBezTo>
                  <a:pt x="496" y="652"/>
                  <a:pt x="499" y="654"/>
                  <a:pt x="499" y="655"/>
                </a:cubicBezTo>
                <a:cubicBezTo>
                  <a:pt x="501" y="658"/>
                  <a:pt x="500" y="655"/>
                  <a:pt x="501" y="654"/>
                </a:cubicBezTo>
                <a:cubicBezTo>
                  <a:pt x="502" y="653"/>
                  <a:pt x="504" y="653"/>
                  <a:pt x="506" y="654"/>
                </a:cubicBezTo>
                <a:cubicBezTo>
                  <a:pt x="506" y="652"/>
                  <a:pt x="506" y="651"/>
                  <a:pt x="507" y="651"/>
                </a:cubicBezTo>
                <a:cubicBezTo>
                  <a:pt x="507" y="651"/>
                  <a:pt x="507" y="651"/>
                  <a:pt x="506" y="650"/>
                </a:cubicBezTo>
                <a:cubicBezTo>
                  <a:pt x="507" y="650"/>
                  <a:pt x="507" y="651"/>
                  <a:pt x="507" y="651"/>
                </a:cubicBezTo>
                <a:cubicBezTo>
                  <a:pt x="507" y="651"/>
                  <a:pt x="508" y="651"/>
                  <a:pt x="508" y="651"/>
                </a:cubicBezTo>
                <a:cubicBezTo>
                  <a:pt x="505" y="650"/>
                  <a:pt x="516" y="648"/>
                  <a:pt x="513" y="646"/>
                </a:cubicBezTo>
                <a:cubicBezTo>
                  <a:pt x="513" y="645"/>
                  <a:pt x="513" y="645"/>
                  <a:pt x="512" y="645"/>
                </a:cubicBezTo>
                <a:cubicBezTo>
                  <a:pt x="512" y="645"/>
                  <a:pt x="513" y="645"/>
                  <a:pt x="513" y="644"/>
                </a:cubicBezTo>
                <a:cubicBezTo>
                  <a:pt x="513" y="644"/>
                  <a:pt x="513" y="644"/>
                  <a:pt x="513" y="644"/>
                </a:cubicBezTo>
                <a:cubicBezTo>
                  <a:pt x="513" y="643"/>
                  <a:pt x="512" y="642"/>
                  <a:pt x="512" y="641"/>
                </a:cubicBezTo>
                <a:cubicBezTo>
                  <a:pt x="512" y="640"/>
                  <a:pt x="511" y="640"/>
                  <a:pt x="512" y="639"/>
                </a:cubicBezTo>
                <a:cubicBezTo>
                  <a:pt x="512" y="638"/>
                  <a:pt x="513" y="637"/>
                  <a:pt x="515" y="637"/>
                </a:cubicBezTo>
                <a:cubicBezTo>
                  <a:pt x="518" y="636"/>
                  <a:pt x="513" y="635"/>
                  <a:pt x="512" y="636"/>
                </a:cubicBezTo>
                <a:cubicBezTo>
                  <a:pt x="512" y="637"/>
                  <a:pt x="512" y="637"/>
                  <a:pt x="511" y="637"/>
                </a:cubicBezTo>
                <a:cubicBezTo>
                  <a:pt x="511" y="637"/>
                  <a:pt x="510" y="637"/>
                  <a:pt x="510" y="636"/>
                </a:cubicBezTo>
                <a:cubicBezTo>
                  <a:pt x="508" y="636"/>
                  <a:pt x="506" y="635"/>
                  <a:pt x="505" y="635"/>
                </a:cubicBezTo>
                <a:cubicBezTo>
                  <a:pt x="507" y="635"/>
                  <a:pt x="508" y="635"/>
                  <a:pt x="510" y="635"/>
                </a:cubicBezTo>
                <a:cubicBezTo>
                  <a:pt x="510" y="634"/>
                  <a:pt x="510" y="634"/>
                  <a:pt x="510" y="634"/>
                </a:cubicBezTo>
                <a:cubicBezTo>
                  <a:pt x="510" y="634"/>
                  <a:pt x="511" y="634"/>
                  <a:pt x="511" y="635"/>
                </a:cubicBezTo>
                <a:cubicBezTo>
                  <a:pt x="511" y="635"/>
                  <a:pt x="512" y="635"/>
                  <a:pt x="512" y="635"/>
                </a:cubicBezTo>
                <a:cubicBezTo>
                  <a:pt x="512" y="634"/>
                  <a:pt x="510" y="634"/>
                  <a:pt x="510" y="633"/>
                </a:cubicBezTo>
                <a:cubicBezTo>
                  <a:pt x="511" y="634"/>
                  <a:pt x="512" y="634"/>
                  <a:pt x="513" y="633"/>
                </a:cubicBezTo>
                <a:cubicBezTo>
                  <a:pt x="513" y="633"/>
                  <a:pt x="513" y="633"/>
                  <a:pt x="514" y="633"/>
                </a:cubicBezTo>
                <a:cubicBezTo>
                  <a:pt x="514" y="633"/>
                  <a:pt x="514" y="633"/>
                  <a:pt x="514" y="633"/>
                </a:cubicBezTo>
                <a:cubicBezTo>
                  <a:pt x="514" y="632"/>
                  <a:pt x="514" y="632"/>
                  <a:pt x="513" y="631"/>
                </a:cubicBezTo>
                <a:cubicBezTo>
                  <a:pt x="513" y="631"/>
                  <a:pt x="513" y="631"/>
                  <a:pt x="513" y="631"/>
                </a:cubicBezTo>
                <a:cubicBezTo>
                  <a:pt x="513" y="631"/>
                  <a:pt x="513" y="632"/>
                  <a:pt x="513" y="632"/>
                </a:cubicBezTo>
                <a:cubicBezTo>
                  <a:pt x="513" y="632"/>
                  <a:pt x="513" y="632"/>
                  <a:pt x="513" y="632"/>
                </a:cubicBezTo>
                <a:cubicBezTo>
                  <a:pt x="513" y="632"/>
                  <a:pt x="513" y="632"/>
                  <a:pt x="513" y="633"/>
                </a:cubicBezTo>
                <a:cubicBezTo>
                  <a:pt x="513" y="633"/>
                  <a:pt x="513" y="632"/>
                  <a:pt x="512" y="632"/>
                </a:cubicBezTo>
                <a:cubicBezTo>
                  <a:pt x="512" y="632"/>
                  <a:pt x="512" y="632"/>
                  <a:pt x="512" y="632"/>
                </a:cubicBezTo>
                <a:cubicBezTo>
                  <a:pt x="512" y="631"/>
                  <a:pt x="512" y="631"/>
                  <a:pt x="512" y="631"/>
                </a:cubicBezTo>
                <a:cubicBezTo>
                  <a:pt x="511" y="631"/>
                  <a:pt x="510" y="630"/>
                  <a:pt x="510" y="630"/>
                </a:cubicBezTo>
                <a:cubicBezTo>
                  <a:pt x="510" y="630"/>
                  <a:pt x="509" y="631"/>
                  <a:pt x="509" y="632"/>
                </a:cubicBezTo>
                <a:cubicBezTo>
                  <a:pt x="509" y="633"/>
                  <a:pt x="510" y="634"/>
                  <a:pt x="509" y="634"/>
                </a:cubicBezTo>
                <a:cubicBezTo>
                  <a:pt x="509" y="634"/>
                  <a:pt x="509" y="634"/>
                  <a:pt x="508" y="633"/>
                </a:cubicBezTo>
                <a:cubicBezTo>
                  <a:pt x="508" y="634"/>
                  <a:pt x="508" y="634"/>
                  <a:pt x="508" y="634"/>
                </a:cubicBezTo>
                <a:cubicBezTo>
                  <a:pt x="507" y="634"/>
                  <a:pt x="505" y="633"/>
                  <a:pt x="504" y="632"/>
                </a:cubicBezTo>
                <a:cubicBezTo>
                  <a:pt x="504" y="634"/>
                  <a:pt x="503" y="634"/>
                  <a:pt x="500" y="634"/>
                </a:cubicBezTo>
                <a:cubicBezTo>
                  <a:pt x="500" y="634"/>
                  <a:pt x="500" y="634"/>
                  <a:pt x="500" y="634"/>
                </a:cubicBezTo>
                <a:cubicBezTo>
                  <a:pt x="501" y="635"/>
                  <a:pt x="504" y="638"/>
                  <a:pt x="506" y="638"/>
                </a:cubicBezTo>
                <a:cubicBezTo>
                  <a:pt x="506" y="638"/>
                  <a:pt x="511" y="638"/>
                  <a:pt x="508" y="640"/>
                </a:cubicBezTo>
                <a:cubicBezTo>
                  <a:pt x="506" y="640"/>
                  <a:pt x="503" y="636"/>
                  <a:pt x="499" y="635"/>
                </a:cubicBezTo>
                <a:cubicBezTo>
                  <a:pt x="499" y="635"/>
                  <a:pt x="498" y="636"/>
                  <a:pt x="498" y="636"/>
                </a:cubicBezTo>
                <a:cubicBezTo>
                  <a:pt x="497" y="635"/>
                  <a:pt x="497" y="635"/>
                  <a:pt x="497" y="634"/>
                </a:cubicBezTo>
                <a:cubicBezTo>
                  <a:pt x="496" y="634"/>
                  <a:pt x="496" y="634"/>
                  <a:pt x="495" y="633"/>
                </a:cubicBezTo>
                <a:cubicBezTo>
                  <a:pt x="494" y="633"/>
                  <a:pt x="494" y="635"/>
                  <a:pt x="494" y="635"/>
                </a:cubicBezTo>
                <a:cubicBezTo>
                  <a:pt x="494" y="635"/>
                  <a:pt x="491" y="636"/>
                  <a:pt x="491" y="636"/>
                </a:cubicBezTo>
                <a:cubicBezTo>
                  <a:pt x="489" y="635"/>
                  <a:pt x="491" y="632"/>
                  <a:pt x="493" y="632"/>
                </a:cubicBezTo>
                <a:cubicBezTo>
                  <a:pt x="491" y="632"/>
                  <a:pt x="493" y="631"/>
                  <a:pt x="492" y="629"/>
                </a:cubicBezTo>
                <a:cubicBezTo>
                  <a:pt x="492" y="630"/>
                  <a:pt x="487" y="627"/>
                  <a:pt x="488" y="626"/>
                </a:cubicBezTo>
                <a:cubicBezTo>
                  <a:pt x="489" y="625"/>
                  <a:pt x="491" y="627"/>
                  <a:pt x="492" y="628"/>
                </a:cubicBezTo>
                <a:cubicBezTo>
                  <a:pt x="492" y="628"/>
                  <a:pt x="492" y="628"/>
                  <a:pt x="493" y="627"/>
                </a:cubicBezTo>
                <a:cubicBezTo>
                  <a:pt x="492" y="627"/>
                  <a:pt x="492" y="627"/>
                  <a:pt x="492" y="626"/>
                </a:cubicBezTo>
                <a:cubicBezTo>
                  <a:pt x="493" y="626"/>
                  <a:pt x="494" y="626"/>
                  <a:pt x="494" y="626"/>
                </a:cubicBezTo>
                <a:cubicBezTo>
                  <a:pt x="494" y="626"/>
                  <a:pt x="494" y="626"/>
                  <a:pt x="494" y="626"/>
                </a:cubicBezTo>
                <a:cubicBezTo>
                  <a:pt x="495" y="626"/>
                  <a:pt x="495" y="627"/>
                  <a:pt x="495" y="628"/>
                </a:cubicBezTo>
                <a:cubicBezTo>
                  <a:pt x="495" y="630"/>
                  <a:pt x="496" y="629"/>
                  <a:pt x="497" y="628"/>
                </a:cubicBezTo>
                <a:cubicBezTo>
                  <a:pt x="497" y="627"/>
                  <a:pt x="497" y="627"/>
                  <a:pt x="497" y="627"/>
                </a:cubicBezTo>
                <a:cubicBezTo>
                  <a:pt x="498" y="627"/>
                  <a:pt x="498" y="627"/>
                  <a:pt x="498" y="627"/>
                </a:cubicBezTo>
                <a:cubicBezTo>
                  <a:pt x="499" y="627"/>
                  <a:pt x="499" y="627"/>
                  <a:pt x="500" y="627"/>
                </a:cubicBezTo>
                <a:cubicBezTo>
                  <a:pt x="501" y="627"/>
                  <a:pt x="500" y="626"/>
                  <a:pt x="500" y="625"/>
                </a:cubicBezTo>
                <a:cubicBezTo>
                  <a:pt x="501" y="624"/>
                  <a:pt x="502" y="625"/>
                  <a:pt x="503" y="624"/>
                </a:cubicBezTo>
                <a:cubicBezTo>
                  <a:pt x="503" y="624"/>
                  <a:pt x="503" y="624"/>
                  <a:pt x="503" y="624"/>
                </a:cubicBezTo>
                <a:cubicBezTo>
                  <a:pt x="501" y="621"/>
                  <a:pt x="497" y="616"/>
                  <a:pt x="496" y="621"/>
                </a:cubicBezTo>
                <a:cubicBezTo>
                  <a:pt x="496" y="617"/>
                  <a:pt x="492" y="620"/>
                  <a:pt x="491" y="621"/>
                </a:cubicBezTo>
                <a:cubicBezTo>
                  <a:pt x="489" y="621"/>
                  <a:pt x="492" y="620"/>
                  <a:pt x="492" y="620"/>
                </a:cubicBezTo>
                <a:cubicBezTo>
                  <a:pt x="491" y="618"/>
                  <a:pt x="488" y="620"/>
                  <a:pt x="486" y="618"/>
                </a:cubicBezTo>
                <a:cubicBezTo>
                  <a:pt x="486" y="618"/>
                  <a:pt x="485" y="615"/>
                  <a:pt x="485" y="616"/>
                </a:cubicBezTo>
                <a:cubicBezTo>
                  <a:pt x="483" y="615"/>
                  <a:pt x="482" y="617"/>
                  <a:pt x="483" y="615"/>
                </a:cubicBezTo>
                <a:cubicBezTo>
                  <a:pt x="483" y="612"/>
                  <a:pt x="480" y="610"/>
                  <a:pt x="479" y="609"/>
                </a:cubicBezTo>
                <a:cubicBezTo>
                  <a:pt x="479" y="609"/>
                  <a:pt x="480" y="605"/>
                  <a:pt x="478" y="604"/>
                </a:cubicBezTo>
                <a:cubicBezTo>
                  <a:pt x="480" y="609"/>
                  <a:pt x="474" y="610"/>
                  <a:pt x="474" y="608"/>
                </a:cubicBezTo>
                <a:cubicBezTo>
                  <a:pt x="474" y="608"/>
                  <a:pt x="471" y="608"/>
                  <a:pt x="471" y="605"/>
                </a:cubicBezTo>
                <a:cubicBezTo>
                  <a:pt x="472" y="603"/>
                  <a:pt x="472" y="604"/>
                  <a:pt x="471" y="601"/>
                </a:cubicBezTo>
                <a:cubicBezTo>
                  <a:pt x="470" y="599"/>
                  <a:pt x="478" y="604"/>
                  <a:pt x="479" y="603"/>
                </a:cubicBezTo>
                <a:cubicBezTo>
                  <a:pt x="481" y="603"/>
                  <a:pt x="478" y="601"/>
                  <a:pt x="481" y="602"/>
                </a:cubicBezTo>
                <a:cubicBezTo>
                  <a:pt x="487" y="603"/>
                  <a:pt x="499" y="603"/>
                  <a:pt x="499" y="612"/>
                </a:cubicBezTo>
                <a:cubicBezTo>
                  <a:pt x="499" y="614"/>
                  <a:pt x="497" y="615"/>
                  <a:pt x="498" y="617"/>
                </a:cubicBezTo>
                <a:cubicBezTo>
                  <a:pt x="499" y="619"/>
                  <a:pt x="501" y="621"/>
                  <a:pt x="503" y="622"/>
                </a:cubicBezTo>
                <a:cubicBezTo>
                  <a:pt x="503" y="622"/>
                  <a:pt x="503" y="622"/>
                  <a:pt x="503" y="622"/>
                </a:cubicBezTo>
                <a:cubicBezTo>
                  <a:pt x="504" y="622"/>
                  <a:pt x="505" y="623"/>
                  <a:pt x="505" y="622"/>
                </a:cubicBezTo>
                <a:cubicBezTo>
                  <a:pt x="506" y="622"/>
                  <a:pt x="506" y="621"/>
                  <a:pt x="506" y="621"/>
                </a:cubicBezTo>
                <a:cubicBezTo>
                  <a:pt x="506" y="620"/>
                  <a:pt x="505" y="619"/>
                  <a:pt x="506" y="619"/>
                </a:cubicBezTo>
                <a:cubicBezTo>
                  <a:pt x="506" y="619"/>
                  <a:pt x="506" y="619"/>
                  <a:pt x="506" y="619"/>
                </a:cubicBezTo>
                <a:cubicBezTo>
                  <a:pt x="507" y="619"/>
                  <a:pt x="507" y="619"/>
                  <a:pt x="507" y="619"/>
                </a:cubicBezTo>
                <a:cubicBezTo>
                  <a:pt x="508" y="618"/>
                  <a:pt x="510" y="620"/>
                  <a:pt x="510" y="618"/>
                </a:cubicBezTo>
                <a:cubicBezTo>
                  <a:pt x="510" y="619"/>
                  <a:pt x="512" y="620"/>
                  <a:pt x="513" y="620"/>
                </a:cubicBezTo>
                <a:cubicBezTo>
                  <a:pt x="513" y="620"/>
                  <a:pt x="514" y="620"/>
                  <a:pt x="514" y="620"/>
                </a:cubicBezTo>
                <a:cubicBezTo>
                  <a:pt x="514" y="619"/>
                  <a:pt x="513" y="617"/>
                  <a:pt x="513" y="617"/>
                </a:cubicBezTo>
                <a:cubicBezTo>
                  <a:pt x="514" y="616"/>
                  <a:pt x="516" y="618"/>
                  <a:pt x="517" y="620"/>
                </a:cubicBezTo>
                <a:cubicBezTo>
                  <a:pt x="517" y="620"/>
                  <a:pt x="518" y="621"/>
                  <a:pt x="518" y="620"/>
                </a:cubicBezTo>
                <a:cubicBezTo>
                  <a:pt x="518" y="620"/>
                  <a:pt x="514" y="615"/>
                  <a:pt x="517" y="615"/>
                </a:cubicBezTo>
                <a:cubicBezTo>
                  <a:pt x="517" y="615"/>
                  <a:pt x="517" y="615"/>
                  <a:pt x="517" y="614"/>
                </a:cubicBezTo>
                <a:cubicBezTo>
                  <a:pt x="517" y="615"/>
                  <a:pt x="516" y="612"/>
                  <a:pt x="516" y="612"/>
                </a:cubicBezTo>
                <a:cubicBezTo>
                  <a:pt x="518" y="610"/>
                  <a:pt x="520" y="614"/>
                  <a:pt x="522" y="615"/>
                </a:cubicBezTo>
                <a:cubicBezTo>
                  <a:pt x="523" y="614"/>
                  <a:pt x="524" y="613"/>
                  <a:pt x="525" y="614"/>
                </a:cubicBezTo>
                <a:cubicBezTo>
                  <a:pt x="525" y="614"/>
                  <a:pt x="526" y="615"/>
                  <a:pt x="526" y="615"/>
                </a:cubicBezTo>
                <a:cubicBezTo>
                  <a:pt x="526" y="615"/>
                  <a:pt x="526" y="615"/>
                  <a:pt x="527" y="616"/>
                </a:cubicBezTo>
                <a:cubicBezTo>
                  <a:pt x="527" y="616"/>
                  <a:pt x="527" y="617"/>
                  <a:pt x="527" y="618"/>
                </a:cubicBezTo>
                <a:cubicBezTo>
                  <a:pt x="526" y="618"/>
                  <a:pt x="526" y="618"/>
                  <a:pt x="525" y="618"/>
                </a:cubicBezTo>
                <a:cubicBezTo>
                  <a:pt x="525" y="618"/>
                  <a:pt x="525" y="618"/>
                  <a:pt x="525" y="618"/>
                </a:cubicBezTo>
                <a:cubicBezTo>
                  <a:pt x="527" y="619"/>
                  <a:pt x="529" y="619"/>
                  <a:pt x="530" y="621"/>
                </a:cubicBezTo>
                <a:cubicBezTo>
                  <a:pt x="531" y="622"/>
                  <a:pt x="531" y="622"/>
                  <a:pt x="531" y="622"/>
                </a:cubicBezTo>
                <a:cubicBezTo>
                  <a:pt x="532" y="622"/>
                  <a:pt x="532" y="622"/>
                  <a:pt x="532" y="621"/>
                </a:cubicBezTo>
                <a:cubicBezTo>
                  <a:pt x="531" y="620"/>
                  <a:pt x="531" y="619"/>
                  <a:pt x="530" y="617"/>
                </a:cubicBezTo>
                <a:cubicBezTo>
                  <a:pt x="531" y="618"/>
                  <a:pt x="532" y="620"/>
                  <a:pt x="533" y="621"/>
                </a:cubicBezTo>
                <a:cubicBezTo>
                  <a:pt x="533" y="621"/>
                  <a:pt x="533" y="621"/>
                  <a:pt x="533" y="621"/>
                </a:cubicBezTo>
                <a:cubicBezTo>
                  <a:pt x="533" y="621"/>
                  <a:pt x="533" y="620"/>
                  <a:pt x="533" y="620"/>
                </a:cubicBezTo>
                <a:cubicBezTo>
                  <a:pt x="534" y="620"/>
                  <a:pt x="534" y="622"/>
                  <a:pt x="534" y="622"/>
                </a:cubicBezTo>
                <a:cubicBezTo>
                  <a:pt x="535" y="623"/>
                  <a:pt x="536" y="627"/>
                  <a:pt x="537" y="628"/>
                </a:cubicBezTo>
                <a:cubicBezTo>
                  <a:pt x="537" y="628"/>
                  <a:pt x="537" y="627"/>
                  <a:pt x="537" y="627"/>
                </a:cubicBezTo>
                <a:cubicBezTo>
                  <a:pt x="538" y="626"/>
                  <a:pt x="539" y="627"/>
                  <a:pt x="540" y="627"/>
                </a:cubicBezTo>
                <a:cubicBezTo>
                  <a:pt x="540" y="627"/>
                  <a:pt x="540" y="627"/>
                  <a:pt x="541" y="627"/>
                </a:cubicBezTo>
                <a:cubicBezTo>
                  <a:pt x="542" y="628"/>
                  <a:pt x="543" y="630"/>
                  <a:pt x="543" y="631"/>
                </a:cubicBezTo>
                <a:cubicBezTo>
                  <a:pt x="543" y="631"/>
                  <a:pt x="542" y="631"/>
                  <a:pt x="542" y="631"/>
                </a:cubicBezTo>
                <a:cubicBezTo>
                  <a:pt x="542" y="631"/>
                  <a:pt x="542" y="631"/>
                  <a:pt x="542" y="631"/>
                </a:cubicBezTo>
                <a:cubicBezTo>
                  <a:pt x="542" y="631"/>
                  <a:pt x="542" y="632"/>
                  <a:pt x="542" y="632"/>
                </a:cubicBezTo>
                <a:cubicBezTo>
                  <a:pt x="540" y="633"/>
                  <a:pt x="541" y="631"/>
                  <a:pt x="541" y="630"/>
                </a:cubicBezTo>
                <a:cubicBezTo>
                  <a:pt x="541" y="630"/>
                  <a:pt x="540" y="630"/>
                  <a:pt x="540" y="630"/>
                </a:cubicBezTo>
                <a:cubicBezTo>
                  <a:pt x="540" y="631"/>
                  <a:pt x="540" y="631"/>
                  <a:pt x="540" y="632"/>
                </a:cubicBezTo>
                <a:cubicBezTo>
                  <a:pt x="541" y="633"/>
                  <a:pt x="540" y="633"/>
                  <a:pt x="539" y="632"/>
                </a:cubicBezTo>
                <a:cubicBezTo>
                  <a:pt x="538" y="635"/>
                  <a:pt x="537" y="640"/>
                  <a:pt x="537" y="640"/>
                </a:cubicBezTo>
                <a:cubicBezTo>
                  <a:pt x="537" y="641"/>
                  <a:pt x="544" y="646"/>
                  <a:pt x="539" y="644"/>
                </a:cubicBezTo>
                <a:cubicBezTo>
                  <a:pt x="539" y="644"/>
                  <a:pt x="539" y="645"/>
                  <a:pt x="539" y="645"/>
                </a:cubicBezTo>
                <a:cubicBezTo>
                  <a:pt x="539" y="645"/>
                  <a:pt x="539" y="645"/>
                  <a:pt x="539" y="645"/>
                </a:cubicBezTo>
                <a:cubicBezTo>
                  <a:pt x="540" y="645"/>
                  <a:pt x="540" y="646"/>
                  <a:pt x="539" y="646"/>
                </a:cubicBezTo>
                <a:cubicBezTo>
                  <a:pt x="539" y="646"/>
                  <a:pt x="540" y="646"/>
                  <a:pt x="540" y="646"/>
                </a:cubicBezTo>
                <a:cubicBezTo>
                  <a:pt x="540" y="647"/>
                  <a:pt x="539" y="648"/>
                  <a:pt x="538" y="647"/>
                </a:cubicBezTo>
                <a:cubicBezTo>
                  <a:pt x="537" y="648"/>
                  <a:pt x="537" y="648"/>
                  <a:pt x="536" y="649"/>
                </a:cubicBezTo>
                <a:cubicBezTo>
                  <a:pt x="536" y="648"/>
                  <a:pt x="535" y="651"/>
                  <a:pt x="535" y="650"/>
                </a:cubicBezTo>
                <a:cubicBezTo>
                  <a:pt x="534" y="651"/>
                  <a:pt x="532" y="649"/>
                  <a:pt x="532" y="649"/>
                </a:cubicBezTo>
                <a:cubicBezTo>
                  <a:pt x="532" y="648"/>
                  <a:pt x="531" y="648"/>
                  <a:pt x="530" y="648"/>
                </a:cubicBezTo>
                <a:cubicBezTo>
                  <a:pt x="532" y="649"/>
                  <a:pt x="532" y="649"/>
                  <a:pt x="531" y="651"/>
                </a:cubicBezTo>
                <a:cubicBezTo>
                  <a:pt x="531" y="651"/>
                  <a:pt x="531" y="651"/>
                  <a:pt x="530" y="651"/>
                </a:cubicBezTo>
                <a:cubicBezTo>
                  <a:pt x="530" y="653"/>
                  <a:pt x="529" y="653"/>
                  <a:pt x="527" y="652"/>
                </a:cubicBezTo>
                <a:cubicBezTo>
                  <a:pt x="527" y="652"/>
                  <a:pt x="527" y="651"/>
                  <a:pt x="527" y="650"/>
                </a:cubicBezTo>
                <a:cubicBezTo>
                  <a:pt x="527" y="650"/>
                  <a:pt x="525" y="649"/>
                  <a:pt x="525" y="648"/>
                </a:cubicBezTo>
                <a:cubicBezTo>
                  <a:pt x="526" y="648"/>
                  <a:pt x="527" y="647"/>
                  <a:pt x="527" y="647"/>
                </a:cubicBezTo>
                <a:cubicBezTo>
                  <a:pt x="527" y="645"/>
                  <a:pt x="524" y="647"/>
                  <a:pt x="525" y="644"/>
                </a:cubicBezTo>
                <a:cubicBezTo>
                  <a:pt x="524" y="646"/>
                  <a:pt x="521" y="646"/>
                  <a:pt x="520" y="649"/>
                </a:cubicBezTo>
                <a:cubicBezTo>
                  <a:pt x="520" y="649"/>
                  <a:pt x="520" y="654"/>
                  <a:pt x="521" y="655"/>
                </a:cubicBezTo>
                <a:cubicBezTo>
                  <a:pt x="522" y="655"/>
                  <a:pt x="522" y="654"/>
                  <a:pt x="523" y="655"/>
                </a:cubicBezTo>
                <a:cubicBezTo>
                  <a:pt x="523" y="655"/>
                  <a:pt x="523" y="655"/>
                  <a:pt x="523" y="655"/>
                </a:cubicBezTo>
                <a:cubicBezTo>
                  <a:pt x="523" y="655"/>
                  <a:pt x="523" y="655"/>
                  <a:pt x="523" y="655"/>
                </a:cubicBezTo>
                <a:cubicBezTo>
                  <a:pt x="523" y="655"/>
                  <a:pt x="523" y="655"/>
                  <a:pt x="523" y="655"/>
                </a:cubicBezTo>
                <a:cubicBezTo>
                  <a:pt x="523" y="655"/>
                  <a:pt x="523" y="655"/>
                  <a:pt x="523" y="655"/>
                </a:cubicBezTo>
                <a:cubicBezTo>
                  <a:pt x="523" y="656"/>
                  <a:pt x="521" y="658"/>
                  <a:pt x="522" y="660"/>
                </a:cubicBezTo>
                <a:cubicBezTo>
                  <a:pt x="522" y="659"/>
                  <a:pt x="523" y="661"/>
                  <a:pt x="523" y="661"/>
                </a:cubicBezTo>
                <a:cubicBezTo>
                  <a:pt x="524" y="661"/>
                  <a:pt x="524" y="660"/>
                  <a:pt x="523" y="660"/>
                </a:cubicBezTo>
                <a:cubicBezTo>
                  <a:pt x="523" y="659"/>
                  <a:pt x="522" y="659"/>
                  <a:pt x="522" y="658"/>
                </a:cubicBezTo>
                <a:cubicBezTo>
                  <a:pt x="523" y="658"/>
                  <a:pt x="523" y="658"/>
                  <a:pt x="524" y="659"/>
                </a:cubicBezTo>
                <a:cubicBezTo>
                  <a:pt x="525" y="658"/>
                  <a:pt x="526" y="660"/>
                  <a:pt x="527" y="660"/>
                </a:cubicBezTo>
                <a:cubicBezTo>
                  <a:pt x="529" y="660"/>
                  <a:pt x="528" y="659"/>
                  <a:pt x="530" y="659"/>
                </a:cubicBezTo>
                <a:cubicBezTo>
                  <a:pt x="528" y="661"/>
                  <a:pt x="529" y="660"/>
                  <a:pt x="531" y="661"/>
                </a:cubicBezTo>
                <a:cubicBezTo>
                  <a:pt x="531" y="660"/>
                  <a:pt x="531" y="660"/>
                  <a:pt x="531" y="661"/>
                </a:cubicBezTo>
                <a:cubicBezTo>
                  <a:pt x="531" y="661"/>
                  <a:pt x="532" y="661"/>
                  <a:pt x="532" y="661"/>
                </a:cubicBezTo>
                <a:cubicBezTo>
                  <a:pt x="532" y="661"/>
                  <a:pt x="532" y="661"/>
                  <a:pt x="532" y="661"/>
                </a:cubicBezTo>
                <a:cubicBezTo>
                  <a:pt x="532" y="661"/>
                  <a:pt x="532" y="661"/>
                  <a:pt x="532" y="661"/>
                </a:cubicBezTo>
                <a:cubicBezTo>
                  <a:pt x="534" y="662"/>
                  <a:pt x="535" y="664"/>
                  <a:pt x="536" y="664"/>
                </a:cubicBezTo>
                <a:cubicBezTo>
                  <a:pt x="537" y="664"/>
                  <a:pt x="537" y="664"/>
                  <a:pt x="537" y="664"/>
                </a:cubicBezTo>
                <a:cubicBezTo>
                  <a:pt x="537" y="664"/>
                  <a:pt x="537" y="664"/>
                  <a:pt x="538" y="665"/>
                </a:cubicBezTo>
                <a:cubicBezTo>
                  <a:pt x="538" y="665"/>
                  <a:pt x="538" y="665"/>
                  <a:pt x="539" y="666"/>
                </a:cubicBezTo>
                <a:cubicBezTo>
                  <a:pt x="538" y="665"/>
                  <a:pt x="538" y="663"/>
                  <a:pt x="539" y="662"/>
                </a:cubicBezTo>
                <a:cubicBezTo>
                  <a:pt x="541" y="661"/>
                  <a:pt x="542" y="663"/>
                  <a:pt x="544" y="663"/>
                </a:cubicBezTo>
                <a:cubicBezTo>
                  <a:pt x="544" y="663"/>
                  <a:pt x="545" y="661"/>
                  <a:pt x="546" y="661"/>
                </a:cubicBezTo>
                <a:cubicBezTo>
                  <a:pt x="546" y="660"/>
                  <a:pt x="545" y="658"/>
                  <a:pt x="545" y="656"/>
                </a:cubicBezTo>
                <a:cubicBezTo>
                  <a:pt x="546" y="656"/>
                  <a:pt x="546" y="659"/>
                  <a:pt x="547" y="659"/>
                </a:cubicBezTo>
                <a:cubicBezTo>
                  <a:pt x="547" y="659"/>
                  <a:pt x="547" y="658"/>
                  <a:pt x="547" y="658"/>
                </a:cubicBezTo>
                <a:cubicBezTo>
                  <a:pt x="547" y="658"/>
                  <a:pt x="547" y="658"/>
                  <a:pt x="547" y="658"/>
                </a:cubicBezTo>
                <a:cubicBezTo>
                  <a:pt x="547" y="658"/>
                  <a:pt x="546" y="657"/>
                  <a:pt x="546" y="656"/>
                </a:cubicBezTo>
                <a:cubicBezTo>
                  <a:pt x="547" y="655"/>
                  <a:pt x="548" y="655"/>
                  <a:pt x="548" y="656"/>
                </a:cubicBezTo>
                <a:cubicBezTo>
                  <a:pt x="549" y="655"/>
                  <a:pt x="550" y="655"/>
                  <a:pt x="551" y="656"/>
                </a:cubicBezTo>
                <a:cubicBezTo>
                  <a:pt x="552" y="656"/>
                  <a:pt x="552" y="656"/>
                  <a:pt x="552" y="657"/>
                </a:cubicBezTo>
                <a:cubicBezTo>
                  <a:pt x="552" y="658"/>
                  <a:pt x="552" y="659"/>
                  <a:pt x="552" y="660"/>
                </a:cubicBezTo>
                <a:cubicBezTo>
                  <a:pt x="552" y="660"/>
                  <a:pt x="552" y="661"/>
                  <a:pt x="552" y="661"/>
                </a:cubicBezTo>
                <a:cubicBezTo>
                  <a:pt x="556" y="659"/>
                  <a:pt x="556" y="659"/>
                  <a:pt x="556" y="659"/>
                </a:cubicBezTo>
                <a:cubicBezTo>
                  <a:pt x="556" y="659"/>
                  <a:pt x="556" y="659"/>
                  <a:pt x="557" y="659"/>
                </a:cubicBezTo>
                <a:cubicBezTo>
                  <a:pt x="559" y="657"/>
                  <a:pt x="559" y="657"/>
                  <a:pt x="559" y="657"/>
                </a:cubicBezTo>
                <a:cubicBezTo>
                  <a:pt x="559" y="657"/>
                  <a:pt x="559" y="656"/>
                  <a:pt x="558" y="656"/>
                </a:cubicBezTo>
                <a:cubicBezTo>
                  <a:pt x="558" y="656"/>
                  <a:pt x="557" y="656"/>
                  <a:pt x="556" y="655"/>
                </a:cubicBezTo>
                <a:cubicBezTo>
                  <a:pt x="556" y="655"/>
                  <a:pt x="556" y="655"/>
                  <a:pt x="555" y="656"/>
                </a:cubicBezTo>
                <a:cubicBezTo>
                  <a:pt x="556" y="656"/>
                  <a:pt x="556" y="655"/>
                  <a:pt x="556" y="655"/>
                </a:cubicBezTo>
                <a:cubicBezTo>
                  <a:pt x="556" y="655"/>
                  <a:pt x="555" y="655"/>
                  <a:pt x="555" y="654"/>
                </a:cubicBezTo>
                <a:cubicBezTo>
                  <a:pt x="555" y="654"/>
                  <a:pt x="557" y="653"/>
                  <a:pt x="557" y="653"/>
                </a:cubicBezTo>
                <a:cubicBezTo>
                  <a:pt x="557" y="652"/>
                  <a:pt x="556" y="651"/>
                  <a:pt x="556" y="650"/>
                </a:cubicBezTo>
                <a:cubicBezTo>
                  <a:pt x="555" y="651"/>
                  <a:pt x="554" y="652"/>
                  <a:pt x="553" y="652"/>
                </a:cubicBezTo>
                <a:cubicBezTo>
                  <a:pt x="553" y="652"/>
                  <a:pt x="553" y="653"/>
                  <a:pt x="553" y="653"/>
                </a:cubicBezTo>
                <a:cubicBezTo>
                  <a:pt x="552" y="653"/>
                  <a:pt x="552" y="652"/>
                  <a:pt x="552" y="652"/>
                </a:cubicBezTo>
                <a:cubicBezTo>
                  <a:pt x="552" y="652"/>
                  <a:pt x="551" y="652"/>
                  <a:pt x="551" y="652"/>
                </a:cubicBezTo>
                <a:cubicBezTo>
                  <a:pt x="551" y="652"/>
                  <a:pt x="551" y="652"/>
                  <a:pt x="551" y="652"/>
                </a:cubicBezTo>
                <a:cubicBezTo>
                  <a:pt x="551" y="653"/>
                  <a:pt x="550" y="653"/>
                  <a:pt x="550" y="653"/>
                </a:cubicBezTo>
                <a:cubicBezTo>
                  <a:pt x="550" y="653"/>
                  <a:pt x="550" y="652"/>
                  <a:pt x="550" y="652"/>
                </a:cubicBezTo>
                <a:cubicBezTo>
                  <a:pt x="548" y="652"/>
                  <a:pt x="546" y="651"/>
                  <a:pt x="545" y="649"/>
                </a:cubicBezTo>
                <a:cubicBezTo>
                  <a:pt x="544" y="648"/>
                  <a:pt x="544" y="647"/>
                  <a:pt x="544" y="646"/>
                </a:cubicBezTo>
                <a:cubicBezTo>
                  <a:pt x="543" y="646"/>
                  <a:pt x="541" y="644"/>
                  <a:pt x="542" y="643"/>
                </a:cubicBezTo>
                <a:cubicBezTo>
                  <a:pt x="543" y="643"/>
                  <a:pt x="544" y="643"/>
                  <a:pt x="544" y="644"/>
                </a:cubicBezTo>
                <a:cubicBezTo>
                  <a:pt x="544" y="644"/>
                  <a:pt x="544" y="644"/>
                  <a:pt x="544" y="643"/>
                </a:cubicBezTo>
                <a:cubicBezTo>
                  <a:pt x="544" y="643"/>
                  <a:pt x="544" y="643"/>
                  <a:pt x="544" y="643"/>
                </a:cubicBezTo>
                <a:cubicBezTo>
                  <a:pt x="545" y="641"/>
                  <a:pt x="546" y="640"/>
                  <a:pt x="548" y="638"/>
                </a:cubicBezTo>
                <a:cubicBezTo>
                  <a:pt x="548" y="638"/>
                  <a:pt x="548" y="638"/>
                  <a:pt x="548" y="638"/>
                </a:cubicBezTo>
                <a:cubicBezTo>
                  <a:pt x="548" y="638"/>
                  <a:pt x="548" y="638"/>
                  <a:pt x="548" y="638"/>
                </a:cubicBezTo>
                <a:cubicBezTo>
                  <a:pt x="549" y="637"/>
                  <a:pt x="549" y="637"/>
                  <a:pt x="549" y="638"/>
                </a:cubicBezTo>
                <a:cubicBezTo>
                  <a:pt x="551" y="637"/>
                  <a:pt x="554" y="636"/>
                  <a:pt x="556" y="638"/>
                </a:cubicBezTo>
                <a:cubicBezTo>
                  <a:pt x="556" y="638"/>
                  <a:pt x="558" y="640"/>
                  <a:pt x="558" y="640"/>
                </a:cubicBezTo>
                <a:cubicBezTo>
                  <a:pt x="558" y="640"/>
                  <a:pt x="557" y="642"/>
                  <a:pt x="557" y="642"/>
                </a:cubicBezTo>
                <a:cubicBezTo>
                  <a:pt x="557" y="642"/>
                  <a:pt x="557" y="642"/>
                  <a:pt x="557" y="642"/>
                </a:cubicBezTo>
                <a:cubicBezTo>
                  <a:pt x="558" y="642"/>
                  <a:pt x="558" y="643"/>
                  <a:pt x="559" y="644"/>
                </a:cubicBezTo>
                <a:cubicBezTo>
                  <a:pt x="559" y="643"/>
                  <a:pt x="559" y="643"/>
                  <a:pt x="559" y="643"/>
                </a:cubicBezTo>
                <a:cubicBezTo>
                  <a:pt x="560" y="642"/>
                  <a:pt x="561" y="644"/>
                  <a:pt x="560" y="644"/>
                </a:cubicBezTo>
                <a:cubicBezTo>
                  <a:pt x="559" y="644"/>
                  <a:pt x="559" y="644"/>
                  <a:pt x="559" y="644"/>
                </a:cubicBezTo>
                <a:cubicBezTo>
                  <a:pt x="560" y="645"/>
                  <a:pt x="561" y="646"/>
                  <a:pt x="562" y="645"/>
                </a:cubicBezTo>
                <a:cubicBezTo>
                  <a:pt x="563" y="645"/>
                  <a:pt x="561" y="642"/>
                  <a:pt x="564" y="642"/>
                </a:cubicBezTo>
                <a:cubicBezTo>
                  <a:pt x="562" y="645"/>
                  <a:pt x="564" y="643"/>
                  <a:pt x="567" y="645"/>
                </a:cubicBezTo>
                <a:cubicBezTo>
                  <a:pt x="570" y="646"/>
                  <a:pt x="569" y="646"/>
                  <a:pt x="567" y="643"/>
                </a:cubicBezTo>
                <a:cubicBezTo>
                  <a:pt x="566" y="641"/>
                  <a:pt x="568" y="642"/>
                  <a:pt x="566" y="640"/>
                </a:cubicBezTo>
                <a:cubicBezTo>
                  <a:pt x="566" y="639"/>
                  <a:pt x="564" y="638"/>
                  <a:pt x="562" y="638"/>
                </a:cubicBezTo>
                <a:cubicBezTo>
                  <a:pt x="562" y="638"/>
                  <a:pt x="562" y="638"/>
                  <a:pt x="562" y="638"/>
                </a:cubicBezTo>
                <a:cubicBezTo>
                  <a:pt x="561" y="638"/>
                  <a:pt x="560" y="638"/>
                  <a:pt x="560" y="638"/>
                </a:cubicBezTo>
                <a:cubicBezTo>
                  <a:pt x="562" y="637"/>
                  <a:pt x="558" y="640"/>
                  <a:pt x="558" y="639"/>
                </a:cubicBezTo>
                <a:cubicBezTo>
                  <a:pt x="558" y="638"/>
                  <a:pt x="558" y="638"/>
                  <a:pt x="558" y="637"/>
                </a:cubicBezTo>
                <a:cubicBezTo>
                  <a:pt x="557" y="637"/>
                  <a:pt x="554" y="634"/>
                  <a:pt x="554" y="634"/>
                </a:cubicBezTo>
                <a:cubicBezTo>
                  <a:pt x="551" y="632"/>
                  <a:pt x="551" y="631"/>
                  <a:pt x="554" y="633"/>
                </a:cubicBezTo>
                <a:cubicBezTo>
                  <a:pt x="555" y="634"/>
                  <a:pt x="557" y="635"/>
                  <a:pt x="558" y="636"/>
                </a:cubicBezTo>
                <a:cubicBezTo>
                  <a:pt x="558" y="634"/>
                  <a:pt x="556" y="635"/>
                  <a:pt x="555" y="634"/>
                </a:cubicBezTo>
                <a:cubicBezTo>
                  <a:pt x="555" y="633"/>
                  <a:pt x="554" y="632"/>
                  <a:pt x="554" y="630"/>
                </a:cubicBezTo>
                <a:cubicBezTo>
                  <a:pt x="554" y="630"/>
                  <a:pt x="553" y="629"/>
                  <a:pt x="553" y="629"/>
                </a:cubicBezTo>
                <a:cubicBezTo>
                  <a:pt x="553" y="629"/>
                  <a:pt x="553" y="629"/>
                  <a:pt x="553" y="628"/>
                </a:cubicBezTo>
                <a:cubicBezTo>
                  <a:pt x="553" y="628"/>
                  <a:pt x="553" y="628"/>
                  <a:pt x="553" y="628"/>
                </a:cubicBezTo>
                <a:cubicBezTo>
                  <a:pt x="551" y="629"/>
                  <a:pt x="552" y="625"/>
                  <a:pt x="553" y="626"/>
                </a:cubicBezTo>
                <a:cubicBezTo>
                  <a:pt x="553" y="626"/>
                  <a:pt x="553" y="625"/>
                  <a:pt x="553" y="625"/>
                </a:cubicBezTo>
                <a:cubicBezTo>
                  <a:pt x="554" y="625"/>
                  <a:pt x="554" y="625"/>
                  <a:pt x="554" y="625"/>
                </a:cubicBezTo>
                <a:cubicBezTo>
                  <a:pt x="554" y="625"/>
                  <a:pt x="554" y="625"/>
                  <a:pt x="554" y="625"/>
                </a:cubicBezTo>
                <a:cubicBezTo>
                  <a:pt x="554" y="625"/>
                  <a:pt x="557" y="625"/>
                  <a:pt x="559" y="624"/>
                </a:cubicBezTo>
                <a:cubicBezTo>
                  <a:pt x="558" y="624"/>
                  <a:pt x="559" y="623"/>
                  <a:pt x="559" y="623"/>
                </a:cubicBezTo>
                <a:cubicBezTo>
                  <a:pt x="559" y="623"/>
                  <a:pt x="560" y="623"/>
                  <a:pt x="560" y="623"/>
                </a:cubicBezTo>
                <a:cubicBezTo>
                  <a:pt x="560" y="623"/>
                  <a:pt x="560" y="622"/>
                  <a:pt x="559" y="621"/>
                </a:cubicBezTo>
                <a:cubicBezTo>
                  <a:pt x="559" y="621"/>
                  <a:pt x="559" y="621"/>
                  <a:pt x="558" y="621"/>
                </a:cubicBezTo>
                <a:cubicBezTo>
                  <a:pt x="559" y="620"/>
                  <a:pt x="561" y="613"/>
                  <a:pt x="557" y="616"/>
                </a:cubicBezTo>
                <a:cubicBezTo>
                  <a:pt x="557" y="616"/>
                  <a:pt x="558" y="617"/>
                  <a:pt x="558" y="617"/>
                </a:cubicBezTo>
                <a:cubicBezTo>
                  <a:pt x="558" y="617"/>
                  <a:pt x="557" y="617"/>
                  <a:pt x="557" y="617"/>
                </a:cubicBezTo>
                <a:cubicBezTo>
                  <a:pt x="556" y="618"/>
                  <a:pt x="558" y="620"/>
                  <a:pt x="557" y="621"/>
                </a:cubicBezTo>
                <a:cubicBezTo>
                  <a:pt x="557" y="619"/>
                  <a:pt x="553" y="620"/>
                  <a:pt x="553" y="618"/>
                </a:cubicBezTo>
                <a:cubicBezTo>
                  <a:pt x="553" y="616"/>
                  <a:pt x="557" y="615"/>
                  <a:pt x="558" y="613"/>
                </a:cubicBezTo>
                <a:cubicBezTo>
                  <a:pt x="559" y="611"/>
                  <a:pt x="557" y="609"/>
                  <a:pt x="555" y="607"/>
                </a:cubicBezTo>
                <a:cubicBezTo>
                  <a:pt x="555" y="608"/>
                  <a:pt x="555" y="610"/>
                  <a:pt x="554" y="611"/>
                </a:cubicBezTo>
                <a:cubicBezTo>
                  <a:pt x="554" y="612"/>
                  <a:pt x="555" y="613"/>
                  <a:pt x="552" y="614"/>
                </a:cubicBezTo>
                <a:cubicBezTo>
                  <a:pt x="550" y="614"/>
                  <a:pt x="546" y="617"/>
                  <a:pt x="545" y="614"/>
                </a:cubicBezTo>
                <a:cubicBezTo>
                  <a:pt x="543" y="610"/>
                  <a:pt x="541" y="602"/>
                  <a:pt x="536" y="600"/>
                </a:cubicBezTo>
                <a:cubicBezTo>
                  <a:pt x="539" y="606"/>
                  <a:pt x="533" y="604"/>
                  <a:pt x="534" y="599"/>
                </a:cubicBezTo>
                <a:cubicBezTo>
                  <a:pt x="535" y="601"/>
                  <a:pt x="535" y="598"/>
                  <a:pt x="536" y="597"/>
                </a:cubicBezTo>
                <a:cubicBezTo>
                  <a:pt x="537" y="597"/>
                  <a:pt x="537" y="598"/>
                  <a:pt x="537" y="598"/>
                </a:cubicBezTo>
                <a:cubicBezTo>
                  <a:pt x="537" y="598"/>
                  <a:pt x="537" y="598"/>
                  <a:pt x="537" y="598"/>
                </a:cubicBezTo>
                <a:cubicBezTo>
                  <a:pt x="539" y="596"/>
                  <a:pt x="541" y="601"/>
                  <a:pt x="538" y="599"/>
                </a:cubicBezTo>
                <a:cubicBezTo>
                  <a:pt x="538" y="599"/>
                  <a:pt x="538" y="599"/>
                  <a:pt x="538" y="599"/>
                </a:cubicBezTo>
                <a:cubicBezTo>
                  <a:pt x="539" y="600"/>
                  <a:pt x="539" y="600"/>
                  <a:pt x="540" y="601"/>
                </a:cubicBezTo>
                <a:cubicBezTo>
                  <a:pt x="542" y="603"/>
                  <a:pt x="546" y="604"/>
                  <a:pt x="549" y="604"/>
                </a:cubicBezTo>
                <a:cubicBezTo>
                  <a:pt x="550" y="603"/>
                  <a:pt x="550" y="603"/>
                  <a:pt x="551" y="603"/>
                </a:cubicBezTo>
                <a:cubicBezTo>
                  <a:pt x="551" y="603"/>
                  <a:pt x="552" y="603"/>
                  <a:pt x="552" y="603"/>
                </a:cubicBezTo>
                <a:cubicBezTo>
                  <a:pt x="553" y="602"/>
                  <a:pt x="553" y="601"/>
                  <a:pt x="550" y="598"/>
                </a:cubicBezTo>
                <a:cubicBezTo>
                  <a:pt x="557" y="600"/>
                  <a:pt x="550" y="591"/>
                  <a:pt x="548" y="592"/>
                </a:cubicBezTo>
                <a:cubicBezTo>
                  <a:pt x="548" y="592"/>
                  <a:pt x="547" y="594"/>
                  <a:pt x="546" y="594"/>
                </a:cubicBezTo>
                <a:cubicBezTo>
                  <a:pt x="545" y="594"/>
                  <a:pt x="543" y="592"/>
                  <a:pt x="542" y="591"/>
                </a:cubicBezTo>
                <a:cubicBezTo>
                  <a:pt x="541" y="590"/>
                  <a:pt x="536" y="584"/>
                  <a:pt x="540" y="587"/>
                </a:cubicBezTo>
                <a:cubicBezTo>
                  <a:pt x="542" y="588"/>
                  <a:pt x="543" y="589"/>
                  <a:pt x="545" y="589"/>
                </a:cubicBezTo>
                <a:cubicBezTo>
                  <a:pt x="545" y="589"/>
                  <a:pt x="544" y="588"/>
                  <a:pt x="545" y="589"/>
                </a:cubicBezTo>
                <a:cubicBezTo>
                  <a:pt x="545" y="589"/>
                  <a:pt x="545" y="589"/>
                  <a:pt x="545" y="589"/>
                </a:cubicBezTo>
                <a:cubicBezTo>
                  <a:pt x="546" y="590"/>
                  <a:pt x="547" y="590"/>
                  <a:pt x="549" y="591"/>
                </a:cubicBezTo>
                <a:cubicBezTo>
                  <a:pt x="551" y="592"/>
                  <a:pt x="552" y="594"/>
                  <a:pt x="553" y="594"/>
                </a:cubicBezTo>
                <a:cubicBezTo>
                  <a:pt x="553" y="594"/>
                  <a:pt x="553" y="594"/>
                  <a:pt x="554" y="593"/>
                </a:cubicBezTo>
                <a:cubicBezTo>
                  <a:pt x="554" y="593"/>
                  <a:pt x="555" y="593"/>
                  <a:pt x="555" y="593"/>
                </a:cubicBezTo>
                <a:cubicBezTo>
                  <a:pt x="555" y="594"/>
                  <a:pt x="555" y="594"/>
                  <a:pt x="556" y="594"/>
                </a:cubicBezTo>
                <a:cubicBezTo>
                  <a:pt x="556" y="594"/>
                  <a:pt x="556" y="594"/>
                  <a:pt x="556" y="594"/>
                </a:cubicBezTo>
                <a:cubicBezTo>
                  <a:pt x="557" y="591"/>
                  <a:pt x="549" y="589"/>
                  <a:pt x="546" y="588"/>
                </a:cubicBezTo>
                <a:cubicBezTo>
                  <a:pt x="547" y="588"/>
                  <a:pt x="547" y="588"/>
                  <a:pt x="546" y="588"/>
                </a:cubicBezTo>
                <a:cubicBezTo>
                  <a:pt x="546" y="589"/>
                  <a:pt x="545" y="588"/>
                  <a:pt x="546" y="587"/>
                </a:cubicBezTo>
                <a:cubicBezTo>
                  <a:pt x="546" y="587"/>
                  <a:pt x="546" y="587"/>
                  <a:pt x="545" y="587"/>
                </a:cubicBezTo>
                <a:cubicBezTo>
                  <a:pt x="545" y="587"/>
                  <a:pt x="545" y="587"/>
                  <a:pt x="544" y="586"/>
                </a:cubicBezTo>
                <a:cubicBezTo>
                  <a:pt x="544" y="586"/>
                  <a:pt x="544" y="586"/>
                  <a:pt x="544" y="586"/>
                </a:cubicBezTo>
                <a:cubicBezTo>
                  <a:pt x="543" y="586"/>
                  <a:pt x="543" y="586"/>
                  <a:pt x="543" y="586"/>
                </a:cubicBezTo>
                <a:cubicBezTo>
                  <a:pt x="541" y="585"/>
                  <a:pt x="539" y="583"/>
                  <a:pt x="539" y="583"/>
                </a:cubicBezTo>
                <a:cubicBezTo>
                  <a:pt x="538" y="579"/>
                  <a:pt x="551" y="590"/>
                  <a:pt x="548" y="583"/>
                </a:cubicBezTo>
                <a:cubicBezTo>
                  <a:pt x="548" y="582"/>
                  <a:pt x="546" y="576"/>
                  <a:pt x="545" y="576"/>
                </a:cubicBezTo>
                <a:cubicBezTo>
                  <a:pt x="544" y="576"/>
                  <a:pt x="545" y="579"/>
                  <a:pt x="544" y="579"/>
                </a:cubicBezTo>
                <a:cubicBezTo>
                  <a:pt x="543" y="580"/>
                  <a:pt x="540" y="578"/>
                  <a:pt x="540" y="577"/>
                </a:cubicBezTo>
                <a:cubicBezTo>
                  <a:pt x="540" y="575"/>
                  <a:pt x="542" y="576"/>
                  <a:pt x="542" y="575"/>
                </a:cubicBezTo>
                <a:cubicBezTo>
                  <a:pt x="542" y="573"/>
                  <a:pt x="541" y="572"/>
                  <a:pt x="539" y="570"/>
                </a:cubicBezTo>
                <a:cubicBezTo>
                  <a:pt x="539" y="571"/>
                  <a:pt x="539" y="571"/>
                  <a:pt x="539" y="571"/>
                </a:cubicBezTo>
                <a:cubicBezTo>
                  <a:pt x="539" y="571"/>
                  <a:pt x="539" y="570"/>
                  <a:pt x="539" y="570"/>
                </a:cubicBezTo>
                <a:cubicBezTo>
                  <a:pt x="537" y="569"/>
                  <a:pt x="536" y="568"/>
                  <a:pt x="535" y="566"/>
                </a:cubicBezTo>
                <a:cubicBezTo>
                  <a:pt x="533" y="563"/>
                  <a:pt x="530" y="561"/>
                  <a:pt x="530" y="561"/>
                </a:cubicBezTo>
                <a:cubicBezTo>
                  <a:pt x="530" y="560"/>
                  <a:pt x="533" y="559"/>
                  <a:pt x="534" y="558"/>
                </a:cubicBezTo>
                <a:cubicBezTo>
                  <a:pt x="534" y="556"/>
                  <a:pt x="532" y="555"/>
                  <a:pt x="535" y="556"/>
                </a:cubicBezTo>
                <a:cubicBezTo>
                  <a:pt x="537" y="556"/>
                  <a:pt x="535" y="554"/>
                  <a:pt x="537" y="556"/>
                </a:cubicBezTo>
                <a:cubicBezTo>
                  <a:pt x="539" y="556"/>
                  <a:pt x="543" y="561"/>
                  <a:pt x="540" y="563"/>
                </a:cubicBezTo>
                <a:cubicBezTo>
                  <a:pt x="539" y="564"/>
                  <a:pt x="536" y="564"/>
                  <a:pt x="538" y="566"/>
                </a:cubicBezTo>
                <a:cubicBezTo>
                  <a:pt x="539" y="567"/>
                  <a:pt x="541" y="567"/>
                  <a:pt x="542" y="568"/>
                </a:cubicBezTo>
                <a:cubicBezTo>
                  <a:pt x="544" y="570"/>
                  <a:pt x="546" y="575"/>
                  <a:pt x="548" y="577"/>
                </a:cubicBezTo>
                <a:cubicBezTo>
                  <a:pt x="550" y="579"/>
                  <a:pt x="553" y="580"/>
                  <a:pt x="555" y="582"/>
                </a:cubicBezTo>
                <a:cubicBezTo>
                  <a:pt x="556" y="584"/>
                  <a:pt x="557" y="590"/>
                  <a:pt x="559" y="591"/>
                </a:cubicBezTo>
                <a:cubicBezTo>
                  <a:pt x="560" y="591"/>
                  <a:pt x="561" y="591"/>
                  <a:pt x="561" y="590"/>
                </a:cubicBezTo>
                <a:cubicBezTo>
                  <a:pt x="562" y="590"/>
                  <a:pt x="562" y="590"/>
                  <a:pt x="562" y="590"/>
                </a:cubicBezTo>
                <a:cubicBezTo>
                  <a:pt x="562" y="590"/>
                  <a:pt x="562" y="590"/>
                  <a:pt x="562" y="590"/>
                </a:cubicBezTo>
                <a:cubicBezTo>
                  <a:pt x="565" y="589"/>
                  <a:pt x="567" y="585"/>
                  <a:pt x="567" y="582"/>
                </a:cubicBezTo>
                <a:cubicBezTo>
                  <a:pt x="567" y="582"/>
                  <a:pt x="567" y="582"/>
                  <a:pt x="567" y="582"/>
                </a:cubicBezTo>
                <a:cubicBezTo>
                  <a:pt x="566" y="582"/>
                  <a:pt x="565" y="581"/>
                  <a:pt x="565" y="581"/>
                </a:cubicBezTo>
                <a:cubicBezTo>
                  <a:pt x="561" y="578"/>
                  <a:pt x="560" y="569"/>
                  <a:pt x="565" y="567"/>
                </a:cubicBezTo>
                <a:cubicBezTo>
                  <a:pt x="565" y="567"/>
                  <a:pt x="565" y="567"/>
                  <a:pt x="565" y="567"/>
                </a:cubicBezTo>
                <a:cubicBezTo>
                  <a:pt x="565" y="566"/>
                  <a:pt x="565" y="566"/>
                  <a:pt x="565" y="566"/>
                </a:cubicBezTo>
                <a:cubicBezTo>
                  <a:pt x="564" y="565"/>
                  <a:pt x="565" y="566"/>
                  <a:pt x="565" y="567"/>
                </a:cubicBezTo>
                <a:cubicBezTo>
                  <a:pt x="566" y="566"/>
                  <a:pt x="566" y="566"/>
                  <a:pt x="566" y="566"/>
                </a:cubicBezTo>
                <a:cubicBezTo>
                  <a:pt x="566" y="565"/>
                  <a:pt x="566" y="564"/>
                  <a:pt x="565" y="564"/>
                </a:cubicBezTo>
                <a:cubicBezTo>
                  <a:pt x="567" y="563"/>
                  <a:pt x="565" y="561"/>
                  <a:pt x="565" y="559"/>
                </a:cubicBezTo>
                <a:cubicBezTo>
                  <a:pt x="565" y="558"/>
                  <a:pt x="568" y="557"/>
                  <a:pt x="566" y="556"/>
                </a:cubicBezTo>
                <a:cubicBezTo>
                  <a:pt x="570" y="558"/>
                  <a:pt x="566" y="547"/>
                  <a:pt x="564" y="546"/>
                </a:cubicBezTo>
                <a:cubicBezTo>
                  <a:pt x="565" y="547"/>
                  <a:pt x="561" y="552"/>
                  <a:pt x="562" y="552"/>
                </a:cubicBezTo>
                <a:cubicBezTo>
                  <a:pt x="562" y="552"/>
                  <a:pt x="562" y="552"/>
                  <a:pt x="562" y="552"/>
                </a:cubicBezTo>
                <a:cubicBezTo>
                  <a:pt x="562" y="552"/>
                  <a:pt x="562" y="552"/>
                  <a:pt x="562" y="553"/>
                </a:cubicBezTo>
                <a:cubicBezTo>
                  <a:pt x="562" y="553"/>
                  <a:pt x="563" y="554"/>
                  <a:pt x="562" y="554"/>
                </a:cubicBezTo>
                <a:cubicBezTo>
                  <a:pt x="560" y="555"/>
                  <a:pt x="561" y="553"/>
                  <a:pt x="560" y="552"/>
                </a:cubicBezTo>
                <a:cubicBezTo>
                  <a:pt x="560" y="552"/>
                  <a:pt x="560" y="552"/>
                  <a:pt x="559" y="552"/>
                </a:cubicBezTo>
                <a:cubicBezTo>
                  <a:pt x="559" y="553"/>
                  <a:pt x="558" y="553"/>
                  <a:pt x="557" y="552"/>
                </a:cubicBezTo>
                <a:cubicBezTo>
                  <a:pt x="557" y="552"/>
                  <a:pt x="557" y="552"/>
                  <a:pt x="557" y="552"/>
                </a:cubicBezTo>
                <a:cubicBezTo>
                  <a:pt x="556" y="552"/>
                  <a:pt x="555" y="552"/>
                  <a:pt x="555" y="552"/>
                </a:cubicBezTo>
                <a:cubicBezTo>
                  <a:pt x="555" y="552"/>
                  <a:pt x="553" y="548"/>
                  <a:pt x="553" y="547"/>
                </a:cubicBezTo>
                <a:cubicBezTo>
                  <a:pt x="552" y="547"/>
                  <a:pt x="548" y="543"/>
                  <a:pt x="549" y="542"/>
                </a:cubicBezTo>
                <a:cubicBezTo>
                  <a:pt x="551" y="540"/>
                  <a:pt x="551" y="543"/>
                  <a:pt x="552" y="543"/>
                </a:cubicBezTo>
                <a:cubicBezTo>
                  <a:pt x="553" y="543"/>
                  <a:pt x="553" y="540"/>
                  <a:pt x="554" y="540"/>
                </a:cubicBezTo>
                <a:cubicBezTo>
                  <a:pt x="554" y="539"/>
                  <a:pt x="556" y="541"/>
                  <a:pt x="557" y="540"/>
                </a:cubicBezTo>
                <a:cubicBezTo>
                  <a:pt x="556" y="540"/>
                  <a:pt x="556" y="537"/>
                  <a:pt x="558" y="537"/>
                </a:cubicBezTo>
                <a:cubicBezTo>
                  <a:pt x="560" y="537"/>
                  <a:pt x="558" y="539"/>
                  <a:pt x="559" y="540"/>
                </a:cubicBezTo>
                <a:cubicBezTo>
                  <a:pt x="559" y="541"/>
                  <a:pt x="561" y="540"/>
                  <a:pt x="561" y="540"/>
                </a:cubicBezTo>
                <a:cubicBezTo>
                  <a:pt x="562" y="540"/>
                  <a:pt x="561" y="542"/>
                  <a:pt x="563" y="543"/>
                </a:cubicBezTo>
                <a:cubicBezTo>
                  <a:pt x="563" y="543"/>
                  <a:pt x="565" y="543"/>
                  <a:pt x="565" y="543"/>
                </a:cubicBezTo>
                <a:cubicBezTo>
                  <a:pt x="567" y="546"/>
                  <a:pt x="567" y="553"/>
                  <a:pt x="572" y="553"/>
                </a:cubicBezTo>
                <a:cubicBezTo>
                  <a:pt x="573" y="554"/>
                  <a:pt x="573" y="552"/>
                  <a:pt x="573" y="551"/>
                </a:cubicBezTo>
                <a:cubicBezTo>
                  <a:pt x="575" y="553"/>
                  <a:pt x="582" y="559"/>
                  <a:pt x="581" y="564"/>
                </a:cubicBezTo>
                <a:cubicBezTo>
                  <a:pt x="581" y="564"/>
                  <a:pt x="579" y="567"/>
                  <a:pt x="579" y="567"/>
                </a:cubicBezTo>
                <a:cubicBezTo>
                  <a:pt x="578" y="568"/>
                  <a:pt x="577" y="568"/>
                  <a:pt x="576" y="568"/>
                </a:cubicBezTo>
                <a:cubicBezTo>
                  <a:pt x="576" y="569"/>
                  <a:pt x="575" y="569"/>
                  <a:pt x="575" y="569"/>
                </a:cubicBezTo>
                <a:cubicBezTo>
                  <a:pt x="575" y="569"/>
                  <a:pt x="575" y="569"/>
                  <a:pt x="575" y="569"/>
                </a:cubicBezTo>
                <a:cubicBezTo>
                  <a:pt x="574" y="569"/>
                  <a:pt x="574" y="569"/>
                  <a:pt x="573" y="569"/>
                </a:cubicBezTo>
                <a:cubicBezTo>
                  <a:pt x="574" y="571"/>
                  <a:pt x="575" y="573"/>
                  <a:pt x="575" y="574"/>
                </a:cubicBezTo>
                <a:cubicBezTo>
                  <a:pt x="577" y="574"/>
                  <a:pt x="576" y="572"/>
                  <a:pt x="576" y="571"/>
                </a:cubicBezTo>
                <a:cubicBezTo>
                  <a:pt x="577" y="572"/>
                  <a:pt x="577" y="572"/>
                  <a:pt x="577" y="572"/>
                </a:cubicBezTo>
                <a:cubicBezTo>
                  <a:pt x="578" y="571"/>
                  <a:pt x="578" y="570"/>
                  <a:pt x="579" y="570"/>
                </a:cubicBezTo>
                <a:cubicBezTo>
                  <a:pt x="580" y="570"/>
                  <a:pt x="579" y="572"/>
                  <a:pt x="580" y="572"/>
                </a:cubicBezTo>
                <a:cubicBezTo>
                  <a:pt x="581" y="573"/>
                  <a:pt x="580" y="571"/>
                  <a:pt x="582" y="573"/>
                </a:cubicBezTo>
                <a:cubicBezTo>
                  <a:pt x="583" y="575"/>
                  <a:pt x="581" y="577"/>
                  <a:pt x="582" y="579"/>
                </a:cubicBezTo>
                <a:cubicBezTo>
                  <a:pt x="582" y="579"/>
                  <a:pt x="582" y="579"/>
                  <a:pt x="582" y="579"/>
                </a:cubicBezTo>
                <a:cubicBezTo>
                  <a:pt x="583" y="579"/>
                  <a:pt x="584" y="578"/>
                  <a:pt x="584" y="578"/>
                </a:cubicBezTo>
                <a:cubicBezTo>
                  <a:pt x="584" y="578"/>
                  <a:pt x="585" y="580"/>
                  <a:pt x="587" y="580"/>
                </a:cubicBezTo>
                <a:cubicBezTo>
                  <a:pt x="588" y="580"/>
                  <a:pt x="587" y="579"/>
                  <a:pt x="587" y="579"/>
                </a:cubicBezTo>
                <a:cubicBezTo>
                  <a:pt x="588" y="579"/>
                  <a:pt x="592" y="580"/>
                  <a:pt x="592" y="579"/>
                </a:cubicBezTo>
                <a:cubicBezTo>
                  <a:pt x="593" y="581"/>
                  <a:pt x="591" y="582"/>
                  <a:pt x="591" y="584"/>
                </a:cubicBezTo>
                <a:cubicBezTo>
                  <a:pt x="591" y="584"/>
                  <a:pt x="592" y="588"/>
                  <a:pt x="592" y="588"/>
                </a:cubicBezTo>
                <a:cubicBezTo>
                  <a:pt x="592" y="588"/>
                  <a:pt x="594" y="587"/>
                  <a:pt x="595" y="588"/>
                </a:cubicBezTo>
                <a:cubicBezTo>
                  <a:pt x="596" y="589"/>
                  <a:pt x="596" y="591"/>
                  <a:pt x="598" y="592"/>
                </a:cubicBezTo>
                <a:cubicBezTo>
                  <a:pt x="599" y="592"/>
                  <a:pt x="601" y="596"/>
                  <a:pt x="601" y="598"/>
                </a:cubicBezTo>
                <a:cubicBezTo>
                  <a:pt x="599" y="602"/>
                  <a:pt x="593" y="597"/>
                  <a:pt x="592" y="604"/>
                </a:cubicBezTo>
                <a:cubicBezTo>
                  <a:pt x="587" y="602"/>
                  <a:pt x="595" y="611"/>
                  <a:pt x="594" y="612"/>
                </a:cubicBezTo>
                <a:cubicBezTo>
                  <a:pt x="594" y="612"/>
                  <a:pt x="594" y="612"/>
                  <a:pt x="594" y="612"/>
                </a:cubicBezTo>
                <a:cubicBezTo>
                  <a:pt x="595" y="612"/>
                  <a:pt x="595" y="613"/>
                  <a:pt x="594" y="613"/>
                </a:cubicBezTo>
                <a:cubicBezTo>
                  <a:pt x="594" y="613"/>
                  <a:pt x="594" y="613"/>
                  <a:pt x="594" y="613"/>
                </a:cubicBezTo>
                <a:cubicBezTo>
                  <a:pt x="592" y="613"/>
                  <a:pt x="593" y="612"/>
                  <a:pt x="594" y="612"/>
                </a:cubicBezTo>
                <a:cubicBezTo>
                  <a:pt x="592" y="612"/>
                  <a:pt x="589" y="606"/>
                  <a:pt x="589" y="611"/>
                </a:cubicBezTo>
                <a:cubicBezTo>
                  <a:pt x="589" y="613"/>
                  <a:pt x="592" y="612"/>
                  <a:pt x="593" y="613"/>
                </a:cubicBezTo>
                <a:cubicBezTo>
                  <a:pt x="593" y="615"/>
                  <a:pt x="591" y="617"/>
                  <a:pt x="591" y="619"/>
                </a:cubicBezTo>
                <a:cubicBezTo>
                  <a:pt x="591" y="619"/>
                  <a:pt x="593" y="622"/>
                  <a:pt x="594" y="622"/>
                </a:cubicBezTo>
                <a:cubicBezTo>
                  <a:pt x="596" y="622"/>
                  <a:pt x="596" y="620"/>
                  <a:pt x="598" y="622"/>
                </a:cubicBezTo>
                <a:cubicBezTo>
                  <a:pt x="599" y="622"/>
                  <a:pt x="597" y="621"/>
                  <a:pt x="598" y="621"/>
                </a:cubicBezTo>
                <a:cubicBezTo>
                  <a:pt x="598" y="623"/>
                  <a:pt x="600" y="622"/>
                  <a:pt x="599" y="620"/>
                </a:cubicBezTo>
                <a:cubicBezTo>
                  <a:pt x="601" y="623"/>
                  <a:pt x="600" y="626"/>
                  <a:pt x="603" y="625"/>
                </a:cubicBezTo>
                <a:cubicBezTo>
                  <a:pt x="603" y="625"/>
                  <a:pt x="608" y="621"/>
                  <a:pt x="608" y="621"/>
                </a:cubicBezTo>
                <a:cubicBezTo>
                  <a:pt x="608" y="617"/>
                  <a:pt x="604" y="622"/>
                  <a:pt x="601" y="620"/>
                </a:cubicBezTo>
                <a:cubicBezTo>
                  <a:pt x="599" y="618"/>
                  <a:pt x="606" y="619"/>
                  <a:pt x="607" y="618"/>
                </a:cubicBezTo>
                <a:cubicBezTo>
                  <a:pt x="608" y="617"/>
                  <a:pt x="606" y="617"/>
                  <a:pt x="607" y="616"/>
                </a:cubicBezTo>
                <a:cubicBezTo>
                  <a:pt x="607" y="615"/>
                  <a:pt x="610" y="614"/>
                  <a:pt x="609" y="613"/>
                </a:cubicBezTo>
                <a:cubicBezTo>
                  <a:pt x="608" y="613"/>
                  <a:pt x="607" y="616"/>
                  <a:pt x="606" y="614"/>
                </a:cubicBezTo>
                <a:cubicBezTo>
                  <a:pt x="605" y="613"/>
                  <a:pt x="608" y="611"/>
                  <a:pt x="608" y="612"/>
                </a:cubicBezTo>
                <a:cubicBezTo>
                  <a:pt x="609" y="610"/>
                  <a:pt x="609" y="610"/>
                  <a:pt x="610" y="609"/>
                </a:cubicBezTo>
                <a:cubicBezTo>
                  <a:pt x="610" y="609"/>
                  <a:pt x="609" y="608"/>
                  <a:pt x="609" y="608"/>
                </a:cubicBezTo>
                <a:cubicBezTo>
                  <a:pt x="610" y="608"/>
                  <a:pt x="611" y="609"/>
                  <a:pt x="611" y="609"/>
                </a:cubicBezTo>
                <a:cubicBezTo>
                  <a:pt x="613" y="610"/>
                  <a:pt x="615" y="611"/>
                  <a:pt x="616" y="612"/>
                </a:cubicBezTo>
                <a:cubicBezTo>
                  <a:pt x="616" y="612"/>
                  <a:pt x="616" y="612"/>
                  <a:pt x="616" y="612"/>
                </a:cubicBezTo>
                <a:cubicBezTo>
                  <a:pt x="617" y="611"/>
                  <a:pt x="616" y="611"/>
                  <a:pt x="616" y="610"/>
                </a:cubicBezTo>
                <a:cubicBezTo>
                  <a:pt x="616" y="610"/>
                  <a:pt x="617" y="609"/>
                  <a:pt x="617" y="609"/>
                </a:cubicBezTo>
                <a:cubicBezTo>
                  <a:pt x="615" y="608"/>
                  <a:pt x="613" y="606"/>
                  <a:pt x="613" y="605"/>
                </a:cubicBezTo>
                <a:cubicBezTo>
                  <a:pt x="613" y="603"/>
                  <a:pt x="616" y="603"/>
                  <a:pt x="614" y="601"/>
                </a:cubicBezTo>
                <a:cubicBezTo>
                  <a:pt x="613" y="601"/>
                  <a:pt x="610" y="602"/>
                  <a:pt x="610" y="602"/>
                </a:cubicBezTo>
                <a:cubicBezTo>
                  <a:pt x="610" y="602"/>
                  <a:pt x="608" y="602"/>
                  <a:pt x="608" y="602"/>
                </a:cubicBezTo>
                <a:cubicBezTo>
                  <a:pt x="607" y="603"/>
                  <a:pt x="608" y="605"/>
                  <a:pt x="608" y="606"/>
                </a:cubicBezTo>
                <a:cubicBezTo>
                  <a:pt x="606" y="607"/>
                  <a:pt x="605" y="604"/>
                  <a:pt x="604" y="603"/>
                </a:cubicBezTo>
                <a:cubicBezTo>
                  <a:pt x="608" y="604"/>
                  <a:pt x="605" y="600"/>
                  <a:pt x="605" y="598"/>
                </a:cubicBezTo>
                <a:cubicBezTo>
                  <a:pt x="604" y="597"/>
                  <a:pt x="605" y="595"/>
                  <a:pt x="605" y="594"/>
                </a:cubicBezTo>
                <a:cubicBezTo>
                  <a:pt x="604" y="593"/>
                  <a:pt x="602" y="594"/>
                  <a:pt x="602" y="592"/>
                </a:cubicBezTo>
                <a:cubicBezTo>
                  <a:pt x="603" y="591"/>
                  <a:pt x="604" y="592"/>
                  <a:pt x="604" y="592"/>
                </a:cubicBezTo>
                <a:cubicBezTo>
                  <a:pt x="605" y="592"/>
                  <a:pt x="603" y="589"/>
                  <a:pt x="605" y="588"/>
                </a:cubicBezTo>
                <a:cubicBezTo>
                  <a:pt x="605" y="588"/>
                  <a:pt x="607" y="589"/>
                  <a:pt x="608" y="590"/>
                </a:cubicBezTo>
                <a:cubicBezTo>
                  <a:pt x="609" y="590"/>
                  <a:pt x="610" y="590"/>
                  <a:pt x="611" y="591"/>
                </a:cubicBezTo>
                <a:cubicBezTo>
                  <a:pt x="611" y="588"/>
                  <a:pt x="613" y="584"/>
                  <a:pt x="614" y="584"/>
                </a:cubicBezTo>
                <a:cubicBezTo>
                  <a:pt x="615" y="582"/>
                  <a:pt x="617" y="585"/>
                  <a:pt x="617" y="582"/>
                </a:cubicBezTo>
                <a:cubicBezTo>
                  <a:pt x="618" y="585"/>
                  <a:pt x="621" y="582"/>
                  <a:pt x="622" y="582"/>
                </a:cubicBezTo>
                <a:cubicBezTo>
                  <a:pt x="623" y="582"/>
                  <a:pt x="622" y="584"/>
                  <a:pt x="623" y="584"/>
                </a:cubicBezTo>
                <a:cubicBezTo>
                  <a:pt x="623" y="585"/>
                  <a:pt x="624" y="584"/>
                  <a:pt x="625" y="585"/>
                </a:cubicBezTo>
                <a:cubicBezTo>
                  <a:pt x="625" y="585"/>
                  <a:pt x="625" y="585"/>
                  <a:pt x="625" y="585"/>
                </a:cubicBezTo>
                <a:cubicBezTo>
                  <a:pt x="626" y="585"/>
                  <a:pt x="628" y="585"/>
                  <a:pt x="629" y="585"/>
                </a:cubicBezTo>
                <a:cubicBezTo>
                  <a:pt x="629" y="585"/>
                  <a:pt x="629" y="584"/>
                  <a:pt x="630" y="584"/>
                </a:cubicBezTo>
                <a:cubicBezTo>
                  <a:pt x="629" y="584"/>
                  <a:pt x="628" y="584"/>
                  <a:pt x="628" y="584"/>
                </a:cubicBezTo>
                <a:cubicBezTo>
                  <a:pt x="627" y="583"/>
                  <a:pt x="626" y="583"/>
                  <a:pt x="626" y="582"/>
                </a:cubicBezTo>
                <a:cubicBezTo>
                  <a:pt x="626" y="581"/>
                  <a:pt x="625" y="581"/>
                  <a:pt x="625" y="580"/>
                </a:cubicBezTo>
                <a:cubicBezTo>
                  <a:pt x="625" y="580"/>
                  <a:pt x="625" y="580"/>
                  <a:pt x="624" y="580"/>
                </a:cubicBezTo>
                <a:cubicBezTo>
                  <a:pt x="624" y="580"/>
                  <a:pt x="624" y="579"/>
                  <a:pt x="624" y="579"/>
                </a:cubicBezTo>
                <a:cubicBezTo>
                  <a:pt x="624" y="577"/>
                  <a:pt x="624" y="575"/>
                  <a:pt x="622" y="574"/>
                </a:cubicBezTo>
                <a:cubicBezTo>
                  <a:pt x="624" y="576"/>
                  <a:pt x="625" y="573"/>
                  <a:pt x="625" y="573"/>
                </a:cubicBezTo>
                <a:cubicBezTo>
                  <a:pt x="625" y="573"/>
                  <a:pt x="625" y="573"/>
                  <a:pt x="625" y="572"/>
                </a:cubicBezTo>
                <a:cubicBezTo>
                  <a:pt x="625" y="572"/>
                  <a:pt x="625" y="572"/>
                  <a:pt x="625" y="572"/>
                </a:cubicBezTo>
                <a:cubicBezTo>
                  <a:pt x="625" y="572"/>
                  <a:pt x="625" y="573"/>
                  <a:pt x="625" y="573"/>
                </a:cubicBezTo>
                <a:cubicBezTo>
                  <a:pt x="623" y="574"/>
                  <a:pt x="619" y="571"/>
                  <a:pt x="619" y="570"/>
                </a:cubicBezTo>
                <a:cubicBezTo>
                  <a:pt x="619" y="569"/>
                  <a:pt x="619" y="570"/>
                  <a:pt x="620" y="569"/>
                </a:cubicBezTo>
                <a:cubicBezTo>
                  <a:pt x="620" y="567"/>
                  <a:pt x="618" y="565"/>
                  <a:pt x="620" y="562"/>
                </a:cubicBezTo>
                <a:cubicBezTo>
                  <a:pt x="621" y="563"/>
                  <a:pt x="620" y="565"/>
                  <a:pt x="621" y="566"/>
                </a:cubicBezTo>
                <a:cubicBezTo>
                  <a:pt x="621" y="567"/>
                  <a:pt x="622" y="565"/>
                  <a:pt x="622" y="565"/>
                </a:cubicBezTo>
                <a:cubicBezTo>
                  <a:pt x="624" y="565"/>
                  <a:pt x="627" y="568"/>
                  <a:pt x="626" y="571"/>
                </a:cubicBezTo>
                <a:cubicBezTo>
                  <a:pt x="627" y="572"/>
                  <a:pt x="628" y="572"/>
                  <a:pt x="628" y="573"/>
                </a:cubicBezTo>
                <a:cubicBezTo>
                  <a:pt x="629" y="573"/>
                  <a:pt x="629" y="572"/>
                  <a:pt x="629" y="572"/>
                </a:cubicBezTo>
                <a:cubicBezTo>
                  <a:pt x="628" y="570"/>
                  <a:pt x="628" y="568"/>
                  <a:pt x="627" y="566"/>
                </a:cubicBezTo>
                <a:cubicBezTo>
                  <a:pt x="626" y="565"/>
                  <a:pt x="625" y="565"/>
                  <a:pt x="624" y="565"/>
                </a:cubicBezTo>
                <a:cubicBezTo>
                  <a:pt x="624" y="564"/>
                  <a:pt x="624" y="563"/>
                  <a:pt x="623" y="563"/>
                </a:cubicBezTo>
                <a:cubicBezTo>
                  <a:pt x="622" y="562"/>
                  <a:pt x="622" y="564"/>
                  <a:pt x="621" y="563"/>
                </a:cubicBezTo>
                <a:cubicBezTo>
                  <a:pt x="620" y="562"/>
                  <a:pt x="621" y="561"/>
                  <a:pt x="621" y="561"/>
                </a:cubicBezTo>
                <a:cubicBezTo>
                  <a:pt x="622" y="560"/>
                  <a:pt x="624" y="562"/>
                  <a:pt x="625" y="562"/>
                </a:cubicBezTo>
                <a:cubicBezTo>
                  <a:pt x="626" y="561"/>
                  <a:pt x="626" y="560"/>
                  <a:pt x="627" y="559"/>
                </a:cubicBezTo>
                <a:cubicBezTo>
                  <a:pt x="628" y="558"/>
                  <a:pt x="630" y="559"/>
                  <a:pt x="629" y="555"/>
                </a:cubicBezTo>
                <a:cubicBezTo>
                  <a:pt x="631" y="560"/>
                  <a:pt x="631" y="555"/>
                  <a:pt x="632" y="554"/>
                </a:cubicBezTo>
                <a:cubicBezTo>
                  <a:pt x="632" y="555"/>
                  <a:pt x="638" y="557"/>
                  <a:pt x="639" y="557"/>
                </a:cubicBezTo>
                <a:cubicBezTo>
                  <a:pt x="640" y="557"/>
                  <a:pt x="641" y="560"/>
                  <a:pt x="643" y="561"/>
                </a:cubicBezTo>
                <a:cubicBezTo>
                  <a:pt x="643" y="560"/>
                  <a:pt x="643" y="560"/>
                  <a:pt x="642" y="560"/>
                </a:cubicBezTo>
                <a:cubicBezTo>
                  <a:pt x="643" y="560"/>
                  <a:pt x="644" y="560"/>
                  <a:pt x="644" y="561"/>
                </a:cubicBezTo>
                <a:cubicBezTo>
                  <a:pt x="644" y="561"/>
                  <a:pt x="644" y="561"/>
                  <a:pt x="645" y="561"/>
                </a:cubicBezTo>
                <a:cubicBezTo>
                  <a:pt x="644" y="561"/>
                  <a:pt x="644" y="561"/>
                  <a:pt x="644" y="560"/>
                </a:cubicBezTo>
                <a:cubicBezTo>
                  <a:pt x="644" y="560"/>
                  <a:pt x="644" y="560"/>
                  <a:pt x="644" y="559"/>
                </a:cubicBezTo>
                <a:cubicBezTo>
                  <a:pt x="644" y="559"/>
                  <a:pt x="644" y="559"/>
                  <a:pt x="644" y="559"/>
                </a:cubicBezTo>
                <a:cubicBezTo>
                  <a:pt x="644" y="559"/>
                  <a:pt x="644" y="559"/>
                  <a:pt x="644" y="559"/>
                </a:cubicBezTo>
                <a:cubicBezTo>
                  <a:pt x="644" y="557"/>
                  <a:pt x="646" y="551"/>
                  <a:pt x="647" y="548"/>
                </a:cubicBezTo>
                <a:cubicBezTo>
                  <a:pt x="646" y="547"/>
                  <a:pt x="646" y="547"/>
                  <a:pt x="646" y="546"/>
                </a:cubicBezTo>
                <a:cubicBezTo>
                  <a:pt x="646" y="545"/>
                  <a:pt x="647" y="546"/>
                  <a:pt x="648" y="546"/>
                </a:cubicBezTo>
                <a:cubicBezTo>
                  <a:pt x="648" y="546"/>
                  <a:pt x="649" y="545"/>
                  <a:pt x="649" y="546"/>
                </a:cubicBezTo>
                <a:cubicBezTo>
                  <a:pt x="650" y="546"/>
                  <a:pt x="650" y="547"/>
                  <a:pt x="650" y="549"/>
                </a:cubicBezTo>
                <a:cubicBezTo>
                  <a:pt x="650" y="548"/>
                  <a:pt x="651" y="548"/>
                  <a:pt x="651" y="548"/>
                </a:cubicBezTo>
                <a:cubicBezTo>
                  <a:pt x="652" y="548"/>
                  <a:pt x="653" y="550"/>
                  <a:pt x="653" y="551"/>
                </a:cubicBezTo>
                <a:cubicBezTo>
                  <a:pt x="654" y="551"/>
                  <a:pt x="655" y="551"/>
                  <a:pt x="655" y="552"/>
                </a:cubicBezTo>
                <a:cubicBezTo>
                  <a:pt x="656" y="553"/>
                  <a:pt x="655" y="554"/>
                  <a:pt x="655" y="555"/>
                </a:cubicBezTo>
                <a:cubicBezTo>
                  <a:pt x="655" y="555"/>
                  <a:pt x="656" y="554"/>
                  <a:pt x="656" y="552"/>
                </a:cubicBezTo>
                <a:cubicBezTo>
                  <a:pt x="656" y="551"/>
                  <a:pt x="654" y="549"/>
                  <a:pt x="654" y="548"/>
                </a:cubicBezTo>
                <a:cubicBezTo>
                  <a:pt x="654" y="548"/>
                  <a:pt x="653" y="548"/>
                  <a:pt x="653" y="548"/>
                </a:cubicBezTo>
                <a:cubicBezTo>
                  <a:pt x="654" y="544"/>
                  <a:pt x="661" y="548"/>
                  <a:pt x="659" y="550"/>
                </a:cubicBezTo>
                <a:cubicBezTo>
                  <a:pt x="659" y="550"/>
                  <a:pt x="657" y="550"/>
                  <a:pt x="657" y="550"/>
                </a:cubicBezTo>
                <a:cubicBezTo>
                  <a:pt x="657" y="551"/>
                  <a:pt x="659" y="555"/>
                  <a:pt x="659" y="557"/>
                </a:cubicBezTo>
                <a:cubicBezTo>
                  <a:pt x="659" y="558"/>
                  <a:pt x="659" y="559"/>
                  <a:pt x="659" y="559"/>
                </a:cubicBezTo>
                <a:cubicBezTo>
                  <a:pt x="660" y="560"/>
                  <a:pt x="662" y="559"/>
                  <a:pt x="663" y="560"/>
                </a:cubicBezTo>
                <a:cubicBezTo>
                  <a:pt x="663" y="560"/>
                  <a:pt x="663" y="561"/>
                  <a:pt x="663" y="561"/>
                </a:cubicBezTo>
                <a:cubicBezTo>
                  <a:pt x="664" y="562"/>
                  <a:pt x="666" y="564"/>
                  <a:pt x="666" y="564"/>
                </a:cubicBezTo>
                <a:cubicBezTo>
                  <a:pt x="667" y="564"/>
                  <a:pt x="667" y="562"/>
                  <a:pt x="666" y="562"/>
                </a:cubicBezTo>
                <a:cubicBezTo>
                  <a:pt x="666" y="562"/>
                  <a:pt x="669" y="561"/>
                  <a:pt x="669" y="563"/>
                </a:cubicBezTo>
                <a:cubicBezTo>
                  <a:pt x="669" y="563"/>
                  <a:pt x="669" y="563"/>
                  <a:pt x="669" y="564"/>
                </a:cubicBezTo>
                <a:cubicBezTo>
                  <a:pt x="670" y="563"/>
                  <a:pt x="670" y="563"/>
                  <a:pt x="671" y="563"/>
                </a:cubicBezTo>
                <a:cubicBezTo>
                  <a:pt x="670" y="562"/>
                  <a:pt x="669" y="562"/>
                  <a:pt x="669" y="561"/>
                </a:cubicBezTo>
                <a:cubicBezTo>
                  <a:pt x="669" y="561"/>
                  <a:pt x="669" y="562"/>
                  <a:pt x="668" y="562"/>
                </a:cubicBezTo>
                <a:cubicBezTo>
                  <a:pt x="668" y="562"/>
                  <a:pt x="667" y="562"/>
                  <a:pt x="667" y="561"/>
                </a:cubicBezTo>
                <a:cubicBezTo>
                  <a:pt x="667" y="561"/>
                  <a:pt x="666" y="560"/>
                  <a:pt x="667" y="559"/>
                </a:cubicBezTo>
                <a:cubicBezTo>
                  <a:pt x="668" y="559"/>
                  <a:pt x="668" y="560"/>
                  <a:pt x="668" y="560"/>
                </a:cubicBezTo>
                <a:cubicBezTo>
                  <a:pt x="668" y="560"/>
                  <a:pt x="668" y="560"/>
                  <a:pt x="668" y="560"/>
                </a:cubicBezTo>
                <a:cubicBezTo>
                  <a:pt x="668" y="560"/>
                  <a:pt x="668" y="560"/>
                  <a:pt x="668" y="560"/>
                </a:cubicBezTo>
                <a:cubicBezTo>
                  <a:pt x="668" y="560"/>
                  <a:pt x="669" y="560"/>
                  <a:pt x="669" y="560"/>
                </a:cubicBezTo>
                <a:cubicBezTo>
                  <a:pt x="668" y="559"/>
                  <a:pt x="669" y="558"/>
                  <a:pt x="671" y="557"/>
                </a:cubicBezTo>
                <a:cubicBezTo>
                  <a:pt x="672" y="557"/>
                  <a:pt x="673" y="558"/>
                  <a:pt x="674" y="559"/>
                </a:cubicBezTo>
                <a:cubicBezTo>
                  <a:pt x="673" y="559"/>
                  <a:pt x="673" y="559"/>
                  <a:pt x="674" y="559"/>
                </a:cubicBezTo>
                <a:cubicBezTo>
                  <a:pt x="674" y="557"/>
                  <a:pt x="674" y="559"/>
                  <a:pt x="675" y="559"/>
                </a:cubicBezTo>
                <a:cubicBezTo>
                  <a:pt x="675" y="558"/>
                  <a:pt x="675" y="558"/>
                  <a:pt x="675" y="557"/>
                </a:cubicBezTo>
                <a:cubicBezTo>
                  <a:pt x="675" y="557"/>
                  <a:pt x="675" y="557"/>
                  <a:pt x="675" y="557"/>
                </a:cubicBezTo>
                <a:cubicBezTo>
                  <a:pt x="675" y="557"/>
                  <a:pt x="675" y="556"/>
                  <a:pt x="675" y="556"/>
                </a:cubicBezTo>
                <a:cubicBezTo>
                  <a:pt x="677" y="554"/>
                  <a:pt x="678" y="556"/>
                  <a:pt x="679" y="557"/>
                </a:cubicBezTo>
                <a:cubicBezTo>
                  <a:pt x="679" y="553"/>
                  <a:pt x="679" y="553"/>
                  <a:pt x="679" y="553"/>
                </a:cubicBezTo>
                <a:cubicBezTo>
                  <a:pt x="679" y="553"/>
                  <a:pt x="678" y="553"/>
                  <a:pt x="677" y="552"/>
                </a:cubicBezTo>
                <a:cubicBezTo>
                  <a:pt x="673" y="549"/>
                  <a:pt x="676" y="544"/>
                  <a:pt x="679" y="544"/>
                </a:cubicBezTo>
                <a:cubicBezTo>
                  <a:pt x="679" y="543"/>
                  <a:pt x="679" y="543"/>
                  <a:pt x="679" y="543"/>
                </a:cubicBezTo>
                <a:cubicBezTo>
                  <a:pt x="679" y="543"/>
                  <a:pt x="679" y="542"/>
                  <a:pt x="679" y="542"/>
                </a:cubicBezTo>
                <a:cubicBezTo>
                  <a:pt x="679" y="542"/>
                  <a:pt x="679" y="543"/>
                  <a:pt x="679" y="543"/>
                </a:cubicBezTo>
                <a:cubicBezTo>
                  <a:pt x="679" y="511"/>
                  <a:pt x="679" y="511"/>
                  <a:pt x="679" y="511"/>
                </a:cubicBezTo>
                <a:cubicBezTo>
                  <a:pt x="678" y="509"/>
                  <a:pt x="677" y="507"/>
                  <a:pt x="677" y="506"/>
                </a:cubicBezTo>
                <a:cubicBezTo>
                  <a:pt x="678" y="507"/>
                  <a:pt x="679" y="508"/>
                  <a:pt x="679" y="509"/>
                </a:cubicBezTo>
                <a:cubicBezTo>
                  <a:pt x="679" y="508"/>
                  <a:pt x="679" y="508"/>
                  <a:pt x="679" y="508"/>
                </a:cubicBezTo>
                <a:cubicBezTo>
                  <a:pt x="679" y="507"/>
                  <a:pt x="678" y="507"/>
                  <a:pt x="679" y="507"/>
                </a:cubicBezTo>
                <a:cubicBezTo>
                  <a:pt x="679" y="423"/>
                  <a:pt x="679" y="423"/>
                  <a:pt x="679" y="423"/>
                </a:cubicBezTo>
                <a:cubicBezTo>
                  <a:pt x="679" y="423"/>
                  <a:pt x="679" y="422"/>
                  <a:pt x="679" y="422"/>
                </a:cubicBezTo>
                <a:cubicBezTo>
                  <a:pt x="679" y="422"/>
                  <a:pt x="679" y="422"/>
                  <a:pt x="679" y="422"/>
                </a:cubicBezTo>
                <a:cubicBezTo>
                  <a:pt x="679" y="196"/>
                  <a:pt x="679" y="196"/>
                  <a:pt x="679" y="196"/>
                </a:cubicBezTo>
                <a:cubicBezTo>
                  <a:pt x="521" y="105"/>
                  <a:pt x="521" y="105"/>
                  <a:pt x="521" y="105"/>
                </a:cubicBezTo>
                <a:cubicBezTo>
                  <a:pt x="520" y="105"/>
                  <a:pt x="517" y="104"/>
                  <a:pt x="516" y="103"/>
                </a:cubicBezTo>
                <a:cubicBezTo>
                  <a:pt x="516" y="103"/>
                  <a:pt x="517" y="102"/>
                  <a:pt x="517" y="102"/>
                </a:cubicBezTo>
                <a:cubicBezTo>
                  <a:pt x="340" y="0"/>
                  <a:pt x="340" y="0"/>
                  <a:pt x="340" y="0"/>
                </a:cubicBezTo>
                <a:cubicBezTo>
                  <a:pt x="329" y="7"/>
                  <a:pt x="329" y="7"/>
                  <a:pt x="329" y="7"/>
                </a:cubicBezTo>
                <a:cubicBezTo>
                  <a:pt x="330" y="7"/>
                  <a:pt x="330" y="7"/>
                  <a:pt x="328" y="7"/>
                </a:cubicBezTo>
                <a:cubicBezTo>
                  <a:pt x="315" y="15"/>
                  <a:pt x="315" y="15"/>
                  <a:pt x="315" y="15"/>
                </a:cubicBezTo>
                <a:cubicBezTo>
                  <a:pt x="315" y="15"/>
                  <a:pt x="315" y="15"/>
                  <a:pt x="315" y="15"/>
                </a:cubicBezTo>
                <a:cubicBezTo>
                  <a:pt x="315" y="15"/>
                  <a:pt x="314" y="15"/>
                  <a:pt x="314" y="15"/>
                </a:cubicBezTo>
                <a:cubicBezTo>
                  <a:pt x="298" y="25"/>
                  <a:pt x="298" y="25"/>
                  <a:pt x="298" y="25"/>
                </a:cubicBezTo>
                <a:cubicBezTo>
                  <a:pt x="299" y="24"/>
                  <a:pt x="301" y="24"/>
                  <a:pt x="301" y="25"/>
                </a:cubicBezTo>
                <a:cubicBezTo>
                  <a:pt x="302" y="27"/>
                  <a:pt x="300" y="27"/>
                  <a:pt x="301" y="28"/>
                </a:cubicBezTo>
                <a:cubicBezTo>
                  <a:pt x="301" y="30"/>
                  <a:pt x="303" y="30"/>
                  <a:pt x="306" y="31"/>
                </a:cubicBezTo>
                <a:cubicBezTo>
                  <a:pt x="305" y="30"/>
                  <a:pt x="305" y="30"/>
                  <a:pt x="305" y="30"/>
                </a:cubicBezTo>
                <a:cubicBezTo>
                  <a:pt x="306" y="30"/>
                  <a:pt x="306" y="30"/>
                  <a:pt x="306" y="31"/>
                </a:cubicBezTo>
                <a:cubicBezTo>
                  <a:pt x="308" y="31"/>
                  <a:pt x="310" y="31"/>
                  <a:pt x="311" y="32"/>
                </a:cubicBezTo>
                <a:cubicBezTo>
                  <a:pt x="314" y="34"/>
                  <a:pt x="318" y="34"/>
                  <a:pt x="318" y="34"/>
                </a:cubicBezTo>
                <a:cubicBezTo>
                  <a:pt x="318" y="35"/>
                  <a:pt x="316" y="37"/>
                  <a:pt x="317" y="39"/>
                </a:cubicBezTo>
                <a:cubicBezTo>
                  <a:pt x="317" y="41"/>
                  <a:pt x="319" y="40"/>
                  <a:pt x="317" y="41"/>
                </a:cubicBezTo>
                <a:cubicBezTo>
                  <a:pt x="315" y="42"/>
                  <a:pt x="318" y="42"/>
                  <a:pt x="315" y="42"/>
                </a:cubicBezTo>
                <a:cubicBezTo>
                  <a:pt x="313" y="42"/>
                  <a:pt x="307" y="41"/>
                  <a:pt x="309" y="37"/>
                </a:cubicBezTo>
                <a:cubicBezTo>
                  <a:pt x="309" y="36"/>
                  <a:pt x="311" y="35"/>
                  <a:pt x="309" y="34"/>
                </a:cubicBezTo>
                <a:cubicBezTo>
                  <a:pt x="308" y="34"/>
                  <a:pt x="306" y="35"/>
                  <a:pt x="305" y="34"/>
                </a:cubicBezTo>
                <a:cubicBezTo>
                  <a:pt x="302" y="33"/>
                  <a:pt x="298" y="30"/>
                  <a:pt x="295" y="29"/>
                </a:cubicBezTo>
                <a:cubicBezTo>
                  <a:pt x="293" y="29"/>
                  <a:pt x="292" y="29"/>
                  <a:pt x="290" y="29"/>
                </a:cubicBezTo>
                <a:cubicBezTo>
                  <a:pt x="280" y="35"/>
                  <a:pt x="280" y="35"/>
                  <a:pt x="280" y="35"/>
                </a:cubicBezTo>
                <a:cubicBezTo>
                  <a:pt x="284" y="37"/>
                  <a:pt x="288" y="43"/>
                  <a:pt x="285" y="47"/>
                </a:cubicBezTo>
                <a:cubicBezTo>
                  <a:pt x="286" y="47"/>
                  <a:pt x="285" y="47"/>
                  <a:pt x="285" y="47"/>
                </a:cubicBezTo>
                <a:cubicBezTo>
                  <a:pt x="285" y="47"/>
                  <a:pt x="285" y="47"/>
                  <a:pt x="285" y="47"/>
                </a:cubicBezTo>
                <a:cubicBezTo>
                  <a:pt x="286" y="48"/>
                  <a:pt x="285" y="47"/>
                  <a:pt x="285" y="47"/>
                </a:cubicBezTo>
                <a:cubicBezTo>
                  <a:pt x="285" y="47"/>
                  <a:pt x="285" y="48"/>
                  <a:pt x="284" y="48"/>
                </a:cubicBezTo>
                <a:cubicBezTo>
                  <a:pt x="285" y="49"/>
                  <a:pt x="286" y="50"/>
                  <a:pt x="286" y="49"/>
                </a:cubicBezTo>
                <a:cubicBezTo>
                  <a:pt x="285" y="51"/>
                  <a:pt x="288" y="52"/>
                  <a:pt x="289" y="53"/>
                </a:cubicBezTo>
                <a:cubicBezTo>
                  <a:pt x="290" y="54"/>
                  <a:pt x="288" y="56"/>
                  <a:pt x="290" y="56"/>
                </a:cubicBezTo>
                <a:cubicBezTo>
                  <a:pt x="285" y="57"/>
                  <a:pt x="295" y="64"/>
                  <a:pt x="296" y="64"/>
                </a:cubicBezTo>
                <a:cubicBezTo>
                  <a:pt x="296" y="64"/>
                  <a:pt x="296" y="57"/>
                  <a:pt x="296" y="58"/>
                </a:cubicBezTo>
                <a:cubicBezTo>
                  <a:pt x="296" y="58"/>
                  <a:pt x="296" y="58"/>
                  <a:pt x="296" y="58"/>
                </a:cubicBezTo>
                <a:cubicBezTo>
                  <a:pt x="295" y="58"/>
                  <a:pt x="295" y="57"/>
                  <a:pt x="295" y="57"/>
                </a:cubicBezTo>
                <a:cubicBezTo>
                  <a:pt x="295" y="57"/>
                  <a:pt x="294" y="56"/>
                  <a:pt x="294" y="56"/>
                </a:cubicBezTo>
                <a:cubicBezTo>
                  <a:pt x="296" y="54"/>
                  <a:pt x="296" y="57"/>
                  <a:pt x="297" y="57"/>
                </a:cubicBezTo>
                <a:cubicBezTo>
                  <a:pt x="297" y="57"/>
                  <a:pt x="297" y="57"/>
                  <a:pt x="297" y="57"/>
                </a:cubicBezTo>
                <a:cubicBezTo>
                  <a:pt x="297" y="56"/>
                  <a:pt x="298" y="55"/>
                  <a:pt x="299" y="55"/>
                </a:cubicBezTo>
                <a:cubicBezTo>
                  <a:pt x="299" y="55"/>
                  <a:pt x="299" y="55"/>
                  <a:pt x="299" y="55"/>
                </a:cubicBezTo>
                <a:cubicBezTo>
                  <a:pt x="300" y="55"/>
                  <a:pt x="301" y="54"/>
                  <a:pt x="302" y="54"/>
                </a:cubicBezTo>
                <a:cubicBezTo>
                  <a:pt x="302" y="54"/>
                  <a:pt x="305" y="57"/>
                  <a:pt x="306" y="57"/>
                </a:cubicBezTo>
                <a:cubicBezTo>
                  <a:pt x="306" y="58"/>
                  <a:pt x="312" y="59"/>
                  <a:pt x="311" y="60"/>
                </a:cubicBezTo>
                <a:cubicBezTo>
                  <a:pt x="311" y="62"/>
                  <a:pt x="309" y="60"/>
                  <a:pt x="308" y="61"/>
                </a:cubicBezTo>
                <a:cubicBezTo>
                  <a:pt x="307" y="61"/>
                  <a:pt x="309" y="63"/>
                  <a:pt x="309" y="64"/>
                </a:cubicBezTo>
                <a:cubicBezTo>
                  <a:pt x="308" y="65"/>
                  <a:pt x="307" y="65"/>
                  <a:pt x="306" y="66"/>
                </a:cubicBezTo>
                <a:cubicBezTo>
                  <a:pt x="306" y="65"/>
                  <a:pt x="308" y="68"/>
                  <a:pt x="306" y="69"/>
                </a:cubicBezTo>
                <a:cubicBezTo>
                  <a:pt x="304" y="70"/>
                  <a:pt x="305" y="67"/>
                  <a:pt x="304" y="67"/>
                </a:cubicBezTo>
                <a:cubicBezTo>
                  <a:pt x="303" y="66"/>
                  <a:pt x="303" y="68"/>
                  <a:pt x="302" y="68"/>
                </a:cubicBezTo>
                <a:cubicBezTo>
                  <a:pt x="301" y="68"/>
                  <a:pt x="301" y="66"/>
                  <a:pt x="299" y="66"/>
                </a:cubicBezTo>
                <a:cubicBezTo>
                  <a:pt x="298" y="66"/>
                  <a:pt x="298" y="67"/>
                  <a:pt x="297" y="67"/>
                </a:cubicBezTo>
                <a:cubicBezTo>
                  <a:pt x="294" y="65"/>
                  <a:pt x="291" y="60"/>
                  <a:pt x="286" y="62"/>
                </a:cubicBezTo>
                <a:cubicBezTo>
                  <a:pt x="285" y="62"/>
                  <a:pt x="286" y="63"/>
                  <a:pt x="287" y="64"/>
                </a:cubicBezTo>
                <a:cubicBezTo>
                  <a:pt x="283" y="64"/>
                  <a:pt x="275" y="63"/>
                  <a:pt x="273" y="57"/>
                </a:cubicBezTo>
                <a:cubicBezTo>
                  <a:pt x="273" y="57"/>
                  <a:pt x="273" y="54"/>
                  <a:pt x="273" y="53"/>
                </a:cubicBezTo>
                <a:cubicBezTo>
                  <a:pt x="273" y="53"/>
                  <a:pt x="274" y="52"/>
                  <a:pt x="275" y="51"/>
                </a:cubicBezTo>
                <a:cubicBezTo>
                  <a:pt x="275" y="51"/>
                  <a:pt x="275" y="50"/>
                  <a:pt x="276" y="50"/>
                </a:cubicBezTo>
                <a:cubicBezTo>
                  <a:pt x="276" y="50"/>
                  <a:pt x="276" y="50"/>
                  <a:pt x="276" y="50"/>
                </a:cubicBezTo>
                <a:cubicBezTo>
                  <a:pt x="276" y="50"/>
                  <a:pt x="276" y="49"/>
                  <a:pt x="277" y="49"/>
                </a:cubicBezTo>
                <a:cubicBezTo>
                  <a:pt x="275" y="48"/>
                  <a:pt x="274" y="46"/>
                  <a:pt x="273" y="45"/>
                </a:cubicBezTo>
                <a:cubicBezTo>
                  <a:pt x="271" y="47"/>
                  <a:pt x="273" y="48"/>
                  <a:pt x="273" y="49"/>
                </a:cubicBezTo>
                <a:cubicBezTo>
                  <a:pt x="273" y="49"/>
                  <a:pt x="272" y="48"/>
                  <a:pt x="272" y="48"/>
                </a:cubicBezTo>
                <a:cubicBezTo>
                  <a:pt x="272" y="49"/>
                  <a:pt x="272" y="50"/>
                  <a:pt x="271" y="51"/>
                </a:cubicBezTo>
                <a:cubicBezTo>
                  <a:pt x="270" y="51"/>
                  <a:pt x="270" y="50"/>
                  <a:pt x="270" y="50"/>
                </a:cubicBezTo>
                <a:cubicBezTo>
                  <a:pt x="268" y="49"/>
                  <a:pt x="270" y="51"/>
                  <a:pt x="267" y="50"/>
                </a:cubicBezTo>
                <a:cubicBezTo>
                  <a:pt x="266" y="49"/>
                  <a:pt x="266" y="46"/>
                  <a:pt x="265" y="45"/>
                </a:cubicBezTo>
                <a:cubicBezTo>
                  <a:pt x="265" y="45"/>
                  <a:pt x="264" y="45"/>
                  <a:pt x="264" y="45"/>
                </a:cubicBezTo>
                <a:cubicBezTo>
                  <a:pt x="264" y="46"/>
                  <a:pt x="263" y="47"/>
                  <a:pt x="263" y="47"/>
                </a:cubicBezTo>
                <a:cubicBezTo>
                  <a:pt x="263" y="47"/>
                  <a:pt x="261" y="45"/>
                  <a:pt x="260" y="47"/>
                </a:cubicBezTo>
                <a:cubicBezTo>
                  <a:pt x="259" y="47"/>
                  <a:pt x="260" y="48"/>
                  <a:pt x="260" y="48"/>
                </a:cubicBezTo>
                <a:cubicBezTo>
                  <a:pt x="259" y="48"/>
                  <a:pt x="255" y="50"/>
                  <a:pt x="256" y="50"/>
                </a:cubicBezTo>
                <a:cubicBezTo>
                  <a:pt x="255" y="50"/>
                  <a:pt x="255" y="49"/>
                  <a:pt x="255" y="49"/>
                </a:cubicBezTo>
                <a:cubicBezTo>
                  <a:pt x="245" y="55"/>
                  <a:pt x="245" y="55"/>
                  <a:pt x="245" y="55"/>
                </a:cubicBezTo>
                <a:cubicBezTo>
                  <a:pt x="246" y="56"/>
                  <a:pt x="246" y="57"/>
                  <a:pt x="247" y="58"/>
                </a:cubicBezTo>
                <a:cubicBezTo>
                  <a:pt x="245" y="59"/>
                  <a:pt x="243" y="58"/>
                  <a:pt x="241" y="57"/>
                </a:cubicBezTo>
                <a:cubicBezTo>
                  <a:pt x="227" y="66"/>
                  <a:pt x="227" y="66"/>
                  <a:pt x="227" y="66"/>
                </a:cubicBezTo>
                <a:cubicBezTo>
                  <a:pt x="227" y="66"/>
                  <a:pt x="227" y="66"/>
                  <a:pt x="227" y="66"/>
                </a:cubicBezTo>
                <a:cubicBezTo>
                  <a:pt x="227" y="66"/>
                  <a:pt x="227" y="66"/>
                  <a:pt x="227" y="66"/>
                </a:cubicBezTo>
                <a:cubicBezTo>
                  <a:pt x="228" y="65"/>
                  <a:pt x="228" y="66"/>
                  <a:pt x="228" y="66"/>
                </a:cubicBezTo>
                <a:cubicBezTo>
                  <a:pt x="229" y="68"/>
                  <a:pt x="230" y="69"/>
                  <a:pt x="232" y="70"/>
                </a:cubicBezTo>
                <a:cubicBezTo>
                  <a:pt x="229" y="69"/>
                  <a:pt x="231" y="72"/>
                  <a:pt x="230" y="73"/>
                </a:cubicBezTo>
                <a:cubicBezTo>
                  <a:pt x="230" y="73"/>
                  <a:pt x="230" y="73"/>
                  <a:pt x="230" y="73"/>
                </a:cubicBezTo>
                <a:cubicBezTo>
                  <a:pt x="230" y="73"/>
                  <a:pt x="230" y="73"/>
                  <a:pt x="230" y="73"/>
                </a:cubicBezTo>
                <a:cubicBezTo>
                  <a:pt x="231" y="73"/>
                  <a:pt x="231" y="72"/>
                  <a:pt x="231" y="72"/>
                </a:cubicBezTo>
                <a:cubicBezTo>
                  <a:pt x="232" y="70"/>
                  <a:pt x="236" y="71"/>
                  <a:pt x="237" y="71"/>
                </a:cubicBezTo>
                <a:cubicBezTo>
                  <a:pt x="238" y="72"/>
                  <a:pt x="237" y="72"/>
                  <a:pt x="237" y="73"/>
                </a:cubicBezTo>
                <a:cubicBezTo>
                  <a:pt x="237" y="74"/>
                  <a:pt x="241" y="76"/>
                  <a:pt x="240" y="79"/>
                </a:cubicBezTo>
                <a:cubicBezTo>
                  <a:pt x="239" y="78"/>
                  <a:pt x="239" y="76"/>
                  <a:pt x="238" y="76"/>
                </a:cubicBezTo>
                <a:cubicBezTo>
                  <a:pt x="237" y="76"/>
                  <a:pt x="237" y="77"/>
                  <a:pt x="237" y="78"/>
                </a:cubicBezTo>
                <a:cubicBezTo>
                  <a:pt x="236" y="79"/>
                  <a:pt x="231" y="77"/>
                  <a:pt x="230" y="74"/>
                </a:cubicBezTo>
                <a:cubicBezTo>
                  <a:pt x="229" y="74"/>
                  <a:pt x="229" y="74"/>
                  <a:pt x="228" y="74"/>
                </a:cubicBezTo>
                <a:cubicBezTo>
                  <a:pt x="227" y="74"/>
                  <a:pt x="227" y="74"/>
                  <a:pt x="227" y="75"/>
                </a:cubicBezTo>
                <a:cubicBezTo>
                  <a:pt x="229" y="76"/>
                  <a:pt x="230" y="78"/>
                  <a:pt x="232" y="79"/>
                </a:cubicBezTo>
                <a:cubicBezTo>
                  <a:pt x="233" y="79"/>
                  <a:pt x="234" y="79"/>
                  <a:pt x="235" y="79"/>
                </a:cubicBezTo>
                <a:cubicBezTo>
                  <a:pt x="236" y="79"/>
                  <a:pt x="236" y="80"/>
                  <a:pt x="237" y="80"/>
                </a:cubicBezTo>
                <a:cubicBezTo>
                  <a:pt x="239" y="80"/>
                  <a:pt x="237" y="78"/>
                  <a:pt x="239" y="79"/>
                </a:cubicBezTo>
                <a:cubicBezTo>
                  <a:pt x="240" y="79"/>
                  <a:pt x="240" y="80"/>
                  <a:pt x="240" y="81"/>
                </a:cubicBezTo>
                <a:cubicBezTo>
                  <a:pt x="240" y="82"/>
                  <a:pt x="237" y="81"/>
                  <a:pt x="236" y="82"/>
                </a:cubicBezTo>
                <a:cubicBezTo>
                  <a:pt x="236" y="82"/>
                  <a:pt x="236" y="84"/>
                  <a:pt x="236" y="85"/>
                </a:cubicBezTo>
                <a:cubicBezTo>
                  <a:pt x="235" y="87"/>
                  <a:pt x="233" y="86"/>
                  <a:pt x="236" y="89"/>
                </a:cubicBezTo>
                <a:cubicBezTo>
                  <a:pt x="232" y="86"/>
                  <a:pt x="234" y="91"/>
                  <a:pt x="234" y="92"/>
                </a:cubicBezTo>
                <a:cubicBezTo>
                  <a:pt x="234" y="91"/>
                  <a:pt x="227" y="93"/>
                  <a:pt x="227" y="93"/>
                </a:cubicBezTo>
                <a:cubicBezTo>
                  <a:pt x="226" y="93"/>
                  <a:pt x="223" y="92"/>
                  <a:pt x="221" y="92"/>
                </a:cubicBezTo>
                <a:cubicBezTo>
                  <a:pt x="221" y="92"/>
                  <a:pt x="222" y="92"/>
                  <a:pt x="222" y="92"/>
                </a:cubicBezTo>
                <a:cubicBezTo>
                  <a:pt x="221" y="93"/>
                  <a:pt x="221" y="92"/>
                  <a:pt x="220" y="92"/>
                </a:cubicBezTo>
                <a:cubicBezTo>
                  <a:pt x="220" y="92"/>
                  <a:pt x="220" y="92"/>
                  <a:pt x="220" y="92"/>
                </a:cubicBezTo>
                <a:cubicBezTo>
                  <a:pt x="220" y="92"/>
                  <a:pt x="220" y="92"/>
                  <a:pt x="221" y="93"/>
                </a:cubicBezTo>
                <a:cubicBezTo>
                  <a:pt x="221" y="93"/>
                  <a:pt x="221" y="93"/>
                  <a:pt x="221" y="93"/>
                </a:cubicBezTo>
                <a:cubicBezTo>
                  <a:pt x="221" y="93"/>
                  <a:pt x="221" y="93"/>
                  <a:pt x="221" y="93"/>
                </a:cubicBezTo>
                <a:cubicBezTo>
                  <a:pt x="221" y="93"/>
                  <a:pt x="221" y="93"/>
                  <a:pt x="221" y="93"/>
                </a:cubicBezTo>
                <a:cubicBezTo>
                  <a:pt x="223" y="96"/>
                  <a:pt x="224" y="101"/>
                  <a:pt x="224" y="105"/>
                </a:cubicBezTo>
                <a:cubicBezTo>
                  <a:pt x="225" y="105"/>
                  <a:pt x="226" y="105"/>
                  <a:pt x="226" y="106"/>
                </a:cubicBezTo>
                <a:cubicBezTo>
                  <a:pt x="226" y="107"/>
                  <a:pt x="225" y="107"/>
                  <a:pt x="224" y="107"/>
                </a:cubicBezTo>
                <a:cubicBezTo>
                  <a:pt x="224" y="107"/>
                  <a:pt x="224" y="108"/>
                  <a:pt x="224" y="108"/>
                </a:cubicBezTo>
                <a:cubicBezTo>
                  <a:pt x="223" y="108"/>
                  <a:pt x="222" y="107"/>
                  <a:pt x="221" y="106"/>
                </a:cubicBezTo>
                <a:cubicBezTo>
                  <a:pt x="221" y="106"/>
                  <a:pt x="221" y="107"/>
                  <a:pt x="221" y="107"/>
                </a:cubicBezTo>
                <a:cubicBezTo>
                  <a:pt x="219" y="107"/>
                  <a:pt x="218" y="106"/>
                  <a:pt x="218" y="105"/>
                </a:cubicBezTo>
                <a:cubicBezTo>
                  <a:pt x="217" y="106"/>
                  <a:pt x="216" y="106"/>
                  <a:pt x="215" y="105"/>
                </a:cubicBezTo>
                <a:cubicBezTo>
                  <a:pt x="214" y="105"/>
                  <a:pt x="214" y="104"/>
                  <a:pt x="214" y="103"/>
                </a:cubicBezTo>
                <a:cubicBezTo>
                  <a:pt x="214" y="103"/>
                  <a:pt x="213" y="104"/>
                  <a:pt x="214" y="105"/>
                </a:cubicBezTo>
                <a:cubicBezTo>
                  <a:pt x="215" y="106"/>
                  <a:pt x="218" y="108"/>
                  <a:pt x="218" y="108"/>
                </a:cubicBezTo>
                <a:cubicBezTo>
                  <a:pt x="218" y="108"/>
                  <a:pt x="219" y="108"/>
                  <a:pt x="219" y="108"/>
                </a:cubicBezTo>
                <a:cubicBezTo>
                  <a:pt x="220" y="111"/>
                  <a:pt x="212" y="112"/>
                  <a:pt x="213" y="109"/>
                </a:cubicBezTo>
                <a:cubicBezTo>
                  <a:pt x="213" y="109"/>
                  <a:pt x="214" y="108"/>
                  <a:pt x="214" y="108"/>
                </a:cubicBezTo>
                <a:cubicBezTo>
                  <a:pt x="214" y="107"/>
                  <a:pt x="210" y="104"/>
                  <a:pt x="209" y="103"/>
                </a:cubicBezTo>
                <a:cubicBezTo>
                  <a:pt x="209" y="102"/>
                  <a:pt x="208" y="102"/>
                  <a:pt x="208" y="101"/>
                </a:cubicBezTo>
                <a:cubicBezTo>
                  <a:pt x="207" y="101"/>
                  <a:pt x="206" y="103"/>
                  <a:pt x="205" y="103"/>
                </a:cubicBezTo>
                <a:cubicBezTo>
                  <a:pt x="204" y="103"/>
                  <a:pt x="204" y="102"/>
                  <a:pt x="203" y="101"/>
                </a:cubicBezTo>
                <a:cubicBezTo>
                  <a:pt x="203" y="101"/>
                  <a:pt x="200" y="100"/>
                  <a:pt x="199" y="101"/>
                </a:cubicBezTo>
                <a:cubicBezTo>
                  <a:pt x="199" y="101"/>
                  <a:pt x="200" y="103"/>
                  <a:pt x="200" y="102"/>
                </a:cubicBezTo>
                <a:cubicBezTo>
                  <a:pt x="200" y="102"/>
                  <a:pt x="199" y="104"/>
                  <a:pt x="197" y="103"/>
                </a:cubicBezTo>
                <a:cubicBezTo>
                  <a:pt x="197" y="103"/>
                  <a:pt x="197" y="103"/>
                  <a:pt x="197" y="103"/>
                </a:cubicBezTo>
                <a:cubicBezTo>
                  <a:pt x="197" y="103"/>
                  <a:pt x="197" y="103"/>
                  <a:pt x="196" y="104"/>
                </a:cubicBezTo>
                <a:cubicBezTo>
                  <a:pt x="197" y="104"/>
                  <a:pt x="198" y="104"/>
                  <a:pt x="199" y="105"/>
                </a:cubicBezTo>
                <a:cubicBezTo>
                  <a:pt x="198" y="104"/>
                  <a:pt x="198" y="104"/>
                  <a:pt x="199" y="104"/>
                </a:cubicBezTo>
                <a:cubicBezTo>
                  <a:pt x="199" y="103"/>
                  <a:pt x="200" y="103"/>
                  <a:pt x="200" y="104"/>
                </a:cubicBezTo>
                <a:cubicBezTo>
                  <a:pt x="201" y="104"/>
                  <a:pt x="202" y="104"/>
                  <a:pt x="201" y="105"/>
                </a:cubicBezTo>
                <a:cubicBezTo>
                  <a:pt x="201" y="106"/>
                  <a:pt x="200" y="105"/>
                  <a:pt x="200" y="105"/>
                </a:cubicBezTo>
                <a:cubicBezTo>
                  <a:pt x="200" y="105"/>
                  <a:pt x="200" y="105"/>
                  <a:pt x="200" y="105"/>
                </a:cubicBezTo>
                <a:cubicBezTo>
                  <a:pt x="200" y="105"/>
                  <a:pt x="200" y="105"/>
                  <a:pt x="200" y="105"/>
                </a:cubicBezTo>
                <a:cubicBezTo>
                  <a:pt x="200" y="105"/>
                  <a:pt x="199" y="105"/>
                  <a:pt x="199" y="105"/>
                </a:cubicBezTo>
                <a:cubicBezTo>
                  <a:pt x="200" y="106"/>
                  <a:pt x="201" y="107"/>
                  <a:pt x="199" y="109"/>
                </a:cubicBezTo>
                <a:cubicBezTo>
                  <a:pt x="198" y="110"/>
                  <a:pt x="197" y="109"/>
                  <a:pt x="196" y="108"/>
                </a:cubicBezTo>
                <a:cubicBezTo>
                  <a:pt x="196" y="109"/>
                  <a:pt x="196" y="109"/>
                  <a:pt x="196" y="109"/>
                </a:cubicBezTo>
                <a:cubicBezTo>
                  <a:pt x="196" y="111"/>
                  <a:pt x="195" y="109"/>
                  <a:pt x="195" y="110"/>
                </a:cubicBezTo>
                <a:cubicBezTo>
                  <a:pt x="194" y="110"/>
                  <a:pt x="195" y="110"/>
                  <a:pt x="195" y="111"/>
                </a:cubicBezTo>
                <a:cubicBezTo>
                  <a:pt x="196" y="111"/>
                  <a:pt x="196" y="111"/>
                  <a:pt x="195" y="111"/>
                </a:cubicBezTo>
                <a:cubicBezTo>
                  <a:pt x="196" y="111"/>
                  <a:pt x="196" y="112"/>
                  <a:pt x="196" y="112"/>
                </a:cubicBezTo>
                <a:cubicBezTo>
                  <a:pt x="195" y="115"/>
                  <a:pt x="191" y="113"/>
                  <a:pt x="189" y="114"/>
                </a:cubicBezTo>
                <a:cubicBezTo>
                  <a:pt x="190" y="115"/>
                  <a:pt x="190" y="117"/>
                  <a:pt x="190" y="117"/>
                </a:cubicBezTo>
                <a:cubicBezTo>
                  <a:pt x="191" y="118"/>
                  <a:pt x="192" y="118"/>
                  <a:pt x="193" y="118"/>
                </a:cubicBezTo>
                <a:cubicBezTo>
                  <a:pt x="194" y="117"/>
                  <a:pt x="195" y="116"/>
                  <a:pt x="197" y="116"/>
                </a:cubicBezTo>
                <a:cubicBezTo>
                  <a:pt x="201" y="117"/>
                  <a:pt x="201" y="123"/>
                  <a:pt x="198" y="125"/>
                </a:cubicBezTo>
                <a:cubicBezTo>
                  <a:pt x="198" y="125"/>
                  <a:pt x="198" y="126"/>
                  <a:pt x="200" y="126"/>
                </a:cubicBezTo>
                <a:cubicBezTo>
                  <a:pt x="199" y="126"/>
                  <a:pt x="199" y="126"/>
                  <a:pt x="198" y="126"/>
                </a:cubicBezTo>
                <a:cubicBezTo>
                  <a:pt x="200" y="127"/>
                  <a:pt x="201" y="130"/>
                  <a:pt x="200" y="132"/>
                </a:cubicBezTo>
                <a:cubicBezTo>
                  <a:pt x="201" y="133"/>
                  <a:pt x="202" y="134"/>
                  <a:pt x="201" y="135"/>
                </a:cubicBezTo>
                <a:cubicBezTo>
                  <a:pt x="201" y="135"/>
                  <a:pt x="200" y="134"/>
                  <a:pt x="200" y="133"/>
                </a:cubicBezTo>
                <a:cubicBezTo>
                  <a:pt x="200" y="133"/>
                  <a:pt x="200" y="133"/>
                  <a:pt x="199" y="133"/>
                </a:cubicBezTo>
                <a:cubicBezTo>
                  <a:pt x="199" y="134"/>
                  <a:pt x="198" y="134"/>
                  <a:pt x="197" y="134"/>
                </a:cubicBezTo>
                <a:cubicBezTo>
                  <a:pt x="196" y="136"/>
                  <a:pt x="196" y="138"/>
                  <a:pt x="193" y="136"/>
                </a:cubicBezTo>
                <a:cubicBezTo>
                  <a:pt x="191" y="136"/>
                  <a:pt x="190" y="137"/>
                  <a:pt x="189" y="137"/>
                </a:cubicBezTo>
                <a:cubicBezTo>
                  <a:pt x="189" y="137"/>
                  <a:pt x="188" y="136"/>
                  <a:pt x="187" y="136"/>
                </a:cubicBezTo>
                <a:cubicBezTo>
                  <a:pt x="189" y="138"/>
                  <a:pt x="191" y="139"/>
                  <a:pt x="193" y="141"/>
                </a:cubicBezTo>
                <a:cubicBezTo>
                  <a:pt x="195" y="138"/>
                  <a:pt x="197" y="136"/>
                  <a:pt x="199" y="140"/>
                </a:cubicBezTo>
                <a:cubicBezTo>
                  <a:pt x="200" y="140"/>
                  <a:pt x="200" y="141"/>
                  <a:pt x="200" y="142"/>
                </a:cubicBezTo>
                <a:cubicBezTo>
                  <a:pt x="200" y="140"/>
                  <a:pt x="205" y="140"/>
                  <a:pt x="203" y="143"/>
                </a:cubicBezTo>
                <a:cubicBezTo>
                  <a:pt x="203" y="144"/>
                  <a:pt x="202" y="143"/>
                  <a:pt x="201" y="143"/>
                </a:cubicBezTo>
                <a:cubicBezTo>
                  <a:pt x="201" y="143"/>
                  <a:pt x="201" y="142"/>
                  <a:pt x="200" y="142"/>
                </a:cubicBezTo>
                <a:cubicBezTo>
                  <a:pt x="201" y="144"/>
                  <a:pt x="202" y="147"/>
                  <a:pt x="203" y="147"/>
                </a:cubicBezTo>
                <a:cubicBezTo>
                  <a:pt x="205" y="149"/>
                  <a:pt x="205" y="148"/>
                  <a:pt x="204" y="150"/>
                </a:cubicBezTo>
                <a:cubicBezTo>
                  <a:pt x="204" y="151"/>
                  <a:pt x="203" y="152"/>
                  <a:pt x="204" y="153"/>
                </a:cubicBezTo>
                <a:cubicBezTo>
                  <a:pt x="204" y="153"/>
                  <a:pt x="209" y="155"/>
                  <a:pt x="206" y="156"/>
                </a:cubicBezTo>
                <a:cubicBezTo>
                  <a:pt x="205" y="156"/>
                  <a:pt x="205" y="155"/>
                  <a:pt x="204" y="155"/>
                </a:cubicBezTo>
                <a:cubicBezTo>
                  <a:pt x="203" y="156"/>
                  <a:pt x="204" y="159"/>
                  <a:pt x="204" y="160"/>
                </a:cubicBezTo>
                <a:cubicBezTo>
                  <a:pt x="203" y="160"/>
                  <a:pt x="200" y="156"/>
                  <a:pt x="199" y="159"/>
                </a:cubicBezTo>
                <a:cubicBezTo>
                  <a:pt x="198" y="160"/>
                  <a:pt x="198" y="160"/>
                  <a:pt x="198" y="160"/>
                </a:cubicBezTo>
                <a:cubicBezTo>
                  <a:pt x="198" y="160"/>
                  <a:pt x="198" y="160"/>
                  <a:pt x="198" y="160"/>
                </a:cubicBezTo>
                <a:cubicBezTo>
                  <a:pt x="196" y="159"/>
                  <a:pt x="196" y="159"/>
                  <a:pt x="195" y="160"/>
                </a:cubicBezTo>
                <a:cubicBezTo>
                  <a:pt x="196" y="161"/>
                  <a:pt x="196" y="162"/>
                  <a:pt x="195" y="163"/>
                </a:cubicBezTo>
                <a:cubicBezTo>
                  <a:pt x="194" y="163"/>
                  <a:pt x="194" y="162"/>
                  <a:pt x="193" y="162"/>
                </a:cubicBezTo>
                <a:cubicBezTo>
                  <a:pt x="193" y="161"/>
                  <a:pt x="193" y="161"/>
                  <a:pt x="193" y="161"/>
                </a:cubicBezTo>
                <a:cubicBezTo>
                  <a:pt x="192" y="162"/>
                  <a:pt x="192" y="163"/>
                  <a:pt x="192" y="164"/>
                </a:cubicBezTo>
                <a:cubicBezTo>
                  <a:pt x="191" y="165"/>
                  <a:pt x="189" y="163"/>
                  <a:pt x="188" y="163"/>
                </a:cubicBezTo>
                <a:cubicBezTo>
                  <a:pt x="185" y="165"/>
                  <a:pt x="189" y="167"/>
                  <a:pt x="189" y="170"/>
                </a:cubicBezTo>
                <a:cubicBezTo>
                  <a:pt x="189" y="170"/>
                  <a:pt x="187" y="172"/>
                  <a:pt x="189" y="173"/>
                </a:cubicBezTo>
                <a:cubicBezTo>
                  <a:pt x="190" y="174"/>
                  <a:pt x="192" y="172"/>
                  <a:pt x="194" y="176"/>
                </a:cubicBezTo>
                <a:cubicBezTo>
                  <a:pt x="194" y="177"/>
                  <a:pt x="197" y="182"/>
                  <a:pt x="195" y="183"/>
                </a:cubicBezTo>
                <a:cubicBezTo>
                  <a:pt x="194" y="183"/>
                  <a:pt x="194" y="181"/>
                  <a:pt x="194" y="181"/>
                </a:cubicBezTo>
                <a:cubicBezTo>
                  <a:pt x="193" y="180"/>
                  <a:pt x="190" y="182"/>
                  <a:pt x="190" y="182"/>
                </a:cubicBezTo>
                <a:cubicBezTo>
                  <a:pt x="189" y="181"/>
                  <a:pt x="189" y="179"/>
                  <a:pt x="188" y="179"/>
                </a:cubicBezTo>
                <a:cubicBezTo>
                  <a:pt x="188" y="179"/>
                  <a:pt x="188" y="179"/>
                  <a:pt x="187" y="180"/>
                </a:cubicBezTo>
                <a:cubicBezTo>
                  <a:pt x="187" y="180"/>
                  <a:pt x="187" y="179"/>
                  <a:pt x="186" y="179"/>
                </a:cubicBezTo>
                <a:cubicBezTo>
                  <a:pt x="185" y="179"/>
                  <a:pt x="184" y="180"/>
                  <a:pt x="183" y="178"/>
                </a:cubicBezTo>
                <a:cubicBezTo>
                  <a:pt x="182" y="179"/>
                  <a:pt x="182" y="179"/>
                  <a:pt x="182" y="179"/>
                </a:cubicBezTo>
                <a:cubicBezTo>
                  <a:pt x="182" y="179"/>
                  <a:pt x="182" y="179"/>
                  <a:pt x="182" y="179"/>
                </a:cubicBezTo>
                <a:cubicBezTo>
                  <a:pt x="182" y="180"/>
                  <a:pt x="181" y="180"/>
                  <a:pt x="180" y="178"/>
                </a:cubicBezTo>
                <a:cubicBezTo>
                  <a:pt x="179" y="178"/>
                  <a:pt x="179" y="178"/>
                  <a:pt x="179" y="178"/>
                </a:cubicBezTo>
                <a:cubicBezTo>
                  <a:pt x="179" y="178"/>
                  <a:pt x="179" y="179"/>
                  <a:pt x="179" y="179"/>
                </a:cubicBezTo>
                <a:cubicBezTo>
                  <a:pt x="179" y="180"/>
                  <a:pt x="179" y="181"/>
                  <a:pt x="179" y="181"/>
                </a:cubicBezTo>
                <a:cubicBezTo>
                  <a:pt x="179" y="182"/>
                  <a:pt x="179" y="182"/>
                  <a:pt x="178" y="182"/>
                </a:cubicBezTo>
                <a:cubicBezTo>
                  <a:pt x="178" y="182"/>
                  <a:pt x="177" y="182"/>
                  <a:pt x="177" y="181"/>
                </a:cubicBezTo>
                <a:cubicBezTo>
                  <a:pt x="176" y="181"/>
                  <a:pt x="175" y="181"/>
                  <a:pt x="175" y="182"/>
                </a:cubicBezTo>
                <a:cubicBezTo>
                  <a:pt x="174" y="181"/>
                  <a:pt x="175" y="178"/>
                  <a:pt x="173" y="176"/>
                </a:cubicBezTo>
                <a:cubicBezTo>
                  <a:pt x="174" y="177"/>
                  <a:pt x="176" y="176"/>
                  <a:pt x="174" y="174"/>
                </a:cubicBezTo>
                <a:cubicBezTo>
                  <a:pt x="173" y="173"/>
                  <a:pt x="173" y="175"/>
                  <a:pt x="173" y="175"/>
                </a:cubicBezTo>
                <a:cubicBezTo>
                  <a:pt x="173" y="175"/>
                  <a:pt x="172" y="174"/>
                  <a:pt x="171" y="174"/>
                </a:cubicBezTo>
                <a:cubicBezTo>
                  <a:pt x="171" y="175"/>
                  <a:pt x="171" y="175"/>
                  <a:pt x="171" y="175"/>
                </a:cubicBezTo>
                <a:cubicBezTo>
                  <a:pt x="172" y="177"/>
                  <a:pt x="173" y="179"/>
                  <a:pt x="172" y="181"/>
                </a:cubicBezTo>
                <a:cubicBezTo>
                  <a:pt x="172" y="181"/>
                  <a:pt x="172" y="181"/>
                  <a:pt x="173" y="181"/>
                </a:cubicBezTo>
                <a:cubicBezTo>
                  <a:pt x="173" y="181"/>
                  <a:pt x="173" y="180"/>
                  <a:pt x="173" y="180"/>
                </a:cubicBezTo>
                <a:cubicBezTo>
                  <a:pt x="174" y="181"/>
                  <a:pt x="173" y="181"/>
                  <a:pt x="172" y="181"/>
                </a:cubicBezTo>
                <a:cubicBezTo>
                  <a:pt x="172" y="182"/>
                  <a:pt x="171" y="182"/>
                  <a:pt x="170" y="182"/>
                </a:cubicBezTo>
                <a:cubicBezTo>
                  <a:pt x="168" y="182"/>
                  <a:pt x="167" y="180"/>
                  <a:pt x="166" y="177"/>
                </a:cubicBezTo>
                <a:cubicBezTo>
                  <a:pt x="166" y="177"/>
                  <a:pt x="165" y="178"/>
                  <a:pt x="164" y="178"/>
                </a:cubicBezTo>
                <a:cubicBezTo>
                  <a:pt x="162" y="177"/>
                  <a:pt x="161" y="174"/>
                  <a:pt x="160" y="175"/>
                </a:cubicBezTo>
                <a:cubicBezTo>
                  <a:pt x="160" y="173"/>
                  <a:pt x="159" y="171"/>
                  <a:pt x="160" y="170"/>
                </a:cubicBezTo>
                <a:cubicBezTo>
                  <a:pt x="161" y="167"/>
                  <a:pt x="162" y="168"/>
                  <a:pt x="160" y="164"/>
                </a:cubicBezTo>
                <a:cubicBezTo>
                  <a:pt x="160" y="164"/>
                  <a:pt x="160" y="163"/>
                  <a:pt x="160" y="162"/>
                </a:cubicBezTo>
                <a:cubicBezTo>
                  <a:pt x="159" y="159"/>
                  <a:pt x="159" y="160"/>
                  <a:pt x="156" y="161"/>
                </a:cubicBezTo>
                <a:cubicBezTo>
                  <a:pt x="158" y="159"/>
                  <a:pt x="156" y="160"/>
                  <a:pt x="155" y="162"/>
                </a:cubicBezTo>
                <a:cubicBezTo>
                  <a:pt x="155" y="162"/>
                  <a:pt x="156" y="162"/>
                  <a:pt x="156" y="162"/>
                </a:cubicBezTo>
                <a:cubicBezTo>
                  <a:pt x="156" y="162"/>
                  <a:pt x="155" y="162"/>
                  <a:pt x="155" y="162"/>
                </a:cubicBezTo>
                <a:cubicBezTo>
                  <a:pt x="155" y="163"/>
                  <a:pt x="155" y="163"/>
                  <a:pt x="155" y="163"/>
                </a:cubicBezTo>
                <a:cubicBezTo>
                  <a:pt x="155" y="163"/>
                  <a:pt x="158" y="164"/>
                  <a:pt x="156" y="165"/>
                </a:cubicBezTo>
                <a:cubicBezTo>
                  <a:pt x="156" y="166"/>
                  <a:pt x="152" y="162"/>
                  <a:pt x="152" y="166"/>
                </a:cubicBezTo>
                <a:cubicBezTo>
                  <a:pt x="150" y="160"/>
                  <a:pt x="148" y="168"/>
                  <a:pt x="147" y="171"/>
                </a:cubicBezTo>
                <a:cubicBezTo>
                  <a:pt x="146" y="172"/>
                  <a:pt x="144" y="172"/>
                  <a:pt x="143" y="173"/>
                </a:cubicBezTo>
                <a:cubicBezTo>
                  <a:pt x="142" y="174"/>
                  <a:pt x="142" y="174"/>
                  <a:pt x="141" y="174"/>
                </a:cubicBezTo>
                <a:cubicBezTo>
                  <a:pt x="141" y="174"/>
                  <a:pt x="141" y="174"/>
                  <a:pt x="141" y="174"/>
                </a:cubicBezTo>
                <a:cubicBezTo>
                  <a:pt x="140" y="175"/>
                  <a:pt x="140" y="175"/>
                  <a:pt x="139" y="176"/>
                </a:cubicBezTo>
                <a:cubicBezTo>
                  <a:pt x="140" y="176"/>
                  <a:pt x="140" y="177"/>
                  <a:pt x="139" y="177"/>
                </a:cubicBezTo>
                <a:cubicBezTo>
                  <a:pt x="140" y="177"/>
                  <a:pt x="140" y="177"/>
                  <a:pt x="140" y="178"/>
                </a:cubicBezTo>
                <a:cubicBezTo>
                  <a:pt x="141" y="178"/>
                  <a:pt x="142" y="179"/>
                  <a:pt x="142" y="181"/>
                </a:cubicBezTo>
                <a:cubicBezTo>
                  <a:pt x="143" y="182"/>
                  <a:pt x="142" y="183"/>
                  <a:pt x="141" y="183"/>
                </a:cubicBezTo>
                <a:cubicBezTo>
                  <a:pt x="141" y="184"/>
                  <a:pt x="142" y="185"/>
                  <a:pt x="142" y="186"/>
                </a:cubicBezTo>
                <a:cubicBezTo>
                  <a:pt x="141" y="187"/>
                  <a:pt x="141" y="185"/>
                  <a:pt x="140" y="184"/>
                </a:cubicBezTo>
                <a:cubicBezTo>
                  <a:pt x="139" y="184"/>
                  <a:pt x="138" y="184"/>
                  <a:pt x="138" y="183"/>
                </a:cubicBezTo>
                <a:cubicBezTo>
                  <a:pt x="138" y="184"/>
                  <a:pt x="138" y="187"/>
                  <a:pt x="138" y="187"/>
                </a:cubicBezTo>
                <a:cubicBezTo>
                  <a:pt x="138" y="187"/>
                  <a:pt x="138" y="187"/>
                  <a:pt x="138" y="188"/>
                </a:cubicBezTo>
                <a:cubicBezTo>
                  <a:pt x="139" y="186"/>
                  <a:pt x="139" y="185"/>
                  <a:pt x="139" y="185"/>
                </a:cubicBezTo>
                <a:cubicBezTo>
                  <a:pt x="139" y="186"/>
                  <a:pt x="139" y="187"/>
                  <a:pt x="139" y="189"/>
                </a:cubicBezTo>
                <a:cubicBezTo>
                  <a:pt x="140" y="189"/>
                  <a:pt x="140" y="189"/>
                  <a:pt x="140" y="189"/>
                </a:cubicBezTo>
                <a:cubicBezTo>
                  <a:pt x="140" y="188"/>
                  <a:pt x="142" y="189"/>
                  <a:pt x="142" y="191"/>
                </a:cubicBezTo>
                <a:cubicBezTo>
                  <a:pt x="143" y="191"/>
                  <a:pt x="143" y="192"/>
                  <a:pt x="142" y="193"/>
                </a:cubicBezTo>
                <a:cubicBezTo>
                  <a:pt x="142" y="193"/>
                  <a:pt x="141" y="192"/>
                  <a:pt x="141" y="192"/>
                </a:cubicBezTo>
                <a:cubicBezTo>
                  <a:pt x="140" y="192"/>
                  <a:pt x="139" y="193"/>
                  <a:pt x="140" y="192"/>
                </a:cubicBezTo>
                <a:cubicBezTo>
                  <a:pt x="140" y="192"/>
                  <a:pt x="140" y="191"/>
                  <a:pt x="140" y="191"/>
                </a:cubicBezTo>
                <a:cubicBezTo>
                  <a:pt x="140" y="191"/>
                  <a:pt x="140" y="191"/>
                  <a:pt x="140" y="191"/>
                </a:cubicBezTo>
                <a:cubicBezTo>
                  <a:pt x="140" y="191"/>
                  <a:pt x="140" y="190"/>
                  <a:pt x="139" y="190"/>
                </a:cubicBezTo>
                <a:cubicBezTo>
                  <a:pt x="139" y="191"/>
                  <a:pt x="139" y="192"/>
                  <a:pt x="138" y="192"/>
                </a:cubicBezTo>
                <a:cubicBezTo>
                  <a:pt x="138" y="192"/>
                  <a:pt x="138" y="191"/>
                  <a:pt x="138" y="190"/>
                </a:cubicBezTo>
                <a:cubicBezTo>
                  <a:pt x="138" y="190"/>
                  <a:pt x="137" y="190"/>
                  <a:pt x="137" y="191"/>
                </a:cubicBezTo>
                <a:cubicBezTo>
                  <a:pt x="137" y="192"/>
                  <a:pt x="138" y="192"/>
                  <a:pt x="138" y="193"/>
                </a:cubicBezTo>
                <a:cubicBezTo>
                  <a:pt x="138" y="194"/>
                  <a:pt x="134" y="195"/>
                  <a:pt x="137" y="197"/>
                </a:cubicBezTo>
                <a:cubicBezTo>
                  <a:pt x="137" y="197"/>
                  <a:pt x="138" y="196"/>
                  <a:pt x="138" y="196"/>
                </a:cubicBezTo>
                <a:cubicBezTo>
                  <a:pt x="138" y="196"/>
                  <a:pt x="138" y="196"/>
                  <a:pt x="138" y="196"/>
                </a:cubicBezTo>
                <a:cubicBezTo>
                  <a:pt x="138" y="196"/>
                  <a:pt x="138" y="195"/>
                  <a:pt x="138" y="195"/>
                </a:cubicBezTo>
                <a:cubicBezTo>
                  <a:pt x="139" y="194"/>
                  <a:pt x="140" y="195"/>
                  <a:pt x="139" y="196"/>
                </a:cubicBezTo>
                <a:cubicBezTo>
                  <a:pt x="139" y="196"/>
                  <a:pt x="139" y="196"/>
                  <a:pt x="139" y="196"/>
                </a:cubicBezTo>
                <a:cubicBezTo>
                  <a:pt x="140" y="197"/>
                  <a:pt x="138" y="201"/>
                  <a:pt x="139" y="202"/>
                </a:cubicBezTo>
                <a:cubicBezTo>
                  <a:pt x="138" y="200"/>
                  <a:pt x="137" y="202"/>
                  <a:pt x="136" y="203"/>
                </a:cubicBezTo>
                <a:cubicBezTo>
                  <a:pt x="137" y="205"/>
                  <a:pt x="138" y="207"/>
                  <a:pt x="139" y="208"/>
                </a:cubicBezTo>
                <a:cubicBezTo>
                  <a:pt x="138" y="207"/>
                  <a:pt x="136" y="205"/>
                  <a:pt x="136" y="203"/>
                </a:cubicBezTo>
                <a:cubicBezTo>
                  <a:pt x="135" y="204"/>
                  <a:pt x="134" y="205"/>
                  <a:pt x="134" y="204"/>
                </a:cubicBezTo>
                <a:cubicBezTo>
                  <a:pt x="132" y="203"/>
                  <a:pt x="133" y="199"/>
                  <a:pt x="131" y="198"/>
                </a:cubicBezTo>
                <a:cubicBezTo>
                  <a:pt x="130" y="198"/>
                  <a:pt x="131" y="199"/>
                  <a:pt x="131" y="199"/>
                </a:cubicBezTo>
                <a:cubicBezTo>
                  <a:pt x="129" y="199"/>
                  <a:pt x="128" y="197"/>
                  <a:pt x="127" y="200"/>
                </a:cubicBezTo>
                <a:cubicBezTo>
                  <a:pt x="127" y="200"/>
                  <a:pt x="126" y="205"/>
                  <a:pt x="127" y="207"/>
                </a:cubicBezTo>
                <a:cubicBezTo>
                  <a:pt x="127" y="210"/>
                  <a:pt x="127" y="211"/>
                  <a:pt x="126" y="214"/>
                </a:cubicBezTo>
                <a:cubicBezTo>
                  <a:pt x="126" y="211"/>
                  <a:pt x="123" y="210"/>
                  <a:pt x="123" y="207"/>
                </a:cubicBezTo>
                <a:cubicBezTo>
                  <a:pt x="122" y="203"/>
                  <a:pt x="125" y="199"/>
                  <a:pt x="124" y="197"/>
                </a:cubicBezTo>
                <a:cubicBezTo>
                  <a:pt x="124" y="197"/>
                  <a:pt x="120" y="193"/>
                  <a:pt x="120" y="193"/>
                </a:cubicBezTo>
                <a:cubicBezTo>
                  <a:pt x="120" y="192"/>
                  <a:pt x="121" y="191"/>
                  <a:pt x="120" y="190"/>
                </a:cubicBezTo>
                <a:cubicBezTo>
                  <a:pt x="120" y="191"/>
                  <a:pt x="120" y="191"/>
                  <a:pt x="119" y="192"/>
                </a:cubicBezTo>
                <a:cubicBezTo>
                  <a:pt x="120" y="192"/>
                  <a:pt x="120" y="192"/>
                  <a:pt x="120" y="192"/>
                </a:cubicBezTo>
                <a:cubicBezTo>
                  <a:pt x="120" y="193"/>
                  <a:pt x="121" y="194"/>
                  <a:pt x="121" y="195"/>
                </a:cubicBezTo>
                <a:cubicBezTo>
                  <a:pt x="121" y="195"/>
                  <a:pt x="121" y="195"/>
                  <a:pt x="121" y="195"/>
                </a:cubicBezTo>
                <a:cubicBezTo>
                  <a:pt x="121" y="195"/>
                  <a:pt x="121" y="195"/>
                  <a:pt x="121" y="195"/>
                </a:cubicBezTo>
                <a:cubicBezTo>
                  <a:pt x="121" y="197"/>
                  <a:pt x="121" y="198"/>
                  <a:pt x="120" y="198"/>
                </a:cubicBezTo>
                <a:cubicBezTo>
                  <a:pt x="120" y="198"/>
                  <a:pt x="119" y="198"/>
                  <a:pt x="119" y="198"/>
                </a:cubicBezTo>
                <a:cubicBezTo>
                  <a:pt x="118" y="198"/>
                  <a:pt x="117" y="197"/>
                  <a:pt x="117" y="196"/>
                </a:cubicBezTo>
                <a:cubicBezTo>
                  <a:pt x="116" y="195"/>
                  <a:pt x="117" y="192"/>
                  <a:pt x="118" y="192"/>
                </a:cubicBezTo>
                <a:cubicBezTo>
                  <a:pt x="118" y="192"/>
                  <a:pt x="118" y="192"/>
                  <a:pt x="118" y="192"/>
                </a:cubicBezTo>
                <a:cubicBezTo>
                  <a:pt x="117" y="192"/>
                  <a:pt x="117" y="190"/>
                  <a:pt x="117" y="189"/>
                </a:cubicBezTo>
                <a:cubicBezTo>
                  <a:pt x="116" y="189"/>
                  <a:pt x="116" y="189"/>
                  <a:pt x="116" y="190"/>
                </a:cubicBezTo>
                <a:cubicBezTo>
                  <a:pt x="116" y="190"/>
                  <a:pt x="116" y="190"/>
                  <a:pt x="116" y="190"/>
                </a:cubicBezTo>
                <a:cubicBezTo>
                  <a:pt x="116" y="191"/>
                  <a:pt x="116" y="191"/>
                  <a:pt x="115" y="190"/>
                </a:cubicBezTo>
                <a:cubicBezTo>
                  <a:pt x="114" y="192"/>
                  <a:pt x="114" y="194"/>
                  <a:pt x="113" y="196"/>
                </a:cubicBezTo>
                <a:cubicBezTo>
                  <a:pt x="112" y="194"/>
                  <a:pt x="112" y="194"/>
                  <a:pt x="111" y="194"/>
                </a:cubicBezTo>
                <a:cubicBezTo>
                  <a:pt x="112" y="196"/>
                  <a:pt x="112" y="199"/>
                  <a:pt x="110" y="197"/>
                </a:cubicBezTo>
                <a:cubicBezTo>
                  <a:pt x="110" y="197"/>
                  <a:pt x="110" y="196"/>
                  <a:pt x="110" y="196"/>
                </a:cubicBezTo>
                <a:cubicBezTo>
                  <a:pt x="109" y="197"/>
                  <a:pt x="109" y="197"/>
                  <a:pt x="108" y="197"/>
                </a:cubicBezTo>
                <a:cubicBezTo>
                  <a:pt x="110" y="200"/>
                  <a:pt x="111" y="202"/>
                  <a:pt x="112" y="205"/>
                </a:cubicBezTo>
                <a:cubicBezTo>
                  <a:pt x="113" y="208"/>
                  <a:pt x="109" y="203"/>
                  <a:pt x="109" y="202"/>
                </a:cubicBezTo>
                <a:cubicBezTo>
                  <a:pt x="108" y="201"/>
                  <a:pt x="108" y="199"/>
                  <a:pt x="107" y="197"/>
                </a:cubicBezTo>
                <a:cubicBezTo>
                  <a:pt x="107" y="197"/>
                  <a:pt x="106" y="196"/>
                  <a:pt x="106" y="196"/>
                </a:cubicBezTo>
                <a:cubicBezTo>
                  <a:pt x="106" y="196"/>
                  <a:pt x="106" y="195"/>
                  <a:pt x="106" y="194"/>
                </a:cubicBezTo>
                <a:cubicBezTo>
                  <a:pt x="105" y="193"/>
                  <a:pt x="104" y="192"/>
                  <a:pt x="103" y="191"/>
                </a:cubicBezTo>
                <a:cubicBezTo>
                  <a:pt x="102" y="190"/>
                  <a:pt x="101" y="189"/>
                  <a:pt x="100" y="190"/>
                </a:cubicBezTo>
                <a:cubicBezTo>
                  <a:pt x="100" y="190"/>
                  <a:pt x="100" y="191"/>
                  <a:pt x="99" y="191"/>
                </a:cubicBezTo>
                <a:cubicBezTo>
                  <a:pt x="99" y="191"/>
                  <a:pt x="99" y="191"/>
                  <a:pt x="99" y="191"/>
                </a:cubicBezTo>
                <a:cubicBezTo>
                  <a:pt x="99" y="192"/>
                  <a:pt x="99" y="192"/>
                  <a:pt x="99" y="192"/>
                </a:cubicBezTo>
                <a:cubicBezTo>
                  <a:pt x="99" y="193"/>
                  <a:pt x="99" y="195"/>
                  <a:pt x="98" y="194"/>
                </a:cubicBezTo>
                <a:cubicBezTo>
                  <a:pt x="98" y="195"/>
                  <a:pt x="98" y="195"/>
                  <a:pt x="98" y="195"/>
                </a:cubicBezTo>
                <a:cubicBezTo>
                  <a:pt x="96" y="195"/>
                  <a:pt x="96" y="194"/>
                  <a:pt x="95" y="192"/>
                </a:cubicBezTo>
                <a:cubicBezTo>
                  <a:pt x="94" y="192"/>
                  <a:pt x="94" y="192"/>
                  <a:pt x="93" y="192"/>
                </a:cubicBezTo>
                <a:cubicBezTo>
                  <a:pt x="93" y="192"/>
                  <a:pt x="93" y="191"/>
                  <a:pt x="93" y="191"/>
                </a:cubicBezTo>
                <a:cubicBezTo>
                  <a:pt x="92" y="193"/>
                  <a:pt x="92" y="194"/>
                  <a:pt x="92" y="196"/>
                </a:cubicBezTo>
                <a:cubicBezTo>
                  <a:pt x="92" y="197"/>
                  <a:pt x="92" y="199"/>
                  <a:pt x="91" y="199"/>
                </a:cubicBezTo>
                <a:cubicBezTo>
                  <a:pt x="91" y="200"/>
                  <a:pt x="90" y="201"/>
                  <a:pt x="89" y="201"/>
                </a:cubicBezTo>
                <a:cubicBezTo>
                  <a:pt x="90" y="202"/>
                  <a:pt x="90" y="202"/>
                  <a:pt x="89" y="203"/>
                </a:cubicBezTo>
                <a:cubicBezTo>
                  <a:pt x="88" y="204"/>
                  <a:pt x="86" y="205"/>
                  <a:pt x="85" y="203"/>
                </a:cubicBezTo>
                <a:cubicBezTo>
                  <a:pt x="85" y="203"/>
                  <a:pt x="85" y="203"/>
                  <a:pt x="85" y="203"/>
                </a:cubicBezTo>
                <a:cubicBezTo>
                  <a:pt x="85" y="203"/>
                  <a:pt x="84" y="203"/>
                  <a:pt x="84" y="203"/>
                </a:cubicBezTo>
                <a:cubicBezTo>
                  <a:pt x="84" y="204"/>
                  <a:pt x="85" y="205"/>
                  <a:pt x="84" y="206"/>
                </a:cubicBezTo>
                <a:cubicBezTo>
                  <a:pt x="85" y="206"/>
                  <a:pt x="86" y="207"/>
                  <a:pt x="86" y="207"/>
                </a:cubicBezTo>
                <a:cubicBezTo>
                  <a:pt x="87" y="207"/>
                  <a:pt x="87" y="209"/>
                  <a:pt x="88" y="210"/>
                </a:cubicBezTo>
                <a:cubicBezTo>
                  <a:pt x="90" y="211"/>
                  <a:pt x="90" y="212"/>
                  <a:pt x="91" y="213"/>
                </a:cubicBezTo>
                <a:cubicBezTo>
                  <a:pt x="91" y="214"/>
                  <a:pt x="92" y="213"/>
                  <a:pt x="92" y="213"/>
                </a:cubicBezTo>
                <a:cubicBezTo>
                  <a:pt x="92" y="215"/>
                  <a:pt x="91" y="216"/>
                  <a:pt x="92" y="216"/>
                </a:cubicBezTo>
                <a:cubicBezTo>
                  <a:pt x="92" y="216"/>
                  <a:pt x="92" y="217"/>
                  <a:pt x="92" y="217"/>
                </a:cubicBezTo>
                <a:cubicBezTo>
                  <a:pt x="92" y="217"/>
                  <a:pt x="92" y="217"/>
                  <a:pt x="92" y="217"/>
                </a:cubicBezTo>
                <a:cubicBezTo>
                  <a:pt x="92" y="217"/>
                  <a:pt x="92" y="217"/>
                  <a:pt x="92" y="218"/>
                </a:cubicBezTo>
                <a:cubicBezTo>
                  <a:pt x="92" y="219"/>
                  <a:pt x="93" y="219"/>
                  <a:pt x="93" y="220"/>
                </a:cubicBezTo>
                <a:cubicBezTo>
                  <a:pt x="93" y="220"/>
                  <a:pt x="92" y="219"/>
                  <a:pt x="92" y="219"/>
                </a:cubicBezTo>
                <a:cubicBezTo>
                  <a:pt x="90" y="221"/>
                  <a:pt x="87" y="226"/>
                  <a:pt x="86" y="226"/>
                </a:cubicBezTo>
                <a:cubicBezTo>
                  <a:pt x="84" y="226"/>
                  <a:pt x="83" y="222"/>
                  <a:pt x="81" y="220"/>
                </a:cubicBezTo>
                <a:cubicBezTo>
                  <a:pt x="80" y="220"/>
                  <a:pt x="79" y="222"/>
                  <a:pt x="78" y="221"/>
                </a:cubicBezTo>
                <a:cubicBezTo>
                  <a:pt x="77" y="219"/>
                  <a:pt x="79" y="219"/>
                  <a:pt x="80" y="218"/>
                </a:cubicBezTo>
                <a:cubicBezTo>
                  <a:pt x="80" y="217"/>
                  <a:pt x="80" y="213"/>
                  <a:pt x="80" y="210"/>
                </a:cubicBezTo>
                <a:cubicBezTo>
                  <a:pt x="80" y="209"/>
                  <a:pt x="81" y="208"/>
                  <a:pt x="81" y="207"/>
                </a:cubicBezTo>
                <a:cubicBezTo>
                  <a:pt x="80" y="206"/>
                  <a:pt x="79" y="202"/>
                  <a:pt x="79" y="201"/>
                </a:cubicBezTo>
                <a:cubicBezTo>
                  <a:pt x="78" y="201"/>
                  <a:pt x="78" y="203"/>
                  <a:pt x="77" y="203"/>
                </a:cubicBezTo>
                <a:cubicBezTo>
                  <a:pt x="77" y="202"/>
                  <a:pt x="78" y="201"/>
                  <a:pt x="78" y="200"/>
                </a:cubicBezTo>
                <a:cubicBezTo>
                  <a:pt x="77" y="198"/>
                  <a:pt x="76" y="194"/>
                  <a:pt x="76" y="192"/>
                </a:cubicBezTo>
                <a:cubicBezTo>
                  <a:pt x="75" y="192"/>
                  <a:pt x="74" y="192"/>
                  <a:pt x="74" y="193"/>
                </a:cubicBezTo>
                <a:cubicBezTo>
                  <a:pt x="74" y="194"/>
                  <a:pt x="75" y="194"/>
                  <a:pt x="75" y="194"/>
                </a:cubicBezTo>
                <a:cubicBezTo>
                  <a:pt x="75" y="194"/>
                  <a:pt x="74" y="197"/>
                  <a:pt x="73" y="200"/>
                </a:cubicBezTo>
                <a:cubicBezTo>
                  <a:pt x="73" y="201"/>
                  <a:pt x="73" y="201"/>
                  <a:pt x="72" y="202"/>
                </a:cubicBezTo>
                <a:cubicBezTo>
                  <a:pt x="72" y="202"/>
                  <a:pt x="72" y="202"/>
                  <a:pt x="72" y="202"/>
                </a:cubicBezTo>
                <a:cubicBezTo>
                  <a:pt x="72" y="202"/>
                  <a:pt x="72" y="202"/>
                  <a:pt x="72" y="202"/>
                </a:cubicBezTo>
                <a:cubicBezTo>
                  <a:pt x="71" y="202"/>
                  <a:pt x="70" y="202"/>
                  <a:pt x="70" y="202"/>
                </a:cubicBezTo>
                <a:cubicBezTo>
                  <a:pt x="68" y="205"/>
                  <a:pt x="70" y="208"/>
                  <a:pt x="69" y="210"/>
                </a:cubicBezTo>
                <a:cubicBezTo>
                  <a:pt x="69" y="210"/>
                  <a:pt x="69" y="211"/>
                  <a:pt x="69" y="212"/>
                </a:cubicBezTo>
                <a:cubicBezTo>
                  <a:pt x="69" y="212"/>
                  <a:pt x="69" y="212"/>
                  <a:pt x="69" y="212"/>
                </a:cubicBezTo>
                <a:cubicBezTo>
                  <a:pt x="70" y="212"/>
                  <a:pt x="73" y="217"/>
                  <a:pt x="71" y="218"/>
                </a:cubicBezTo>
                <a:cubicBezTo>
                  <a:pt x="70" y="219"/>
                  <a:pt x="68" y="218"/>
                  <a:pt x="67" y="216"/>
                </a:cubicBezTo>
                <a:cubicBezTo>
                  <a:pt x="67" y="216"/>
                  <a:pt x="67" y="216"/>
                  <a:pt x="67" y="216"/>
                </a:cubicBezTo>
                <a:cubicBezTo>
                  <a:pt x="66" y="216"/>
                  <a:pt x="66" y="216"/>
                  <a:pt x="66" y="216"/>
                </a:cubicBezTo>
                <a:cubicBezTo>
                  <a:pt x="66" y="216"/>
                  <a:pt x="66" y="216"/>
                  <a:pt x="66" y="216"/>
                </a:cubicBezTo>
                <a:cubicBezTo>
                  <a:pt x="66" y="216"/>
                  <a:pt x="66" y="216"/>
                  <a:pt x="66" y="216"/>
                </a:cubicBezTo>
                <a:cubicBezTo>
                  <a:pt x="66" y="217"/>
                  <a:pt x="66" y="219"/>
                  <a:pt x="66" y="219"/>
                </a:cubicBezTo>
                <a:cubicBezTo>
                  <a:pt x="66" y="219"/>
                  <a:pt x="66" y="219"/>
                  <a:pt x="66" y="220"/>
                </a:cubicBezTo>
                <a:cubicBezTo>
                  <a:pt x="67" y="220"/>
                  <a:pt x="68" y="220"/>
                  <a:pt x="68" y="220"/>
                </a:cubicBezTo>
                <a:cubicBezTo>
                  <a:pt x="70" y="221"/>
                  <a:pt x="70" y="224"/>
                  <a:pt x="72" y="226"/>
                </a:cubicBezTo>
                <a:cubicBezTo>
                  <a:pt x="73" y="227"/>
                  <a:pt x="76" y="230"/>
                  <a:pt x="76" y="231"/>
                </a:cubicBezTo>
                <a:cubicBezTo>
                  <a:pt x="76" y="232"/>
                  <a:pt x="74" y="233"/>
                  <a:pt x="73" y="233"/>
                </a:cubicBezTo>
                <a:cubicBezTo>
                  <a:pt x="73" y="234"/>
                  <a:pt x="74" y="234"/>
                  <a:pt x="74" y="234"/>
                </a:cubicBezTo>
                <a:cubicBezTo>
                  <a:pt x="75" y="235"/>
                  <a:pt x="74" y="236"/>
                  <a:pt x="73" y="237"/>
                </a:cubicBezTo>
                <a:cubicBezTo>
                  <a:pt x="73" y="238"/>
                  <a:pt x="73" y="239"/>
                  <a:pt x="72" y="239"/>
                </a:cubicBezTo>
                <a:cubicBezTo>
                  <a:pt x="72" y="239"/>
                  <a:pt x="71" y="238"/>
                  <a:pt x="70" y="237"/>
                </a:cubicBezTo>
                <a:cubicBezTo>
                  <a:pt x="69" y="236"/>
                  <a:pt x="68" y="235"/>
                  <a:pt x="70" y="234"/>
                </a:cubicBezTo>
                <a:cubicBezTo>
                  <a:pt x="70" y="233"/>
                  <a:pt x="70" y="233"/>
                  <a:pt x="68" y="234"/>
                </a:cubicBezTo>
                <a:cubicBezTo>
                  <a:pt x="68" y="235"/>
                  <a:pt x="68" y="236"/>
                  <a:pt x="67" y="236"/>
                </a:cubicBezTo>
                <a:cubicBezTo>
                  <a:pt x="66" y="236"/>
                  <a:pt x="65" y="235"/>
                  <a:pt x="65" y="234"/>
                </a:cubicBezTo>
                <a:cubicBezTo>
                  <a:pt x="64" y="235"/>
                  <a:pt x="63" y="237"/>
                  <a:pt x="62" y="237"/>
                </a:cubicBezTo>
                <a:cubicBezTo>
                  <a:pt x="62" y="237"/>
                  <a:pt x="59" y="236"/>
                  <a:pt x="58" y="235"/>
                </a:cubicBezTo>
                <a:cubicBezTo>
                  <a:pt x="58" y="234"/>
                  <a:pt x="57" y="231"/>
                  <a:pt x="57" y="231"/>
                </a:cubicBezTo>
                <a:cubicBezTo>
                  <a:pt x="56" y="231"/>
                  <a:pt x="56" y="232"/>
                  <a:pt x="56" y="233"/>
                </a:cubicBezTo>
                <a:cubicBezTo>
                  <a:pt x="56" y="233"/>
                  <a:pt x="57" y="233"/>
                  <a:pt x="57" y="233"/>
                </a:cubicBezTo>
                <a:cubicBezTo>
                  <a:pt x="57" y="233"/>
                  <a:pt x="57" y="233"/>
                  <a:pt x="57" y="233"/>
                </a:cubicBezTo>
                <a:cubicBezTo>
                  <a:pt x="57" y="233"/>
                  <a:pt x="57" y="233"/>
                  <a:pt x="57" y="233"/>
                </a:cubicBezTo>
                <a:cubicBezTo>
                  <a:pt x="57" y="234"/>
                  <a:pt x="58" y="235"/>
                  <a:pt x="57" y="236"/>
                </a:cubicBezTo>
                <a:cubicBezTo>
                  <a:pt x="57" y="236"/>
                  <a:pt x="57" y="236"/>
                  <a:pt x="56" y="236"/>
                </a:cubicBezTo>
                <a:cubicBezTo>
                  <a:pt x="56" y="236"/>
                  <a:pt x="56" y="237"/>
                  <a:pt x="56" y="237"/>
                </a:cubicBezTo>
                <a:cubicBezTo>
                  <a:pt x="56" y="237"/>
                  <a:pt x="56" y="237"/>
                  <a:pt x="55" y="236"/>
                </a:cubicBezTo>
                <a:cubicBezTo>
                  <a:pt x="55" y="236"/>
                  <a:pt x="55" y="237"/>
                  <a:pt x="55" y="237"/>
                </a:cubicBezTo>
                <a:cubicBezTo>
                  <a:pt x="54" y="236"/>
                  <a:pt x="54" y="233"/>
                  <a:pt x="55" y="233"/>
                </a:cubicBezTo>
                <a:cubicBezTo>
                  <a:pt x="55" y="232"/>
                  <a:pt x="55" y="230"/>
                  <a:pt x="56" y="230"/>
                </a:cubicBezTo>
                <a:cubicBezTo>
                  <a:pt x="56" y="230"/>
                  <a:pt x="57" y="231"/>
                  <a:pt x="57" y="231"/>
                </a:cubicBezTo>
                <a:cubicBezTo>
                  <a:pt x="58" y="230"/>
                  <a:pt x="57" y="229"/>
                  <a:pt x="57" y="229"/>
                </a:cubicBezTo>
                <a:cubicBezTo>
                  <a:pt x="57" y="228"/>
                  <a:pt x="58" y="227"/>
                  <a:pt x="58" y="226"/>
                </a:cubicBezTo>
                <a:cubicBezTo>
                  <a:pt x="58" y="225"/>
                  <a:pt x="58" y="224"/>
                  <a:pt x="59" y="224"/>
                </a:cubicBezTo>
                <a:cubicBezTo>
                  <a:pt x="60" y="223"/>
                  <a:pt x="60" y="224"/>
                  <a:pt x="60" y="225"/>
                </a:cubicBezTo>
                <a:cubicBezTo>
                  <a:pt x="61" y="225"/>
                  <a:pt x="61" y="225"/>
                  <a:pt x="61" y="225"/>
                </a:cubicBezTo>
                <a:cubicBezTo>
                  <a:pt x="61" y="224"/>
                  <a:pt x="61" y="222"/>
                  <a:pt x="62" y="221"/>
                </a:cubicBezTo>
                <a:cubicBezTo>
                  <a:pt x="62" y="221"/>
                  <a:pt x="62" y="222"/>
                  <a:pt x="63" y="222"/>
                </a:cubicBezTo>
                <a:cubicBezTo>
                  <a:pt x="62" y="220"/>
                  <a:pt x="62" y="219"/>
                  <a:pt x="61" y="218"/>
                </a:cubicBezTo>
                <a:cubicBezTo>
                  <a:pt x="61" y="218"/>
                  <a:pt x="61" y="217"/>
                  <a:pt x="61" y="217"/>
                </a:cubicBezTo>
                <a:cubicBezTo>
                  <a:pt x="60" y="218"/>
                  <a:pt x="60" y="218"/>
                  <a:pt x="59" y="218"/>
                </a:cubicBezTo>
                <a:cubicBezTo>
                  <a:pt x="57" y="219"/>
                  <a:pt x="58" y="213"/>
                  <a:pt x="60" y="216"/>
                </a:cubicBezTo>
                <a:cubicBezTo>
                  <a:pt x="60" y="216"/>
                  <a:pt x="60" y="216"/>
                  <a:pt x="60" y="215"/>
                </a:cubicBezTo>
                <a:cubicBezTo>
                  <a:pt x="60" y="214"/>
                  <a:pt x="59" y="212"/>
                  <a:pt x="58" y="213"/>
                </a:cubicBezTo>
                <a:cubicBezTo>
                  <a:pt x="57" y="213"/>
                  <a:pt x="58" y="216"/>
                  <a:pt x="57" y="216"/>
                </a:cubicBezTo>
                <a:cubicBezTo>
                  <a:pt x="56" y="217"/>
                  <a:pt x="54" y="213"/>
                  <a:pt x="54" y="213"/>
                </a:cubicBezTo>
                <a:cubicBezTo>
                  <a:pt x="54" y="213"/>
                  <a:pt x="53" y="213"/>
                  <a:pt x="53" y="213"/>
                </a:cubicBezTo>
                <a:cubicBezTo>
                  <a:pt x="55" y="215"/>
                  <a:pt x="55" y="219"/>
                  <a:pt x="55" y="221"/>
                </a:cubicBezTo>
                <a:cubicBezTo>
                  <a:pt x="54" y="223"/>
                  <a:pt x="51" y="223"/>
                  <a:pt x="51" y="224"/>
                </a:cubicBezTo>
                <a:cubicBezTo>
                  <a:pt x="51" y="226"/>
                  <a:pt x="51" y="228"/>
                  <a:pt x="52" y="230"/>
                </a:cubicBezTo>
                <a:cubicBezTo>
                  <a:pt x="51" y="229"/>
                  <a:pt x="51" y="228"/>
                  <a:pt x="50" y="227"/>
                </a:cubicBezTo>
                <a:cubicBezTo>
                  <a:pt x="49" y="227"/>
                  <a:pt x="50" y="226"/>
                  <a:pt x="49" y="225"/>
                </a:cubicBezTo>
                <a:cubicBezTo>
                  <a:pt x="49" y="225"/>
                  <a:pt x="49" y="225"/>
                  <a:pt x="48" y="225"/>
                </a:cubicBezTo>
                <a:cubicBezTo>
                  <a:pt x="48" y="226"/>
                  <a:pt x="48" y="226"/>
                  <a:pt x="48" y="226"/>
                </a:cubicBezTo>
                <a:cubicBezTo>
                  <a:pt x="47" y="227"/>
                  <a:pt x="47" y="226"/>
                  <a:pt x="47" y="225"/>
                </a:cubicBezTo>
                <a:cubicBezTo>
                  <a:pt x="47" y="225"/>
                  <a:pt x="46" y="225"/>
                  <a:pt x="46" y="225"/>
                </a:cubicBezTo>
                <a:cubicBezTo>
                  <a:pt x="45" y="225"/>
                  <a:pt x="44" y="225"/>
                  <a:pt x="43" y="225"/>
                </a:cubicBezTo>
                <a:cubicBezTo>
                  <a:pt x="43" y="225"/>
                  <a:pt x="43" y="226"/>
                  <a:pt x="42" y="226"/>
                </a:cubicBezTo>
                <a:cubicBezTo>
                  <a:pt x="42" y="226"/>
                  <a:pt x="42" y="226"/>
                  <a:pt x="42" y="226"/>
                </a:cubicBezTo>
                <a:cubicBezTo>
                  <a:pt x="42" y="226"/>
                  <a:pt x="42" y="226"/>
                  <a:pt x="42" y="226"/>
                </a:cubicBezTo>
                <a:cubicBezTo>
                  <a:pt x="41" y="226"/>
                  <a:pt x="41" y="226"/>
                  <a:pt x="40" y="225"/>
                </a:cubicBezTo>
                <a:cubicBezTo>
                  <a:pt x="39" y="225"/>
                  <a:pt x="38" y="225"/>
                  <a:pt x="37" y="225"/>
                </a:cubicBezTo>
                <a:cubicBezTo>
                  <a:pt x="37" y="225"/>
                  <a:pt x="36" y="225"/>
                  <a:pt x="36" y="225"/>
                </a:cubicBezTo>
                <a:cubicBezTo>
                  <a:pt x="36" y="226"/>
                  <a:pt x="36" y="226"/>
                  <a:pt x="35" y="226"/>
                </a:cubicBezTo>
                <a:cubicBezTo>
                  <a:pt x="35" y="226"/>
                  <a:pt x="35" y="226"/>
                  <a:pt x="34" y="225"/>
                </a:cubicBezTo>
                <a:cubicBezTo>
                  <a:pt x="33" y="225"/>
                  <a:pt x="32" y="224"/>
                  <a:pt x="31" y="224"/>
                </a:cubicBezTo>
                <a:cubicBezTo>
                  <a:pt x="31" y="224"/>
                  <a:pt x="31" y="224"/>
                  <a:pt x="31" y="224"/>
                </a:cubicBezTo>
                <a:cubicBezTo>
                  <a:pt x="31" y="226"/>
                  <a:pt x="31" y="228"/>
                  <a:pt x="30" y="228"/>
                </a:cubicBezTo>
                <a:cubicBezTo>
                  <a:pt x="28" y="229"/>
                  <a:pt x="27" y="225"/>
                  <a:pt x="27" y="223"/>
                </a:cubicBezTo>
                <a:cubicBezTo>
                  <a:pt x="28" y="225"/>
                  <a:pt x="28" y="224"/>
                  <a:pt x="29" y="223"/>
                </a:cubicBezTo>
                <a:cubicBezTo>
                  <a:pt x="28" y="223"/>
                  <a:pt x="27" y="223"/>
                  <a:pt x="27" y="223"/>
                </a:cubicBezTo>
                <a:cubicBezTo>
                  <a:pt x="26" y="224"/>
                  <a:pt x="25" y="224"/>
                  <a:pt x="25" y="223"/>
                </a:cubicBezTo>
                <a:cubicBezTo>
                  <a:pt x="24" y="223"/>
                  <a:pt x="25" y="221"/>
                  <a:pt x="26" y="220"/>
                </a:cubicBezTo>
                <a:cubicBezTo>
                  <a:pt x="26" y="220"/>
                  <a:pt x="26" y="220"/>
                  <a:pt x="26" y="220"/>
                </a:cubicBezTo>
                <a:cubicBezTo>
                  <a:pt x="26" y="219"/>
                  <a:pt x="25" y="218"/>
                  <a:pt x="23" y="216"/>
                </a:cubicBezTo>
                <a:cubicBezTo>
                  <a:pt x="23" y="217"/>
                  <a:pt x="22" y="217"/>
                  <a:pt x="22" y="217"/>
                </a:cubicBezTo>
                <a:cubicBezTo>
                  <a:pt x="22" y="216"/>
                  <a:pt x="22" y="216"/>
                  <a:pt x="23" y="215"/>
                </a:cubicBezTo>
                <a:cubicBezTo>
                  <a:pt x="22" y="215"/>
                  <a:pt x="22" y="215"/>
                  <a:pt x="22" y="215"/>
                </a:cubicBezTo>
                <a:cubicBezTo>
                  <a:pt x="22" y="215"/>
                  <a:pt x="21" y="216"/>
                  <a:pt x="21" y="216"/>
                </a:cubicBezTo>
                <a:cubicBezTo>
                  <a:pt x="20" y="217"/>
                  <a:pt x="18" y="217"/>
                  <a:pt x="18" y="219"/>
                </a:cubicBezTo>
                <a:cubicBezTo>
                  <a:pt x="17" y="219"/>
                  <a:pt x="18" y="218"/>
                  <a:pt x="17" y="218"/>
                </a:cubicBezTo>
                <a:cubicBezTo>
                  <a:pt x="18" y="220"/>
                  <a:pt x="16" y="219"/>
                  <a:pt x="16" y="221"/>
                </a:cubicBezTo>
                <a:cubicBezTo>
                  <a:pt x="19" y="219"/>
                  <a:pt x="20" y="220"/>
                  <a:pt x="21" y="223"/>
                </a:cubicBezTo>
                <a:cubicBezTo>
                  <a:pt x="21" y="222"/>
                  <a:pt x="22" y="222"/>
                  <a:pt x="22" y="223"/>
                </a:cubicBezTo>
                <a:cubicBezTo>
                  <a:pt x="22" y="223"/>
                  <a:pt x="22" y="223"/>
                  <a:pt x="23" y="223"/>
                </a:cubicBezTo>
                <a:cubicBezTo>
                  <a:pt x="23" y="223"/>
                  <a:pt x="23" y="223"/>
                  <a:pt x="23" y="223"/>
                </a:cubicBezTo>
                <a:cubicBezTo>
                  <a:pt x="23" y="223"/>
                  <a:pt x="23" y="223"/>
                  <a:pt x="23" y="223"/>
                </a:cubicBezTo>
                <a:cubicBezTo>
                  <a:pt x="24" y="224"/>
                  <a:pt x="25" y="226"/>
                  <a:pt x="25" y="226"/>
                </a:cubicBezTo>
                <a:cubicBezTo>
                  <a:pt x="25" y="226"/>
                  <a:pt x="25" y="228"/>
                  <a:pt x="25" y="228"/>
                </a:cubicBezTo>
                <a:cubicBezTo>
                  <a:pt x="27" y="228"/>
                  <a:pt x="31" y="229"/>
                  <a:pt x="31" y="231"/>
                </a:cubicBezTo>
                <a:cubicBezTo>
                  <a:pt x="32" y="232"/>
                  <a:pt x="31" y="236"/>
                  <a:pt x="31" y="237"/>
                </a:cubicBezTo>
                <a:cubicBezTo>
                  <a:pt x="31" y="237"/>
                  <a:pt x="29" y="237"/>
                  <a:pt x="29" y="238"/>
                </a:cubicBezTo>
                <a:cubicBezTo>
                  <a:pt x="27" y="241"/>
                  <a:pt x="27" y="237"/>
                  <a:pt x="26" y="242"/>
                </a:cubicBezTo>
                <a:cubicBezTo>
                  <a:pt x="25" y="241"/>
                  <a:pt x="24" y="239"/>
                  <a:pt x="23" y="239"/>
                </a:cubicBezTo>
                <a:cubicBezTo>
                  <a:pt x="23" y="239"/>
                  <a:pt x="21" y="239"/>
                  <a:pt x="22" y="239"/>
                </a:cubicBezTo>
                <a:cubicBezTo>
                  <a:pt x="20" y="238"/>
                  <a:pt x="22" y="235"/>
                  <a:pt x="20" y="233"/>
                </a:cubicBezTo>
                <a:cubicBezTo>
                  <a:pt x="20" y="234"/>
                  <a:pt x="20" y="235"/>
                  <a:pt x="19" y="236"/>
                </a:cubicBezTo>
                <a:cubicBezTo>
                  <a:pt x="20" y="237"/>
                  <a:pt x="20" y="238"/>
                  <a:pt x="18" y="238"/>
                </a:cubicBezTo>
                <a:cubicBezTo>
                  <a:pt x="22" y="239"/>
                  <a:pt x="22" y="249"/>
                  <a:pt x="17" y="249"/>
                </a:cubicBezTo>
                <a:cubicBezTo>
                  <a:pt x="17" y="249"/>
                  <a:pt x="17" y="249"/>
                  <a:pt x="17" y="249"/>
                </a:cubicBezTo>
                <a:cubicBezTo>
                  <a:pt x="17" y="249"/>
                  <a:pt x="17" y="249"/>
                  <a:pt x="17" y="250"/>
                </a:cubicBezTo>
                <a:cubicBezTo>
                  <a:pt x="20" y="251"/>
                  <a:pt x="21" y="254"/>
                  <a:pt x="20" y="258"/>
                </a:cubicBezTo>
                <a:cubicBezTo>
                  <a:pt x="20" y="257"/>
                  <a:pt x="20" y="258"/>
                  <a:pt x="20" y="258"/>
                </a:cubicBezTo>
                <a:cubicBezTo>
                  <a:pt x="21" y="261"/>
                  <a:pt x="23" y="263"/>
                  <a:pt x="23" y="265"/>
                </a:cubicBezTo>
                <a:cubicBezTo>
                  <a:pt x="23" y="266"/>
                  <a:pt x="23" y="267"/>
                  <a:pt x="23" y="268"/>
                </a:cubicBezTo>
                <a:cubicBezTo>
                  <a:pt x="23" y="270"/>
                  <a:pt x="27" y="272"/>
                  <a:pt x="26" y="275"/>
                </a:cubicBezTo>
                <a:cubicBezTo>
                  <a:pt x="26" y="276"/>
                  <a:pt x="26" y="275"/>
                  <a:pt x="27" y="277"/>
                </a:cubicBezTo>
                <a:cubicBezTo>
                  <a:pt x="27" y="278"/>
                  <a:pt x="28" y="280"/>
                  <a:pt x="28" y="281"/>
                </a:cubicBezTo>
                <a:cubicBezTo>
                  <a:pt x="29" y="282"/>
                  <a:pt x="30" y="285"/>
                  <a:pt x="30" y="285"/>
                </a:cubicBezTo>
                <a:cubicBezTo>
                  <a:pt x="32" y="287"/>
                  <a:pt x="32" y="285"/>
                  <a:pt x="32" y="287"/>
                </a:cubicBezTo>
                <a:cubicBezTo>
                  <a:pt x="31" y="288"/>
                  <a:pt x="32" y="288"/>
                  <a:pt x="32" y="289"/>
                </a:cubicBezTo>
                <a:cubicBezTo>
                  <a:pt x="32" y="288"/>
                  <a:pt x="32" y="288"/>
                  <a:pt x="32" y="288"/>
                </a:cubicBezTo>
                <a:cubicBezTo>
                  <a:pt x="33" y="287"/>
                  <a:pt x="34" y="290"/>
                  <a:pt x="33" y="290"/>
                </a:cubicBezTo>
                <a:cubicBezTo>
                  <a:pt x="33" y="291"/>
                  <a:pt x="34" y="291"/>
                  <a:pt x="34" y="292"/>
                </a:cubicBezTo>
                <a:cubicBezTo>
                  <a:pt x="34" y="292"/>
                  <a:pt x="35" y="292"/>
                  <a:pt x="35" y="292"/>
                </a:cubicBezTo>
                <a:cubicBezTo>
                  <a:pt x="36" y="288"/>
                  <a:pt x="34" y="286"/>
                  <a:pt x="38" y="288"/>
                </a:cubicBezTo>
                <a:cubicBezTo>
                  <a:pt x="39" y="288"/>
                  <a:pt x="39" y="287"/>
                  <a:pt x="40" y="288"/>
                </a:cubicBezTo>
                <a:cubicBezTo>
                  <a:pt x="42" y="289"/>
                  <a:pt x="39" y="291"/>
                  <a:pt x="38" y="290"/>
                </a:cubicBezTo>
                <a:cubicBezTo>
                  <a:pt x="39" y="291"/>
                  <a:pt x="40" y="291"/>
                  <a:pt x="41" y="289"/>
                </a:cubicBezTo>
                <a:cubicBezTo>
                  <a:pt x="42" y="289"/>
                  <a:pt x="42" y="292"/>
                  <a:pt x="41" y="293"/>
                </a:cubicBezTo>
                <a:cubicBezTo>
                  <a:pt x="41" y="293"/>
                  <a:pt x="38" y="295"/>
                  <a:pt x="37" y="296"/>
                </a:cubicBezTo>
                <a:cubicBezTo>
                  <a:pt x="37" y="297"/>
                  <a:pt x="38" y="298"/>
                  <a:pt x="38" y="299"/>
                </a:cubicBezTo>
                <a:cubicBezTo>
                  <a:pt x="40" y="301"/>
                  <a:pt x="40" y="304"/>
                  <a:pt x="41" y="306"/>
                </a:cubicBezTo>
                <a:cubicBezTo>
                  <a:pt x="42" y="307"/>
                  <a:pt x="42" y="307"/>
                  <a:pt x="42" y="309"/>
                </a:cubicBezTo>
                <a:cubicBezTo>
                  <a:pt x="42" y="310"/>
                  <a:pt x="43" y="310"/>
                  <a:pt x="43" y="311"/>
                </a:cubicBezTo>
                <a:cubicBezTo>
                  <a:pt x="44" y="313"/>
                  <a:pt x="45" y="316"/>
                  <a:pt x="46" y="318"/>
                </a:cubicBezTo>
                <a:cubicBezTo>
                  <a:pt x="46" y="318"/>
                  <a:pt x="46" y="317"/>
                  <a:pt x="46" y="318"/>
                </a:cubicBezTo>
                <a:cubicBezTo>
                  <a:pt x="46" y="318"/>
                  <a:pt x="46" y="318"/>
                  <a:pt x="46" y="318"/>
                </a:cubicBezTo>
                <a:cubicBezTo>
                  <a:pt x="46" y="319"/>
                  <a:pt x="46" y="319"/>
                  <a:pt x="47" y="320"/>
                </a:cubicBezTo>
                <a:cubicBezTo>
                  <a:pt x="47" y="320"/>
                  <a:pt x="47" y="324"/>
                  <a:pt x="48" y="324"/>
                </a:cubicBezTo>
                <a:cubicBezTo>
                  <a:pt x="48" y="324"/>
                  <a:pt x="47" y="317"/>
                  <a:pt x="51" y="319"/>
                </a:cubicBezTo>
                <a:cubicBezTo>
                  <a:pt x="51" y="319"/>
                  <a:pt x="52" y="319"/>
                  <a:pt x="52" y="320"/>
                </a:cubicBezTo>
                <a:cubicBezTo>
                  <a:pt x="51" y="316"/>
                  <a:pt x="51" y="310"/>
                  <a:pt x="53" y="306"/>
                </a:cubicBezTo>
                <a:cubicBezTo>
                  <a:pt x="50" y="306"/>
                  <a:pt x="50" y="314"/>
                  <a:pt x="47" y="314"/>
                </a:cubicBezTo>
                <a:cubicBezTo>
                  <a:pt x="45" y="314"/>
                  <a:pt x="48" y="308"/>
                  <a:pt x="46" y="306"/>
                </a:cubicBezTo>
                <a:cubicBezTo>
                  <a:pt x="45" y="305"/>
                  <a:pt x="45" y="306"/>
                  <a:pt x="44" y="305"/>
                </a:cubicBezTo>
                <a:cubicBezTo>
                  <a:pt x="44" y="304"/>
                  <a:pt x="46" y="301"/>
                  <a:pt x="43" y="301"/>
                </a:cubicBezTo>
                <a:cubicBezTo>
                  <a:pt x="40" y="302"/>
                  <a:pt x="46" y="290"/>
                  <a:pt x="49" y="289"/>
                </a:cubicBezTo>
                <a:cubicBezTo>
                  <a:pt x="51" y="289"/>
                  <a:pt x="55" y="290"/>
                  <a:pt x="55" y="291"/>
                </a:cubicBezTo>
                <a:cubicBezTo>
                  <a:pt x="55" y="291"/>
                  <a:pt x="56" y="298"/>
                  <a:pt x="56" y="298"/>
                </a:cubicBezTo>
                <a:cubicBezTo>
                  <a:pt x="56" y="299"/>
                  <a:pt x="56" y="300"/>
                  <a:pt x="56" y="301"/>
                </a:cubicBezTo>
                <a:cubicBezTo>
                  <a:pt x="56" y="301"/>
                  <a:pt x="56" y="301"/>
                  <a:pt x="57" y="300"/>
                </a:cubicBezTo>
                <a:cubicBezTo>
                  <a:pt x="58" y="300"/>
                  <a:pt x="60" y="299"/>
                  <a:pt x="61" y="300"/>
                </a:cubicBezTo>
                <a:cubicBezTo>
                  <a:pt x="66" y="303"/>
                  <a:pt x="64" y="314"/>
                  <a:pt x="63" y="319"/>
                </a:cubicBezTo>
                <a:cubicBezTo>
                  <a:pt x="63" y="318"/>
                  <a:pt x="64" y="318"/>
                  <a:pt x="65" y="318"/>
                </a:cubicBezTo>
                <a:cubicBezTo>
                  <a:pt x="68" y="319"/>
                  <a:pt x="67" y="328"/>
                  <a:pt x="64" y="328"/>
                </a:cubicBezTo>
                <a:cubicBezTo>
                  <a:pt x="64" y="328"/>
                  <a:pt x="64" y="330"/>
                  <a:pt x="63" y="330"/>
                </a:cubicBezTo>
                <a:cubicBezTo>
                  <a:pt x="63" y="330"/>
                  <a:pt x="62" y="328"/>
                  <a:pt x="63" y="328"/>
                </a:cubicBezTo>
                <a:cubicBezTo>
                  <a:pt x="61" y="327"/>
                  <a:pt x="61" y="324"/>
                  <a:pt x="61" y="322"/>
                </a:cubicBezTo>
                <a:cubicBezTo>
                  <a:pt x="61" y="321"/>
                  <a:pt x="60" y="319"/>
                  <a:pt x="58" y="318"/>
                </a:cubicBezTo>
                <a:cubicBezTo>
                  <a:pt x="58" y="318"/>
                  <a:pt x="56" y="319"/>
                  <a:pt x="56" y="319"/>
                </a:cubicBezTo>
                <a:cubicBezTo>
                  <a:pt x="56" y="318"/>
                  <a:pt x="55" y="316"/>
                  <a:pt x="54" y="316"/>
                </a:cubicBezTo>
                <a:cubicBezTo>
                  <a:pt x="52" y="316"/>
                  <a:pt x="53" y="319"/>
                  <a:pt x="52" y="321"/>
                </a:cubicBezTo>
                <a:cubicBezTo>
                  <a:pt x="53" y="324"/>
                  <a:pt x="52" y="328"/>
                  <a:pt x="51" y="329"/>
                </a:cubicBezTo>
                <a:cubicBezTo>
                  <a:pt x="50" y="329"/>
                  <a:pt x="49" y="329"/>
                  <a:pt x="49" y="329"/>
                </a:cubicBezTo>
                <a:cubicBezTo>
                  <a:pt x="49" y="330"/>
                  <a:pt x="50" y="330"/>
                  <a:pt x="50" y="331"/>
                </a:cubicBezTo>
                <a:cubicBezTo>
                  <a:pt x="51" y="332"/>
                  <a:pt x="52" y="333"/>
                  <a:pt x="53" y="334"/>
                </a:cubicBezTo>
                <a:cubicBezTo>
                  <a:pt x="53" y="335"/>
                  <a:pt x="53" y="335"/>
                  <a:pt x="53" y="336"/>
                </a:cubicBezTo>
                <a:cubicBezTo>
                  <a:pt x="56" y="333"/>
                  <a:pt x="57" y="335"/>
                  <a:pt x="56" y="337"/>
                </a:cubicBezTo>
                <a:cubicBezTo>
                  <a:pt x="57" y="338"/>
                  <a:pt x="57" y="339"/>
                  <a:pt x="57" y="339"/>
                </a:cubicBezTo>
                <a:cubicBezTo>
                  <a:pt x="57" y="340"/>
                  <a:pt x="56" y="340"/>
                  <a:pt x="56" y="339"/>
                </a:cubicBezTo>
                <a:cubicBezTo>
                  <a:pt x="56" y="340"/>
                  <a:pt x="56" y="341"/>
                  <a:pt x="55" y="341"/>
                </a:cubicBezTo>
                <a:cubicBezTo>
                  <a:pt x="55" y="341"/>
                  <a:pt x="56" y="342"/>
                  <a:pt x="56" y="342"/>
                </a:cubicBezTo>
                <a:cubicBezTo>
                  <a:pt x="56" y="343"/>
                  <a:pt x="57" y="343"/>
                  <a:pt x="57" y="343"/>
                </a:cubicBezTo>
                <a:cubicBezTo>
                  <a:pt x="58" y="344"/>
                  <a:pt x="57" y="345"/>
                  <a:pt x="57" y="345"/>
                </a:cubicBezTo>
                <a:cubicBezTo>
                  <a:pt x="58" y="346"/>
                  <a:pt x="59" y="347"/>
                  <a:pt x="60" y="348"/>
                </a:cubicBezTo>
                <a:cubicBezTo>
                  <a:pt x="60" y="348"/>
                  <a:pt x="61" y="348"/>
                  <a:pt x="61" y="350"/>
                </a:cubicBezTo>
                <a:cubicBezTo>
                  <a:pt x="62" y="351"/>
                  <a:pt x="62" y="351"/>
                  <a:pt x="63" y="352"/>
                </a:cubicBezTo>
                <a:cubicBezTo>
                  <a:pt x="65" y="356"/>
                  <a:pt x="66" y="361"/>
                  <a:pt x="68" y="365"/>
                </a:cubicBezTo>
                <a:cubicBezTo>
                  <a:pt x="68" y="366"/>
                  <a:pt x="68" y="366"/>
                  <a:pt x="68" y="366"/>
                </a:cubicBezTo>
                <a:cubicBezTo>
                  <a:pt x="68" y="366"/>
                  <a:pt x="69" y="365"/>
                  <a:pt x="68" y="365"/>
                </a:cubicBezTo>
                <a:cubicBezTo>
                  <a:pt x="68" y="364"/>
                  <a:pt x="69" y="362"/>
                  <a:pt x="71" y="361"/>
                </a:cubicBezTo>
                <a:cubicBezTo>
                  <a:pt x="71" y="360"/>
                  <a:pt x="71" y="360"/>
                  <a:pt x="71" y="360"/>
                </a:cubicBezTo>
                <a:cubicBezTo>
                  <a:pt x="72" y="360"/>
                  <a:pt x="74" y="359"/>
                  <a:pt x="75" y="359"/>
                </a:cubicBezTo>
                <a:cubicBezTo>
                  <a:pt x="82" y="360"/>
                  <a:pt x="82" y="374"/>
                  <a:pt x="79" y="380"/>
                </a:cubicBezTo>
                <a:cubicBezTo>
                  <a:pt x="79" y="381"/>
                  <a:pt x="77" y="383"/>
                  <a:pt x="75" y="384"/>
                </a:cubicBezTo>
                <a:cubicBezTo>
                  <a:pt x="76" y="386"/>
                  <a:pt x="77" y="388"/>
                  <a:pt x="76" y="388"/>
                </a:cubicBezTo>
                <a:cubicBezTo>
                  <a:pt x="75" y="389"/>
                  <a:pt x="75" y="387"/>
                  <a:pt x="74" y="385"/>
                </a:cubicBezTo>
                <a:cubicBezTo>
                  <a:pt x="74" y="385"/>
                  <a:pt x="74" y="385"/>
                  <a:pt x="74" y="385"/>
                </a:cubicBezTo>
                <a:cubicBezTo>
                  <a:pt x="73" y="386"/>
                  <a:pt x="73" y="388"/>
                  <a:pt x="72" y="388"/>
                </a:cubicBezTo>
                <a:cubicBezTo>
                  <a:pt x="71" y="388"/>
                  <a:pt x="69" y="384"/>
                  <a:pt x="67" y="380"/>
                </a:cubicBezTo>
                <a:cubicBezTo>
                  <a:pt x="68" y="385"/>
                  <a:pt x="68" y="392"/>
                  <a:pt x="69" y="397"/>
                </a:cubicBezTo>
                <a:cubicBezTo>
                  <a:pt x="69" y="397"/>
                  <a:pt x="71" y="404"/>
                  <a:pt x="70" y="404"/>
                </a:cubicBezTo>
                <a:cubicBezTo>
                  <a:pt x="69" y="405"/>
                  <a:pt x="69" y="398"/>
                  <a:pt x="69" y="397"/>
                </a:cubicBezTo>
                <a:cubicBezTo>
                  <a:pt x="68" y="391"/>
                  <a:pt x="66" y="381"/>
                  <a:pt x="65" y="375"/>
                </a:cubicBezTo>
                <a:cubicBezTo>
                  <a:pt x="65" y="375"/>
                  <a:pt x="65" y="374"/>
                  <a:pt x="65" y="374"/>
                </a:cubicBezTo>
                <a:cubicBezTo>
                  <a:pt x="65" y="374"/>
                  <a:pt x="65" y="374"/>
                  <a:pt x="66" y="374"/>
                </a:cubicBezTo>
                <a:cubicBezTo>
                  <a:pt x="66" y="374"/>
                  <a:pt x="66" y="375"/>
                  <a:pt x="66" y="375"/>
                </a:cubicBezTo>
                <a:cubicBezTo>
                  <a:pt x="66" y="374"/>
                  <a:pt x="66" y="373"/>
                  <a:pt x="66" y="371"/>
                </a:cubicBezTo>
                <a:cubicBezTo>
                  <a:pt x="65" y="371"/>
                  <a:pt x="64" y="370"/>
                  <a:pt x="64" y="370"/>
                </a:cubicBezTo>
                <a:cubicBezTo>
                  <a:pt x="64" y="369"/>
                  <a:pt x="65" y="369"/>
                  <a:pt x="65" y="369"/>
                </a:cubicBezTo>
                <a:cubicBezTo>
                  <a:pt x="64" y="368"/>
                  <a:pt x="64" y="368"/>
                  <a:pt x="63" y="367"/>
                </a:cubicBezTo>
                <a:cubicBezTo>
                  <a:pt x="62" y="366"/>
                  <a:pt x="62" y="364"/>
                  <a:pt x="62" y="362"/>
                </a:cubicBezTo>
                <a:cubicBezTo>
                  <a:pt x="61" y="361"/>
                  <a:pt x="60" y="359"/>
                  <a:pt x="58" y="357"/>
                </a:cubicBezTo>
                <a:cubicBezTo>
                  <a:pt x="58" y="357"/>
                  <a:pt x="59" y="357"/>
                  <a:pt x="59" y="356"/>
                </a:cubicBezTo>
                <a:cubicBezTo>
                  <a:pt x="58" y="355"/>
                  <a:pt x="55" y="353"/>
                  <a:pt x="55" y="352"/>
                </a:cubicBezTo>
                <a:cubicBezTo>
                  <a:pt x="55" y="352"/>
                  <a:pt x="55" y="351"/>
                  <a:pt x="55" y="350"/>
                </a:cubicBezTo>
                <a:cubicBezTo>
                  <a:pt x="55" y="348"/>
                  <a:pt x="53" y="347"/>
                  <a:pt x="53" y="345"/>
                </a:cubicBezTo>
                <a:cubicBezTo>
                  <a:pt x="52" y="343"/>
                  <a:pt x="51" y="341"/>
                  <a:pt x="51" y="340"/>
                </a:cubicBezTo>
                <a:cubicBezTo>
                  <a:pt x="51" y="340"/>
                  <a:pt x="51" y="340"/>
                  <a:pt x="51" y="340"/>
                </a:cubicBezTo>
                <a:cubicBezTo>
                  <a:pt x="51" y="339"/>
                  <a:pt x="50" y="339"/>
                  <a:pt x="50" y="338"/>
                </a:cubicBezTo>
                <a:cubicBezTo>
                  <a:pt x="50" y="338"/>
                  <a:pt x="50" y="337"/>
                  <a:pt x="50" y="337"/>
                </a:cubicBezTo>
                <a:cubicBezTo>
                  <a:pt x="50" y="336"/>
                  <a:pt x="49" y="336"/>
                  <a:pt x="49" y="336"/>
                </a:cubicBezTo>
                <a:cubicBezTo>
                  <a:pt x="49" y="335"/>
                  <a:pt x="50" y="335"/>
                  <a:pt x="49" y="334"/>
                </a:cubicBezTo>
                <a:cubicBezTo>
                  <a:pt x="49" y="334"/>
                  <a:pt x="48" y="334"/>
                  <a:pt x="48" y="333"/>
                </a:cubicBezTo>
                <a:cubicBezTo>
                  <a:pt x="48" y="333"/>
                  <a:pt x="48" y="332"/>
                  <a:pt x="48" y="332"/>
                </a:cubicBezTo>
                <a:cubicBezTo>
                  <a:pt x="48" y="331"/>
                  <a:pt x="47" y="331"/>
                  <a:pt x="46" y="330"/>
                </a:cubicBezTo>
                <a:cubicBezTo>
                  <a:pt x="45" y="329"/>
                  <a:pt x="46" y="327"/>
                  <a:pt x="45" y="326"/>
                </a:cubicBezTo>
                <a:cubicBezTo>
                  <a:pt x="42" y="323"/>
                  <a:pt x="41" y="319"/>
                  <a:pt x="38" y="315"/>
                </a:cubicBezTo>
                <a:cubicBezTo>
                  <a:pt x="37" y="312"/>
                  <a:pt x="35" y="309"/>
                  <a:pt x="34" y="306"/>
                </a:cubicBezTo>
                <a:cubicBezTo>
                  <a:pt x="34" y="306"/>
                  <a:pt x="34" y="307"/>
                  <a:pt x="33" y="307"/>
                </a:cubicBezTo>
                <a:cubicBezTo>
                  <a:pt x="33" y="310"/>
                  <a:pt x="29" y="311"/>
                  <a:pt x="29" y="312"/>
                </a:cubicBezTo>
                <a:cubicBezTo>
                  <a:pt x="29" y="313"/>
                  <a:pt x="30" y="314"/>
                  <a:pt x="30" y="314"/>
                </a:cubicBezTo>
                <a:cubicBezTo>
                  <a:pt x="30" y="314"/>
                  <a:pt x="30" y="314"/>
                  <a:pt x="30" y="314"/>
                </a:cubicBezTo>
                <a:cubicBezTo>
                  <a:pt x="30" y="314"/>
                  <a:pt x="30" y="314"/>
                  <a:pt x="30" y="315"/>
                </a:cubicBezTo>
                <a:cubicBezTo>
                  <a:pt x="31" y="316"/>
                  <a:pt x="32" y="316"/>
                  <a:pt x="32" y="317"/>
                </a:cubicBezTo>
                <a:cubicBezTo>
                  <a:pt x="33" y="319"/>
                  <a:pt x="32" y="319"/>
                  <a:pt x="32" y="320"/>
                </a:cubicBezTo>
                <a:cubicBezTo>
                  <a:pt x="32" y="320"/>
                  <a:pt x="32" y="320"/>
                  <a:pt x="32" y="320"/>
                </a:cubicBezTo>
                <a:cubicBezTo>
                  <a:pt x="32" y="321"/>
                  <a:pt x="33" y="321"/>
                  <a:pt x="33" y="321"/>
                </a:cubicBezTo>
                <a:cubicBezTo>
                  <a:pt x="34" y="322"/>
                  <a:pt x="34" y="326"/>
                  <a:pt x="33" y="327"/>
                </a:cubicBezTo>
                <a:cubicBezTo>
                  <a:pt x="33" y="327"/>
                  <a:pt x="32" y="326"/>
                  <a:pt x="31" y="325"/>
                </a:cubicBezTo>
                <a:cubicBezTo>
                  <a:pt x="31" y="325"/>
                  <a:pt x="31" y="326"/>
                  <a:pt x="31" y="326"/>
                </a:cubicBezTo>
                <a:cubicBezTo>
                  <a:pt x="31" y="327"/>
                  <a:pt x="31" y="328"/>
                  <a:pt x="31" y="328"/>
                </a:cubicBezTo>
                <a:cubicBezTo>
                  <a:pt x="30" y="334"/>
                  <a:pt x="27" y="336"/>
                  <a:pt x="24" y="332"/>
                </a:cubicBezTo>
                <a:cubicBezTo>
                  <a:pt x="22" y="330"/>
                  <a:pt x="23" y="321"/>
                  <a:pt x="28" y="321"/>
                </a:cubicBezTo>
                <a:cubicBezTo>
                  <a:pt x="30" y="322"/>
                  <a:pt x="29" y="322"/>
                  <a:pt x="28" y="320"/>
                </a:cubicBezTo>
                <a:cubicBezTo>
                  <a:pt x="27" y="317"/>
                  <a:pt x="29" y="315"/>
                  <a:pt x="27" y="314"/>
                </a:cubicBezTo>
                <a:cubicBezTo>
                  <a:pt x="22" y="311"/>
                  <a:pt x="22" y="308"/>
                  <a:pt x="24" y="304"/>
                </a:cubicBezTo>
                <a:cubicBezTo>
                  <a:pt x="22" y="304"/>
                  <a:pt x="23" y="301"/>
                  <a:pt x="23" y="300"/>
                </a:cubicBezTo>
                <a:cubicBezTo>
                  <a:pt x="23" y="300"/>
                  <a:pt x="22" y="299"/>
                  <a:pt x="23" y="299"/>
                </a:cubicBezTo>
                <a:cubicBezTo>
                  <a:pt x="24" y="298"/>
                  <a:pt x="25" y="298"/>
                  <a:pt x="25" y="299"/>
                </a:cubicBezTo>
                <a:cubicBezTo>
                  <a:pt x="26" y="298"/>
                  <a:pt x="27" y="298"/>
                  <a:pt x="29" y="298"/>
                </a:cubicBezTo>
                <a:cubicBezTo>
                  <a:pt x="30" y="298"/>
                  <a:pt x="31" y="298"/>
                  <a:pt x="31" y="299"/>
                </a:cubicBezTo>
                <a:cubicBezTo>
                  <a:pt x="31" y="298"/>
                  <a:pt x="31" y="298"/>
                  <a:pt x="31" y="298"/>
                </a:cubicBezTo>
                <a:cubicBezTo>
                  <a:pt x="30" y="296"/>
                  <a:pt x="31" y="294"/>
                  <a:pt x="30" y="293"/>
                </a:cubicBezTo>
                <a:cubicBezTo>
                  <a:pt x="30" y="291"/>
                  <a:pt x="29" y="291"/>
                  <a:pt x="28" y="289"/>
                </a:cubicBezTo>
                <a:cubicBezTo>
                  <a:pt x="28" y="288"/>
                  <a:pt x="28" y="286"/>
                  <a:pt x="27" y="284"/>
                </a:cubicBezTo>
                <a:cubicBezTo>
                  <a:pt x="27" y="285"/>
                  <a:pt x="26" y="287"/>
                  <a:pt x="26" y="289"/>
                </a:cubicBezTo>
                <a:cubicBezTo>
                  <a:pt x="27" y="286"/>
                  <a:pt x="24" y="287"/>
                  <a:pt x="25" y="288"/>
                </a:cubicBezTo>
                <a:cubicBezTo>
                  <a:pt x="24" y="287"/>
                  <a:pt x="22" y="287"/>
                  <a:pt x="21" y="286"/>
                </a:cubicBezTo>
                <a:cubicBezTo>
                  <a:pt x="21" y="285"/>
                  <a:pt x="21" y="284"/>
                  <a:pt x="22" y="283"/>
                </a:cubicBezTo>
                <a:cubicBezTo>
                  <a:pt x="21" y="283"/>
                  <a:pt x="21" y="281"/>
                  <a:pt x="21" y="281"/>
                </a:cubicBezTo>
                <a:cubicBezTo>
                  <a:pt x="22" y="281"/>
                  <a:pt x="22" y="281"/>
                  <a:pt x="22" y="282"/>
                </a:cubicBezTo>
                <a:cubicBezTo>
                  <a:pt x="23" y="281"/>
                  <a:pt x="24" y="280"/>
                  <a:pt x="25" y="280"/>
                </a:cubicBezTo>
                <a:cubicBezTo>
                  <a:pt x="25" y="279"/>
                  <a:pt x="24" y="278"/>
                  <a:pt x="24" y="277"/>
                </a:cubicBezTo>
                <a:cubicBezTo>
                  <a:pt x="24" y="278"/>
                  <a:pt x="23" y="278"/>
                  <a:pt x="23" y="279"/>
                </a:cubicBezTo>
                <a:cubicBezTo>
                  <a:pt x="22" y="279"/>
                  <a:pt x="20" y="277"/>
                  <a:pt x="21" y="275"/>
                </a:cubicBezTo>
                <a:cubicBezTo>
                  <a:pt x="19" y="275"/>
                  <a:pt x="19" y="273"/>
                  <a:pt x="19" y="271"/>
                </a:cubicBezTo>
                <a:cubicBezTo>
                  <a:pt x="18" y="271"/>
                  <a:pt x="17" y="271"/>
                  <a:pt x="16" y="272"/>
                </a:cubicBezTo>
                <a:cubicBezTo>
                  <a:pt x="16" y="272"/>
                  <a:pt x="17" y="273"/>
                  <a:pt x="17" y="273"/>
                </a:cubicBezTo>
                <a:cubicBezTo>
                  <a:pt x="18" y="275"/>
                  <a:pt x="16" y="278"/>
                  <a:pt x="17" y="279"/>
                </a:cubicBezTo>
                <a:cubicBezTo>
                  <a:pt x="17" y="282"/>
                  <a:pt x="15" y="284"/>
                  <a:pt x="14" y="284"/>
                </a:cubicBezTo>
                <a:cubicBezTo>
                  <a:pt x="14" y="285"/>
                  <a:pt x="13" y="285"/>
                  <a:pt x="13" y="285"/>
                </a:cubicBezTo>
                <a:cubicBezTo>
                  <a:pt x="13" y="285"/>
                  <a:pt x="13" y="285"/>
                  <a:pt x="12" y="284"/>
                </a:cubicBezTo>
                <a:cubicBezTo>
                  <a:pt x="12" y="284"/>
                  <a:pt x="12" y="284"/>
                  <a:pt x="12" y="284"/>
                </a:cubicBezTo>
                <a:cubicBezTo>
                  <a:pt x="12" y="284"/>
                  <a:pt x="11" y="284"/>
                  <a:pt x="12" y="283"/>
                </a:cubicBezTo>
                <a:cubicBezTo>
                  <a:pt x="12" y="283"/>
                  <a:pt x="12" y="283"/>
                  <a:pt x="12" y="283"/>
                </a:cubicBezTo>
                <a:cubicBezTo>
                  <a:pt x="12" y="283"/>
                  <a:pt x="12" y="283"/>
                  <a:pt x="12" y="283"/>
                </a:cubicBezTo>
                <a:cubicBezTo>
                  <a:pt x="12" y="282"/>
                  <a:pt x="12" y="280"/>
                  <a:pt x="12" y="278"/>
                </a:cubicBezTo>
                <a:cubicBezTo>
                  <a:pt x="12" y="278"/>
                  <a:pt x="12" y="277"/>
                  <a:pt x="12" y="277"/>
                </a:cubicBezTo>
                <a:cubicBezTo>
                  <a:pt x="12" y="278"/>
                  <a:pt x="12" y="278"/>
                  <a:pt x="11" y="279"/>
                </a:cubicBezTo>
                <a:cubicBezTo>
                  <a:pt x="9" y="282"/>
                  <a:pt x="7" y="277"/>
                  <a:pt x="8" y="276"/>
                </a:cubicBezTo>
                <a:cubicBezTo>
                  <a:pt x="8" y="275"/>
                  <a:pt x="9" y="274"/>
                  <a:pt x="9" y="274"/>
                </a:cubicBezTo>
                <a:cubicBezTo>
                  <a:pt x="10" y="274"/>
                  <a:pt x="10" y="275"/>
                  <a:pt x="10" y="275"/>
                </a:cubicBezTo>
                <a:cubicBezTo>
                  <a:pt x="11" y="275"/>
                  <a:pt x="11" y="275"/>
                  <a:pt x="11" y="276"/>
                </a:cubicBezTo>
                <a:cubicBezTo>
                  <a:pt x="11" y="275"/>
                  <a:pt x="11" y="275"/>
                  <a:pt x="11" y="275"/>
                </a:cubicBezTo>
                <a:cubicBezTo>
                  <a:pt x="11" y="275"/>
                  <a:pt x="10" y="274"/>
                  <a:pt x="10" y="274"/>
                </a:cubicBezTo>
                <a:cubicBezTo>
                  <a:pt x="10" y="274"/>
                  <a:pt x="10" y="273"/>
                  <a:pt x="10" y="272"/>
                </a:cubicBezTo>
                <a:cubicBezTo>
                  <a:pt x="10" y="273"/>
                  <a:pt x="10" y="273"/>
                  <a:pt x="10" y="273"/>
                </a:cubicBezTo>
                <a:cubicBezTo>
                  <a:pt x="10" y="273"/>
                  <a:pt x="9" y="272"/>
                  <a:pt x="9" y="272"/>
                </a:cubicBezTo>
                <a:cubicBezTo>
                  <a:pt x="10" y="271"/>
                  <a:pt x="11" y="271"/>
                  <a:pt x="11" y="272"/>
                </a:cubicBezTo>
                <a:cubicBezTo>
                  <a:pt x="11" y="271"/>
                  <a:pt x="12" y="270"/>
                  <a:pt x="13" y="269"/>
                </a:cubicBezTo>
                <a:cubicBezTo>
                  <a:pt x="12" y="266"/>
                  <a:pt x="11" y="263"/>
                  <a:pt x="9" y="262"/>
                </a:cubicBezTo>
                <a:cubicBezTo>
                  <a:pt x="9" y="262"/>
                  <a:pt x="8" y="262"/>
                  <a:pt x="7" y="263"/>
                </a:cubicBezTo>
                <a:cubicBezTo>
                  <a:pt x="7" y="263"/>
                  <a:pt x="7" y="263"/>
                  <a:pt x="7" y="263"/>
                </a:cubicBezTo>
                <a:cubicBezTo>
                  <a:pt x="6" y="263"/>
                  <a:pt x="6" y="263"/>
                  <a:pt x="6" y="262"/>
                </a:cubicBezTo>
                <a:cubicBezTo>
                  <a:pt x="6" y="262"/>
                  <a:pt x="7" y="257"/>
                  <a:pt x="9" y="260"/>
                </a:cubicBezTo>
                <a:cubicBezTo>
                  <a:pt x="9" y="260"/>
                  <a:pt x="8" y="261"/>
                  <a:pt x="8" y="261"/>
                </a:cubicBezTo>
                <a:cubicBezTo>
                  <a:pt x="11" y="263"/>
                  <a:pt x="10" y="259"/>
                  <a:pt x="10" y="256"/>
                </a:cubicBezTo>
                <a:cubicBezTo>
                  <a:pt x="11" y="254"/>
                  <a:pt x="12" y="252"/>
                  <a:pt x="13" y="250"/>
                </a:cubicBezTo>
                <a:cubicBezTo>
                  <a:pt x="13" y="250"/>
                  <a:pt x="11" y="245"/>
                  <a:pt x="10" y="243"/>
                </a:cubicBezTo>
                <a:cubicBezTo>
                  <a:pt x="10" y="242"/>
                  <a:pt x="9" y="241"/>
                  <a:pt x="9" y="240"/>
                </a:cubicBezTo>
                <a:cubicBezTo>
                  <a:pt x="9" y="240"/>
                  <a:pt x="9" y="240"/>
                  <a:pt x="9" y="240"/>
                </a:cubicBezTo>
                <a:cubicBezTo>
                  <a:pt x="8" y="239"/>
                  <a:pt x="8" y="239"/>
                  <a:pt x="8" y="239"/>
                </a:cubicBezTo>
                <a:cubicBezTo>
                  <a:pt x="8" y="239"/>
                  <a:pt x="8" y="239"/>
                  <a:pt x="8" y="239"/>
                </a:cubicBezTo>
                <a:cubicBezTo>
                  <a:pt x="8" y="240"/>
                  <a:pt x="8" y="240"/>
                  <a:pt x="7" y="240"/>
                </a:cubicBezTo>
                <a:cubicBezTo>
                  <a:pt x="8" y="240"/>
                  <a:pt x="8" y="238"/>
                  <a:pt x="8" y="237"/>
                </a:cubicBezTo>
                <a:cubicBezTo>
                  <a:pt x="7" y="237"/>
                  <a:pt x="7" y="237"/>
                  <a:pt x="7" y="236"/>
                </a:cubicBezTo>
                <a:cubicBezTo>
                  <a:pt x="7" y="236"/>
                  <a:pt x="7" y="236"/>
                  <a:pt x="7" y="236"/>
                </a:cubicBezTo>
                <a:cubicBezTo>
                  <a:pt x="7" y="236"/>
                  <a:pt x="7" y="236"/>
                  <a:pt x="7" y="235"/>
                </a:cubicBezTo>
                <a:cubicBezTo>
                  <a:pt x="7" y="234"/>
                  <a:pt x="6" y="234"/>
                  <a:pt x="5" y="235"/>
                </a:cubicBezTo>
                <a:cubicBezTo>
                  <a:pt x="6" y="234"/>
                  <a:pt x="5" y="239"/>
                  <a:pt x="4" y="238"/>
                </a:cubicBezTo>
                <a:cubicBezTo>
                  <a:pt x="4" y="238"/>
                  <a:pt x="4" y="235"/>
                  <a:pt x="4" y="233"/>
                </a:cubicBezTo>
                <a:cubicBezTo>
                  <a:pt x="4" y="233"/>
                  <a:pt x="3" y="233"/>
                  <a:pt x="3" y="233"/>
                </a:cubicBezTo>
                <a:cubicBezTo>
                  <a:pt x="3" y="236"/>
                  <a:pt x="3" y="234"/>
                  <a:pt x="2" y="233"/>
                </a:cubicBezTo>
                <a:cubicBezTo>
                  <a:pt x="2" y="233"/>
                  <a:pt x="2" y="233"/>
                  <a:pt x="1" y="233"/>
                </a:cubicBezTo>
                <a:cubicBezTo>
                  <a:pt x="1" y="233"/>
                  <a:pt x="1" y="234"/>
                  <a:pt x="1" y="234"/>
                </a:cubicBezTo>
                <a:cubicBezTo>
                  <a:pt x="1" y="272"/>
                  <a:pt x="1" y="272"/>
                  <a:pt x="1" y="272"/>
                </a:cubicBezTo>
                <a:cubicBezTo>
                  <a:pt x="1" y="273"/>
                  <a:pt x="2" y="274"/>
                  <a:pt x="1" y="275"/>
                </a:cubicBezTo>
                <a:cubicBezTo>
                  <a:pt x="1" y="275"/>
                  <a:pt x="1" y="275"/>
                  <a:pt x="1" y="275"/>
                </a:cubicBezTo>
                <a:cubicBezTo>
                  <a:pt x="1" y="359"/>
                  <a:pt x="1" y="359"/>
                  <a:pt x="1" y="359"/>
                </a:cubicBezTo>
                <a:cubicBezTo>
                  <a:pt x="1" y="359"/>
                  <a:pt x="1" y="359"/>
                  <a:pt x="1" y="359"/>
                </a:cubicBezTo>
                <a:cubicBezTo>
                  <a:pt x="7" y="360"/>
                  <a:pt x="4" y="368"/>
                  <a:pt x="1" y="371"/>
                </a:cubicBezTo>
                <a:cubicBezTo>
                  <a:pt x="1" y="448"/>
                  <a:pt x="1" y="448"/>
                  <a:pt x="1" y="448"/>
                </a:cubicBezTo>
                <a:cubicBezTo>
                  <a:pt x="1" y="448"/>
                  <a:pt x="1" y="449"/>
                  <a:pt x="1" y="451"/>
                </a:cubicBezTo>
                <a:cubicBezTo>
                  <a:pt x="1" y="588"/>
                  <a:pt x="1" y="588"/>
                  <a:pt x="1" y="588"/>
                </a:cubicBezTo>
                <a:cubicBezTo>
                  <a:pt x="302" y="762"/>
                  <a:pt x="302" y="762"/>
                  <a:pt x="302" y="762"/>
                </a:cubicBezTo>
                <a:cubicBezTo>
                  <a:pt x="305" y="760"/>
                  <a:pt x="299" y="759"/>
                  <a:pt x="298" y="758"/>
                </a:cubicBezTo>
                <a:close/>
                <a:moveTo>
                  <a:pt x="435" y="727"/>
                </a:moveTo>
                <a:cubicBezTo>
                  <a:pt x="435" y="728"/>
                  <a:pt x="433" y="728"/>
                  <a:pt x="432" y="727"/>
                </a:cubicBezTo>
                <a:cubicBezTo>
                  <a:pt x="432" y="726"/>
                  <a:pt x="434" y="725"/>
                  <a:pt x="435" y="727"/>
                </a:cubicBezTo>
                <a:close/>
                <a:moveTo>
                  <a:pt x="442" y="708"/>
                </a:moveTo>
                <a:cubicBezTo>
                  <a:pt x="440" y="708"/>
                  <a:pt x="440" y="706"/>
                  <a:pt x="442" y="708"/>
                </a:cubicBezTo>
                <a:close/>
                <a:moveTo>
                  <a:pt x="440" y="704"/>
                </a:moveTo>
                <a:cubicBezTo>
                  <a:pt x="439" y="704"/>
                  <a:pt x="439" y="702"/>
                  <a:pt x="440" y="704"/>
                </a:cubicBezTo>
                <a:close/>
                <a:moveTo>
                  <a:pt x="507" y="674"/>
                </a:moveTo>
                <a:cubicBezTo>
                  <a:pt x="509" y="673"/>
                  <a:pt x="509" y="676"/>
                  <a:pt x="507" y="674"/>
                </a:cubicBezTo>
                <a:close/>
                <a:moveTo>
                  <a:pt x="501" y="668"/>
                </a:moveTo>
                <a:cubicBezTo>
                  <a:pt x="502" y="670"/>
                  <a:pt x="499" y="669"/>
                  <a:pt x="499" y="668"/>
                </a:cubicBezTo>
                <a:cubicBezTo>
                  <a:pt x="499" y="667"/>
                  <a:pt x="501" y="667"/>
                  <a:pt x="501" y="668"/>
                </a:cubicBezTo>
                <a:close/>
                <a:moveTo>
                  <a:pt x="500" y="675"/>
                </a:moveTo>
                <a:cubicBezTo>
                  <a:pt x="499" y="676"/>
                  <a:pt x="498" y="674"/>
                  <a:pt x="498" y="674"/>
                </a:cubicBezTo>
                <a:cubicBezTo>
                  <a:pt x="499" y="674"/>
                  <a:pt x="499" y="675"/>
                  <a:pt x="500" y="675"/>
                </a:cubicBezTo>
                <a:close/>
                <a:moveTo>
                  <a:pt x="510" y="641"/>
                </a:moveTo>
                <a:cubicBezTo>
                  <a:pt x="510" y="641"/>
                  <a:pt x="511" y="641"/>
                  <a:pt x="511" y="641"/>
                </a:cubicBezTo>
                <a:cubicBezTo>
                  <a:pt x="513" y="643"/>
                  <a:pt x="509" y="642"/>
                  <a:pt x="510" y="641"/>
                </a:cubicBezTo>
                <a:close/>
                <a:moveTo>
                  <a:pt x="509" y="646"/>
                </a:moveTo>
                <a:cubicBezTo>
                  <a:pt x="510" y="648"/>
                  <a:pt x="507" y="646"/>
                  <a:pt x="508" y="645"/>
                </a:cubicBezTo>
                <a:cubicBezTo>
                  <a:pt x="509" y="645"/>
                  <a:pt x="509" y="646"/>
                  <a:pt x="509" y="646"/>
                </a:cubicBezTo>
                <a:close/>
                <a:moveTo>
                  <a:pt x="508" y="643"/>
                </a:moveTo>
                <a:cubicBezTo>
                  <a:pt x="509" y="642"/>
                  <a:pt x="509" y="643"/>
                  <a:pt x="509" y="644"/>
                </a:cubicBezTo>
                <a:cubicBezTo>
                  <a:pt x="510" y="645"/>
                  <a:pt x="507" y="644"/>
                  <a:pt x="508" y="643"/>
                </a:cubicBezTo>
                <a:close/>
                <a:moveTo>
                  <a:pt x="500" y="642"/>
                </a:moveTo>
                <a:cubicBezTo>
                  <a:pt x="500" y="642"/>
                  <a:pt x="502" y="645"/>
                  <a:pt x="502" y="646"/>
                </a:cubicBezTo>
                <a:cubicBezTo>
                  <a:pt x="501" y="651"/>
                  <a:pt x="497" y="643"/>
                  <a:pt x="500" y="642"/>
                </a:cubicBezTo>
                <a:close/>
                <a:moveTo>
                  <a:pt x="498" y="644"/>
                </a:moveTo>
                <a:cubicBezTo>
                  <a:pt x="498" y="644"/>
                  <a:pt x="498" y="644"/>
                  <a:pt x="498" y="644"/>
                </a:cubicBezTo>
                <a:cubicBezTo>
                  <a:pt x="498" y="644"/>
                  <a:pt x="496" y="644"/>
                  <a:pt x="498" y="644"/>
                </a:cubicBezTo>
                <a:close/>
                <a:moveTo>
                  <a:pt x="495" y="636"/>
                </a:moveTo>
                <a:cubicBezTo>
                  <a:pt x="496" y="635"/>
                  <a:pt x="497" y="638"/>
                  <a:pt x="495" y="636"/>
                </a:cubicBezTo>
                <a:close/>
                <a:moveTo>
                  <a:pt x="495" y="637"/>
                </a:moveTo>
                <a:cubicBezTo>
                  <a:pt x="496" y="637"/>
                  <a:pt x="496" y="638"/>
                  <a:pt x="496" y="638"/>
                </a:cubicBezTo>
                <a:cubicBezTo>
                  <a:pt x="496" y="639"/>
                  <a:pt x="494" y="638"/>
                  <a:pt x="495" y="637"/>
                </a:cubicBezTo>
                <a:close/>
                <a:moveTo>
                  <a:pt x="493" y="642"/>
                </a:moveTo>
                <a:cubicBezTo>
                  <a:pt x="493" y="642"/>
                  <a:pt x="494" y="643"/>
                  <a:pt x="494" y="643"/>
                </a:cubicBezTo>
                <a:cubicBezTo>
                  <a:pt x="494" y="645"/>
                  <a:pt x="492" y="643"/>
                  <a:pt x="493" y="642"/>
                </a:cubicBezTo>
                <a:close/>
                <a:moveTo>
                  <a:pt x="494" y="650"/>
                </a:moveTo>
                <a:cubicBezTo>
                  <a:pt x="494" y="650"/>
                  <a:pt x="493" y="653"/>
                  <a:pt x="492" y="651"/>
                </a:cubicBezTo>
                <a:cubicBezTo>
                  <a:pt x="492" y="650"/>
                  <a:pt x="494" y="648"/>
                  <a:pt x="494" y="650"/>
                </a:cubicBezTo>
                <a:close/>
                <a:moveTo>
                  <a:pt x="498" y="620"/>
                </a:moveTo>
                <a:cubicBezTo>
                  <a:pt x="498" y="620"/>
                  <a:pt x="498" y="620"/>
                  <a:pt x="498" y="620"/>
                </a:cubicBezTo>
                <a:cubicBezTo>
                  <a:pt x="498" y="620"/>
                  <a:pt x="498" y="620"/>
                  <a:pt x="498" y="620"/>
                </a:cubicBezTo>
                <a:cubicBezTo>
                  <a:pt x="498" y="620"/>
                  <a:pt x="498" y="620"/>
                  <a:pt x="498" y="620"/>
                </a:cubicBezTo>
                <a:close/>
                <a:moveTo>
                  <a:pt x="492" y="624"/>
                </a:moveTo>
                <a:cubicBezTo>
                  <a:pt x="493" y="624"/>
                  <a:pt x="493" y="625"/>
                  <a:pt x="492" y="624"/>
                </a:cubicBezTo>
                <a:close/>
                <a:moveTo>
                  <a:pt x="490" y="621"/>
                </a:moveTo>
                <a:cubicBezTo>
                  <a:pt x="491" y="622"/>
                  <a:pt x="490" y="624"/>
                  <a:pt x="489" y="624"/>
                </a:cubicBezTo>
                <a:cubicBezTo>
                  <a:pt x="489" y="623"/>
                  <a:pt x="490" y="621"/>
                  <a:pt x="490" y="621"/>
                </a:cubicBezTo>
                <a:close/>
                <a:moveTo>
                  <a:pt x="489" y="620"/>
                </a:moveTo>
                <a:cubicBezTo>
                  <a:pt x="490" y="620"/>
                  <a:pt x="487" y="619"/>
                  <a:pt x="489" y="620"/>
                </a:cubicBezTo>
                <a:close/>
                <a:moveTo>
                  <a:pt x="485" y="657"/>
                </a:moveTo>
                <a:cubicBezTo>
                  <a:pt x="486" y="656"/>
                  <a:pt x="487" y="657"/>
                  <a:pt x="487" y="657"/>
                </a:cubicBezTo>
                <a:cubicBezTo>
                  <a:pt x="488" y="659"/>
                  <a:pt x="484" y="658"/>
                  <a:pt x="485" y="657"/>
                </a:cubicBezTo>
                <a:close/>
                <a:moveTo>
                  <a:pt x="485" y="644"/>
                </a:moveTo>
                <a:cubicBezTo>
                  <a:pt x="489" y="644"/>
                  <a:pt x="487" y="647"/>
                  <a:pt x="485" y="644"/>
                </a:cubicBezTo>
                <a:close/>
                <a:moveTo>
                  <a:pt x="484" y="637"/>
                </a:moveTo>
                <a:cubicBezTo>
                  <a:pt x="485" y="636"/>
                  <a:pt x="486" y="637"/>
                  <a:pt x="486" y="637"/>
                </a:cubicBezTo>
                <a:cubicBezTo>
                  <a:pt x="486" y="639"/>
                  <a:pt x="484" y="637"/>
                  <a:pt x="484" y="637"/>
                </a:cubicBezTo>
                <a:close/>
                <a:moveTo>
                  <a:pt x="536" y="658"/>
                </a:moveTo>
                <a:cubicBezTo>
                  <a:pt x="533" y="660"/>
                  <a:pt x="529" y="656"/>
                  <a:pt x="530" y="654"/>
                </a:cubicBezTo>
                <a:cubicBezTo>
                  <a:pt x="531" y="652"/>
                  <a:pt x="537" y="654"/>
                  <a:pt x="538" y="655"/>
                </a:cubicBezTo>
                <a:cubicBezTo>
                  <a:pt x="538" y="655"/>
                  <a:pt x="536" y="658"/>
                  <a:pt x="536" y="658"/>
                </a:cubicBezTo>
                <a:close/>
                <a:moveTo>
                  <a:pt x="555" y="657"/>
                </a:moveTo>
                <a:cubicBezTo>
                  <a:pt x="553" y="657"/>
                  <a:pt x="556" y="658"/>
                  <a:pt x="555" y="657"/>
                </a:cubicBezTo>
                <a:close/>
                <a:moveTo>
                  <a:pt x="551" y="654"/>
                </a:moveTo>
                <a:cubicBezTo>
                  <a:pt x="551" y="654"/>
                  <a:pt x="552" y="654"/>
                  <a:pt x="552" y="654"/>
                </a:cubicBezTo>
                <a:cubicBezTo>
                  <a:pt x="553" y="656"/>
                  <a:pt x="549" y="655"/>
                  <a:pt x="551" y="654"/>
                </a:cubicBezTo>
                <a:close/>
                <a:moveTo>
                  <a:pt x="550" y="653"/>
                </a:moveTo>
                <a:cubicBezTo>
                  <a:pt x="550" y="653"/>
                  <a:pt x="550" y="654"/>
                  <a:pt x="549" y="654"/>
                </a:cubicBezTo>
                <a:cubicBezTo>
                  <a:pt x="549" y="653"/>
                  <a:pt x="550" y="653"/>
                  <a:pt x="550" y="653"/>
                </a:cubicBezTo>
                <a:close/>
                <a:moveTo>
                  <a:pt x="546" y="654"/>
                </a:moveTo>
                <a:cubicBezTo>
                  <a:pt x="547" y="654"/>
                  <a:pt x="548" y="655"/>
                  <a:pt x="547" y="656"/>
                </a:cubicBezTo>
                <a:cubicBezTo>
                  <a:pt x="546" y="656"/>
                  <a:pt x="546" y="654"/>
                  <a:pt x="546" y="654"/>
                </a:cubicBezTo>
                <a:close/>
                <a:moveTo>
                  <a:pt x="543" y="650"/>
                </a:moveTo>
                <a:cubicBezTo>
                  <a:pt x="544" y="649"/>
                  <a:pt x="545" y="650"/>
                  <a:pt x="545" y="650"/>
                </a:cubicBezTo>
                <a:cubicBezTo>
                  <a:pt x="546" y="653"/>
                  <a:pt x="542" y="651"/>
                  <a:pt x="543" y="650"/>
                </a:cubicBezTo>
                <a:close/>
                <a:moveTo>
                  <a:pt x="542" y="658"/>
                </a:moveTo>
                <a:cubicBezTo>
                  <a:pt x="544" y="657"/>
                  <a:pt x="543" y="659"/>
                  <a:pt x="542" y="658"/>
                </a:cubicBezTo>
                <a:close/>
                <a:moveTo>
                  <a:pt x="564" y="640"/>
                </a:moveTo>
                <a:cubicBezTo>
                  <a:pt x="565" y="640"/>
                  <a:pt x="564" y="641"/>
                  <a:pt x="564" y="641"/>
                </a:cubicBezTo>
                <a:cubicBezTo>
                  <a:pt x="564" y="643"/>
                  <a:pt x="562" y="640"/>
                  <a:pt x="564" y="640"/>
                </a:cubicBezTo>
                <a:close/>
                <a:moveTo>
                  <a:pt x="549" y="622"/>
                </a:moveTo>
                <a:cubicBezTo>
                  <a:pt x="549" y="622"/>
                  <a:pt x="549" y="622"/>
                  <a:pt x="549" y="622"/>
                </a:cubicBezTo>
                <a:cubicBezTo>
                  <a:pt x="548" y="621"/>
                  <a:pt x="549" y="622"/>
                  <a:pt x="549" y="622"/>
                </a:cubicBezTo>
                <a:close/>
                <a:moveTo>
                  <a:pt x="541" y="636"/>
                </a:moveTo>
                <a:cubicBezTo>
                  <a:pt x="543" y="634"/>
                  <a:pt x="547" y="636"/>
                  <a:pt x="547" y="638"/>
                </a:cubicBezTo>
                <a:cubicBezTo>
                  <a:pt x="547" y="643"/>
                  <a:pt x="539" y="639"/>
                  <a:pt x="541" y="636"/>
                </a:cubicBezTo>
                <a:close/>
                <a:moveTo>
                  <a:pt x="547" y="620"/>
                </a:moveTo>
                <a:cubicBezTo>
                  <a:pt x="547" y="620"/>
                  <a:pt x="547" y="620"/>
                  <a:pt x="547" y="619"/>
                </a:cubicBezTo>
                <a:cubicBezTo>
                  <a:pt x="546" y="619"/>
                  <a:pt x="546" y="619"/>
                  <a:pt x="546" y="619"/>
                </a:cubicBezTo>
                <a:cubicBezTo>
                  <a:pt x="546" y="619"/>
                  <a:pt x="547" y="620"/>
                  <a:pt x="547" y="620"/>
                </a:cubicBezTo>
                <a:close/>
                <a:moveTo>
                  <a:pt x="546" y="630"/>
                </a:moveTo>
                <a:cubicBezTo>
                  <a:pt x="547" y="633"/>
                  <a:pt x="544" y="631"/>
                  <a:pt x="543" y="630"/>
                </a:cubicBezTo>
                <a:cubicBezTo>
                  <a:pt x="543" y="629"/>
                  <a:pt x="546" y="629"/>
                  <a:pt x="546" y="630"/>
                </a:cubicBezTo>
                <a:close/>
                <a:moveTo>
                  <a:pt x="541" y="625"/>
                </a:moveTo>
                <a:cubicBezTo>
                  <a:pt x="542" y="625"/>
                  <a:pt x="542" y="626"/>
                  <a:pt x="542" y="626"/>
                </a:cubicBezTo>
                <a:cubicBezTo>
                  <a:pt x="543" y="628"/>
                  <a:pt x="540" y="626"/>
                  <a:pt x="541" y="625"/>
                </a:cubicBezTo>
                <a:close/>
                <a:moveTo>
                  <a:pt x="537" y="624"/>
                </a:moveTo>
                <a:cubicBezTo>
                  <a:pt x="537" y="624"/>
                  <a:pt x="538" y="625"/>
                  <a:pt x="538" y="625"/>
                </a:cubicBezTo>
                <a:cubicBezTo>
                  <a:pt x="539" y="626"/>
                  <a:pt x="535" y="625"/>
                  <a:pt x="537" y="624"/>
                </a:cubicBezTo>
                <a:close/>
                <a:moveTo>
                  <a:pt x="546" y="599"/>
                </a:moveTo>
                <a:cubicBezTo>
                  <a:pt x="547" y="598"/>
                  <a:pt x="547" y="601"/>
                  <a:pt x="546" y="599"/>
                </a:cubicBezTo>
                <a:close/>
                <a:moveTo>
                  <a:pt x="541" y="575"/>
                </a:moveTo>
                <a:cubicBezTo>
                  <a:pt x="542" y="576"/>
                  <a:pt x="541" y="573"/>
                  <a:pt x="541" y="575"/>
                </a:cubicBezTo>
                <a:close/>
                <a:moveTo>
                  <a:pt x="537" y="591"/>
                </a:moveTo>
                <a:cubicBezTo>
                  <a:pt x="537" y="591"/>
                  <a:pt x="537" y="591"/>
                  <a:pt x="537" y="591"/>
                </a:cubicBezTo>
                <a:cubicBezTo>
                  <a:pt x="535" y="590"/>
                  <a:pt x="539" y="590"/>
                  <a:pt x="537" y="591"/>
                </a:cubicBezTo>
                <a:close/>
                <a:moveTo>
                  <a:pt x="539" y="565"/>
                </a:moveTo>
                <a:cubicBezTo>
                  <a:pt x="539" y="565"/>
                  <a:pt x="539" y="565"/>
                  <a:pt x="539" y="565"/>
                </a:cubicBezTo>
                <a:cubicBezTo>
                  <a:pt x="539" y="564"/>
                  <a:pt x="539" y="563"/>
                  <a:pt x="539" y="565"/>
                </a:cubicBezTo>
                <a:close/>
                <a:moveTo>
                  <a:pt x="565" y="556"/>
                </a:moveTo>
                <a:cubicBezTo>
                  <a:pt x="564" y="557"/>
                  <a:pt x="564" y="555"/>
                  <a:pt x="565" y="556"/>
                </a:cubicBezTo>
                <a:close/>
                <a:moveTo>
                  <a:pt x="562" y="554"/>
                </a:moveTo>
                <a:cubicBezTo>
                  <a:pt x="564" y="554"/>
                  <a:pt x="562" y="555"/>
                  <a:pt x="562" y="554"/>
                </a:cubicBezTo>
                <a:close/>
                <a:moveTo>
                  <a:pt x="559" y="574"/>
                </a:moveTo>
                <a:cubicBezTo>
                  <a:pt x="559" y="574"/>
                  <a:pt x="559" y="574"/>
                  <a:pt x="560" y="574"/>
                </a:cubicBezTo>
                <a:cubicBezTo>
                  <a:pt x="560" y="574"/>
                  <a:pt x="560" y="574"/>
                  <a:pt x="560" y="574"/>
                </a:cubicBezTo>
                <a:cubicBezTo>
                  <a:pt x="560" y="574"/>
                  <a:pt x="560" y="574"/>
                  <a:pt x="560" y="574"/>
                </a:cubicBezTo>
                <a:cubicBezTo>
                  <a:pt x="559" y="574"/>
                  <a:pt x="559" y="574"/>
                  <a:pt x="559" y="573"/>
                </a:cubicBezTo>
                <a:cubicBezTo>
                  <a:pt x="559" y="573"/>
                  <a:pt x="559" y="574"/>
                  <a:pt x="559" y="574"/>
                </a:cubicBezTo>
                <a:close/>
                <a:moveTo>
                  <a:pt x="554" y="557"/>
                </a:moveTo>
                <a:cubicBezTo>
                  <a:pt x="554" y="558"/>
                  <a:pt x="553" y="554"/>
                  <a:pt x="554" y="557"/>
                </a:cubicBezTo>
                <a:close/>
                <a:moveTo>
                  <a:pt x="551" y="572"/>
                </a:moveTo>
                <a:cubicBezTo>
                  <a:pt x="552" y="572"/>
                  <a:pt x="552" y="574"/>
                  <a:pt x="552" y="574"/>
                </a:cubicBezTo>
                <a:cubicBezTo>
                  <a:pt x="552" y="575"/>
                  <a:pt x="551" y="573"/>
                  <a:pt x="551" y="572"/>
                </a:cubicBezTo>
                <a:close/>
                <a:moveTo>
                  <a:pt x="551" y="559"/>
                </a:moveTo>
                <a:cubicBezTo>
                  <a:pt x="551" y="559"/>
                  <a:pt x="552" y="560"/>
                  <a:pt x="551" y="559"/>
                </a:cubicBezTo>
                <a:cubicBezTo>
                  <a:pt x="551" y="559"/>
                  <a:pt x="551" y="559"/>
                  <a:pt x="551" y="559"/>
                </a:cubicBezTo>
                <a:close/>
                <a:moveTo>
                  <a:pt x="552" y="557"/>
                </a:moveTo>
                <a:cubicBezTo>
                  <a:pt x="552" y="558"/>
                  <a:pt x="553" y="559"/>
                  <a:pt x="552" y="559"/>
                </a:cubicBezTo>
                <a:cubicBezTo>
                  <a:pt x="550" y="560"/>
                  <a:pt x="551" y="555"/>
                  <a:pt x="552" y="557"/>
                </a:cubicBezTo>
                <a:close/>
                <a:moveTo>
                  <a:pt x="551" y="551"/>
                </a:moveTo>
                <a:cubicBezTo>
                  <a:pt x="551" y="552"/>
                  <a:pt x="551" y="550"/>
                  <a:pt x="550" y="550"/>
                </a:cubicBezTo>
                <a:cubicBezTo>
                  <a:pt x="551" y="549"/>
                  <a:pt x="551" y="551"/>
                  <a:pt x="551" y="551"/>
                </a:cubicBezTo>
                <a:close/>
                <a:moveTo>
                  <a:pt x="592" y="604"/>
                </a:moveTo>
                <a:cubicBezTo>
                  <a:pt x="592" y="605"/>
                  <a:pt x="593" y="606"/>
                  <a:pt x="593" y="608"/>
                </a:cubicBezTo>
                <a:cubicBezTo>
                  <a:pt x="592" y="607"/>
                  <a:pt x="591" y="606"/>
                  <a:pt x="592" y="604"/>
                </a:cubicBezTo>
                <a:close/>
                <a:moveTo>
                  <a:pt x="595" y="604"/>
                </a:moveTo>
                <a:cubicBezTo>
                  <a:pt x="596" y="606"/>
                  <a:pt x="594" y="603"/>
                  <a:pt x="595" y="604"/>
                </a:cubicBezTo>
                <a:close/>
                <a:moveTo>
                  <a:pt x="606" y="616"/>
                </a:moveTo>
                <a:cubicBezTo>
                  <a:pt x="606" y="616"/>
                  <a:pt x="606" y="617"/>
                  <a:pt x="606" y="617"/>
                </a:cubicBezTo>
                <a:cubicBezTo>
                  <a:pt x="605" y="618"/>
                  <a:pt x="605" y="616"/>
                  <a:pt x="606" y="616"/>
                </a:cubicBezTo>
                <a:close/>
                <a:moveTo>
                  <a:pt x="679" y="480"/>
                </a:moveTo>
                <a:cubicBezTo>
                  <a:pt x="678" y="480"/>
                  <a:pt x="678" y="480"/>
                  <a:pt x="678" y="479"/>
                </a:cubicBezTo>
                <a:cubicBezTo>
                  <a:pt x="678" y="478"/>
                  <a:pt x="680" y="480"/>
                  <a:pt x="679" y="480"/>
                </a:cubicBezTo>
                <a:close/>
                <a:moveTo>
                  <a:pt x="663" y="546"/>
                </a:moveTo>
                <a:cubicBezTo>
                  <a:pt x="664" y="544"/>
                  <a:pt x="665" y="546"/>
                  <a:pt x="666" y="547"/>
                </a:cubicBezTo>
                <a:cubicBezTo>
                  <a:pt x="666" y="550"/>
                  <a:pt x="661" y="548"/>
                  <a:pt x="663" y="546"/>
                </a:cubicBezTo>
                <a:close/>
                <a:moveTo>
                  <a:pt x="668" y="558"/>
                </a:moveTo>
                <a:cubicBezTo>
                  <a:pt x="668" y="558"/>
                  <a:pt x="668" y="558"/>
                  <a:pt x="667" y="558"/>
                </a:cubicBezTo>
                <a:cubicBezTo>
                  <a:pt x="664" y="557"/>
                  <a:pt x="669" y="555"/>
                  <a:pt x="668" y="558"/>
                </a:cubicBezTo>
                <a:close/>
                <a:moveTo>
                  <a:pt x="668" y="529"/>
                </a:moveTo>
                <a:cubicBezTo>
                  <a:pt x="669" y="528"/>
                  <a:pt x="669" y="529"/>
                  <a:pt x="670" y="529"/>
                </a:cubicBezTo>
                <a:cubicBezTo>
                  <a:pt x="670" y="531"/>
                  <a:pt x="667" y="530"/>
                  <a:pt x="668" y="529"/>
                </a:cubicBezTo>
                <a:close/>
                <a:moveTo>
                  <a:pt x="671" y="547"/>
                </a:moveTo>
                <a:cubicBezTo>
                  <a:pt x="670" y="546"/>
                  <a:pt x="670" y="545"/>
                  <a:pt x="671" y="545"/>
                </a:cubicBezTo>
                <a:cubicBezTo>
                  <a:pt x="671" y="545"/>
                  <a:pt x="673" y="547"/>
                  <a:pt x="671" y="547"/>
                </a:cubicBezTo>
                <a:close/>
                <a:moveTo>
                  <a:pt x="674" y="539"/>
                </a:moveTo>
                <a:cubicBezTo>
                  <a:pt x="674" y="540"/>
                  <a:pt x="675" y="541"/>
                  <a:pt x="674" y="541"/>
                </a:cubicBezTo>
                <a:cubicBezTo>
                  <a:pt x="672" y="541"/>
                  <a:pt x="674" y="537"/>
                  <a:pt x="674" y="539"/>
                </a:cubicBezTo>
                <a:close/>
                <a:moveTo>
                  <a:pt x="674" y="500"/>
                </a:moveTo>
                <a:cubicBezTo>
                  <a:pt x="675" y="501"/>
                  <a:pt x="673" y="501"/>
                  <a:pt x="674" y="500"/>
                </a:cubicBezTo>
                <a:close/>
                <a:moveTo>
                  <a:pt x="674" y="542"/>
                </a:moveTo>
                <a:cubicBezTo>
                  <a:pt x="674" y="542"/>
                  <a:pt x="674" y="543"/>
                  <a:pt x="674" y="544"/>
                </a:cubicBezTo>
                <a:cubicBezTo>
                  <a:pt x="674" y="544"/>
                  <a:pt x="675" y="544"/>
                  <a:pt x="674" y="545"/>
                </a:cubicBezTo>
                <a:cubicBezTo>
                  <a:pt x="674" y="545"/>
                  <a:pt x="674" y="545"/>
                  <a:pt x="674" y="545"/>
                </a:cubicBezTo>
                <a:cubicBezTo>
                  <a:pt x="674" y="546"/>
                  <a:pt x="674" y="547"/>
                  <a:pt x="674" y="549"/>
                </a:cubicBezTo>
                <a:cubicBezTo>
                  <a:pt x="673" y="547"/>
                  <a:pt x="673" y="544"/>
                  <a:pt x="674" y="542"/>
                </a:cubicBezTo>
                <a:close/>
                <a:moveTo>
                  <a:pt x="676" y="552"/>
                </a:moveTo>
                <a:cubicBezTo>
                  <a:pt x="676" y="553"/>
                  <a:pt x="676" y="553"/>
                  <a:pt x="676" y="553"/>
                </a:cubicBezTo>
                <a:cubicBezTo>
                  <a:pt x="675" y="554"/>
                  <a:pt x="675" y="551"/>
                  <a:pt x="676" y="552"/>
                </a:cubicBezTo>
                <a:close/>
                <a:moveTo>
                  <a:pt x="675" y="516"/>
                </a:moveTo>
                <a:cubicBezTo>
                  <a:pt x="676" y="516"/>
                  <a:pt x="676" y="517"/>
                  <a:pt x="676" y="517"/>
                </a:cubicBezTo>
                <a:cubicBezTo>
                  <a:pt x="677" y="519"/>
                  <a:pt x="674" y="517"/>
                  <a:pt x="675" y="516"/>
                </a:cubicBezTo>
                <a:close/>
                <a:moveTo>
                  <a:pt x="674" y="502"/>
                </a:moveTo>
                <a:cubicBezTo>
                  <a:pt x="675" y="502"/>
                  <a:pt x="676" y="504"/>
                  <a:pt x="676" y="505"/>
                </a:cubicBezTo>
                <a:cubicBezTo>
                  <a:pt x="675" y="505"/>
                  <a:pt x="675" y="503"/>
                  <a:pt x="674" y="502"/>
                </a:cubicBezTo>
                <a:close/>
                <a:moveTo>
                  <a:pt x="675" y="481"/>
                </a:moveTo>
                <a:cubicBezTo>
                  <a:pt x="674" y="481"/>
                  <a:pt x="674" y="480"/>
                  <a:pt x="674" y="480"/>
                </a:cubicBezTo>
                <a:cubicBezTo>
                  <a:pt x="675" y="479"/>
                  <a:pt x="675" y="480"/>
                  <a:pt x="675" y="481"/>
                </a:cubicBezTo>
                <a:close/>
                <a:moveTo>
                  <a:pt x="672" y="412"/>
                </a:moveTo>
                <a:cubicBezTo>
                  <a:pt x="675" y="413"/>
                  <a:pt x="672" y="417"/>
                  <a:pt x="670" y="416"/>
                </a:cubicBezTo>
                <a:cubicBezTo>
                  <a:pt x="670" y="416"/>
                  <a:pt x="670" y="411"/>
                  <a:pt x="672" y="412"/>
                </a:cubicBezTo>
                <a:close/>
                <a:moveTo>
                  <a:pt x="668" y="453"/>
                </a:moveTo>
                <a:cubicBezTo>
                  <a:pt x="669" y="453"/>
                  <a:pt x="668" y="454"/>
                  <a:pt x="667" y="453"/>
                </a:cubicBezTo>
                <a:cubicBezTo>
                  <a:pt x="667" y="453"/>
                  <a:pt x="668" y="452"/>
                  <a:pt x="668" y="453"/>
                </a:cubicBezTo>
                <a:close/>
                <a:moveTo>
                  <a:pt x="667" y="446"/>
                </a:moveTo>
                <a:cubicBezTo>
                  <a:pt x="665" y="447"/>
                  <a:pt x="668" y="444"/>
                  <a:pt x="667" y="446"/>
                </a:cubicBezTo>
                <a:close/>
                <a:moveTo>
                  <a:pt x="673" y="492"/>
                </a:moveTo>
                <a:cubicBezTo>
                  <a:pt x="672" y="498"/>
                  <a:pt x="665" y="495"/>
                  <a:pt x="665" y="490"/>
                </a:cubicBezTo>
                <a:cubicBezTo>
                  <a:pt x="665" y="482"/>
                  <a:pt x="674" y="486"/>
                  <a:pt x="673" y="492"/>
                </a:cubicBezTo>
                <a:close/>
                <a:moveTo>
                  <a:pt x="664" y="429"/>
                </a:moveTo>
                <a:cubicBezTo>
                  <a:pt x="665" y="429"/>
                  <a:pt x="665" y="430"/>
                  <a:pt x="664" y="430"/>
                </a:cubicBezTo>
                <a:cubicBezTo>
                  <a:pt x="662" y="430"/>
                  <a:pt x="663" y="427"/>
                  <a:pt x="664" y="429"/>
                </a:cubicBezTo>
                <a:close/>
                <a:moveTo>
                  <a:pt x="663" y="455"/>
                </a:moveTo>
                <a:cubicBezTo>
                  <a:pt x="663" y="455"/>
                  <a:pt x="662" y="456"/>
                  <a:pt x="662" y="456"/>
                </a:cubicBezTo>
                <a:cubicBezTo>
                  <a:pt x="662" y="456"/>
                  <a:pt x="662" y="455"/>
                  <a:pt x="663" y="455"/>
                </a:cubicBezTo>
                <a:close/>
                <a:moveTo>
                  <a:pt x="661" y="411"/>
                </a:moveTo>
                <a:cubicBezTo>
                  <a:pt x="661" y="411"/>
                  <a:pt x="661" y="411"/>
                  <a:pt x="661" y="410"/>
                </a:cubicBezTo>
                <a:cubicBezTo>
                  <a:pt x="661" y="410"/>
                  <a:pt x="661" y="410"/>
                  <a:pt x="661" y="410"/>
                </a:cubicBezTo>
                <a:cubicBezTo>
                  <a:pt x="661" y="410"/>
                  <a:pt x="661" y="411"/>
                  <a:pt x="661" y="411"/>
                </a:cubicBezTo>
                <a:close/>
                <a:moveTo>
                  <a:pt x="633" y="545"/>
                </a:moveTo>
                <a:cubicBezTo>
                  <a:pt x="633" y="545"/>
                  <a:pt x="633" y="545"/>
                  <a:pt x="633" y="545"/>
                </a:cubicBezTo>
                <a:cubicBezTo>
                  <a:pt x="633" y="545"/>
                  <a:pt x="632" y="544"/>
                  <a:pt x="633" y="545"/>
                </a:cubicBezTo>
                <a:close/>
                <a:moveTo>
                  <a:pt x="633" y="509"/>
                </a:moveTo>
                <a:cubicBezTo>
                  <a:pt x="632" y="508"/>
                  <a:pt x="633" y="507"/>
                  <a:pt x="634" y="507"/>
                </a:cubicBezTo>
                <a:cubicBezTo>
                  <a:pt x="635" y="507"/>
                  <a:pt x="635" y="510"/>
                  <a:pt x="633" y="509"/>
                </a:cubicBezTo>
                <a:close/>
                <a:moveTo>
                  <a:pt x="635" y="516"/>
                </a:moveTo>
                <a:cubicBezTo>
                  <a:pt x="634" y="517"/>
                  <a:pt x="634" y="516"/>
                  <a:pt x="634" y="516"/>
                </a:cubicBezTo>
                <a:cubicBezTo>
                  <a:pt x="634" y="515"/>
                  <a:pt x="635" y="516"/>
                  <a:pt x="635" y="516"/>
                </a:cubicBezTo>
                <a:close/>
                <a:moveTo>
                  <a:pt x="637" y="522"/>
                </a:moveTo>
                <a:cubicBezTo>
                  <a:pt x="638" y="522"/>
                  <a:pt x="639" y="528"/>
                  <a:pt x="639" y="529"/>
                </a:cubicBezTo>
                <a:cubicBezTo>
                  <a:pt x="638" y="534"/>
                  <a:pt x="636" y="523"/>
                  <a:pt x="637" y="522"/>
                </a:cubicBezTo>
                <a:close/>
                <a:moveTo>
                  <a:pt x="639" y="541"/>
                </a:moveTo>
                <a:cubicBezTo>
                  <a:pt x="639" y="541"/>
                  <a:pt x="640" y="539"/>
                  <a:pt x="640" y="541"/>
                </a:cubicBezTo>
                <a:cubicBezTo>
                  <a:pt x="640" y="540"/>
                  <a:pt x="640" y="542"/>
                  <a:pt x="639" y="541"/>
                </a:cubicBezTo>
                <a:close/>
                <a:moveTo>
                  <a:pt x="641" y="545"/>
                </a:moveTo>
                <a:cubicBezTo>
                  <a:pt x="638" y="545"/>
                  <a:pt x="640" y="542"/>
                  <a:pt x="642" y="543"/>
                </a:cubicBezTo>
                <a:cubicBezTo>
                  <a:pt x="643" y="543"/>
                  <a:pt x="642" y="546"/>
                  <a:pt x="641" y="545"/>
                </a:cubicBezTo>
                <a:close/>
                <a:moveTo>
                  <a:pt x="652" y="501"/>
                </a:moveTo>
                <a:cubicBezTo>
                  <a:pt x="652" y="501"/>
                  <a:pt x="651" y="499"/>
                  <a:pt x="652" y="500"/>
                </a:cubicBezTo>
                <a:cubicBezTo>
                  <a:pt x="652" y="500"/>
                  <a:pt x="653" y="501"/>
                  <a:pt x="652" y="501"/>
                </a:cubicBezTo>
                <a:close/>
                <a:moveTo>
                  <a:pt x="655" y="533"/>
                </a:moveTo>
                <a:cubicBezTo>
                  <a:pt x="654" y="529"/>
                  <a:pt x="654" y="522"/>
                  <a:pt x="654" y="518"/>
                </a:cubicBezTo>
                <a:cubicBezTo>
                  <a:pt x="654" y="520"/>
                  <a:pt x="654" y="517"/>
                  <a:pt x="654" y="517"/>
                </a:cubicBezTo>
                <a:cubicBezTo>
                  <a:pt x="656" y="517"/>
                  <a:pt x="655" y="519"/>
                  <a:pt x="655" y="521"/>
                </a:cubicBezTo>
                <a:cubicBezTo>
                  <a:pt x="655" y="523"/>
                  <a:pt x="656" y="529"/>
                  <a:pt x="655" y="533"/>
                </a:cubicBezTo>
                <a:close/>
                <a:moveTo>
                  <a:pt x="659" y="476"/>
                </a:moveTo>
                <a:cubicBezTo>
                  <a:pt x="659" y="479"/>
                  <a:pt x="659" y="474"/>
                  <a:pt x="659" y="476"/>
                </a:cubicBezTo>
                <a:close/>
                <a:moveTo>
                  <a:pt x="659" y="479"/>
                </a:moveTo>
                <a:cubicBezTo>
                  <a:pt x="660" y="482"/>
                  <a:pt x="659" y="477"/>
                  <a:pt x="659" y="479"/>
                </a:cubicBezTo>
                <a:close/>
                <a:moveTo>
                  <a:pt x="659" y="492"/>
                </a:moveTo>
                <a:cubicBezTo>
                  <a:pt x="659" y="492"/>
                  <a:pt x="659" y="493"/>
                  <a:pt x="659" y="493"/>
                </a:cubicBezTo>
                <a:cubicBezTo>
                  <a:pt x="660" y="495"/>
                  <a:pt x="658" y="493"/>
                  <a:pt x="659" y="492"/>
                </a:cubicBezTo>
                <a:close/>
                <a:moveTo>
                  <a:pt x="658" y="525"/>
                </a:moveTo>
                <a:cubicBezTo>
                  <a:pt x="659" y="525"/>
                  <a:pt x="659" y="526"/>
                  <a:pt x="658" y="526"/>
                </a:cubicBezTo>
                <a:cubicBezTo>
                  <a:pt x="657" y="526"/>
                  <a:pt x="658" y="525"/>
                  <a:pt x="658" y="525"/>
                </a:cubicBezTo>
                <a:close/>
                <a:moveTo>
                  <a:pt x="655" y="464"/>
                </a:moveTo>
                <a:cubicBezTo>
                  <a:pt x="654" y="464"/>
                  <a:pt x="654" y="461"/>
                  <a:pt x="655" y="461"/>
                </a:cubicBezTo>
                <a:cubicBezTo>
                  <a:pt x="656" y="461"/>
                  <a:pt x="656" y="464"/>
                  <a:pt x="655" y="464"/>
                </a:cubicBezTo>
                <a:close/>
                <a:moveTo>
                  <a:pt x="654" y="423"/>
                </a:moveTo>
                <a:cubicBezTo>
                  <a:pt x="654" y="423"/>
                  <a:pt x="654" y="423"/>
                  <a:pt x="653" y="423"/>
                </a:cubicBezTo>
                <a:cubicBezTo>
                  <a:pt x="653" y="422"/>
                  <a:pt x="653" y="422"/>
                  <a:pt x="653" y="422"/>
                </a:cubicBezTo>
                <a:cubicBezTo>
                  <a:pt x="653" y="422"/>
                  <a:pt x="653" y="423"/>
                  <a:pt x="654" y="423"/>
                </a:cubicBezTo>
                <a:close/>
                <a:moveTo>
                  <a:pt x="655" y="454"/>
                </a:moveTo>
                <a:cubicBezTo>
                  <a:pt x="653" y="452"/>
                  <a:pt x="649" y="448"/>
                  <a:pt x="649" y="445"/>
                </a:cubicBezTo>
                <a:cubicBezTo>
                  <a:pt x="651" y="449"/>
                  <a:pt x="654" y="450"/>
                  <a:pt x="655" y="454"/>
                </a:cubicBezTo>
                <a:close/>
                <a:moveTo>
                  <a:pt x="648" y="439"/>
                </a:moveTo>
                <a:cubicBezTo>
                  <a:pt x="648" y="439"/>
                  <a:pt x="648" y="440"/>
                  <a:pt x="648" y="440"/>
                </a:cubicBezTo>
                <a:cubicBezTo>
                  <a:pt x="647" y="440"/>
                  <a:pt x="647" y="438"/>
                  <a:pt x="648" y="439"/>
                </a:cubicBezTo>
                <a:close/>
                <a:moveTo>
                  <a:pt x="647" y="500"/>
                </a:moveTo>
                <a:cubicBezTo>
                  <a:pt x="648" y="501"/>
                  <a:pt x="648" y="502"/>
                  <a:pt x="647" y="502"/>
                </a:cubicBezTo>
                <a:cubicBezTo>
                  <a:pt x="643" y="503"/>
                  <a:pt x="646" y="496"/>
                  <a:pt x="647" y="500"/>
                </a:cubicBezTo>
                <a:close/>
                <a:moveTo>
                  <a:pt x="646" y="457"/>
                </a:moveTo>
                <a:cubicBezTo>
                  <a:pt x="646" y="457"/>
                  <a:pt x="646" y="458"/>
                  <a:pt x="646" y="458"/>
                </a:cubicBezTo>
                <a:cubicBezTo>
                  <a:pt x="644" y="459"/>
                  <a:pt x="645" y="456"/>
                  <a:pt x="646" y="457"/>
                </a:cubicBezTo>
                <a:close/>
                <a:moveTo>
                  <a:pt x="642" y="405"/>
                </a:moveTo>
                <a:cubicBezTo>
                  <a:pt x="642" y="406"/>
                  <a:pt x="643" y="406"/>
                  <a:pt x="642" y="406"/>
                </a:cubicBezTo>
                <a:cubicBezTo>
                  <a:pt x="642" y="407"/>
                  <a:pt x="642" y="405"/>
                  <a:pt x="642" y="405"/>
                </a:cubicBezTo>
                <a:close/>
                <a:moveTo>
                  <a:pt x="642" y="528"/>
                </a:moveTo>
                <a:cubicBezTo>
                  <a:pt x="645" y="524"/>
                  <a:pt x="650" y="530"/>
                  <a:pt x="651" y="533"/>
                </a:cubicBezTo>
                <a:cubicBezTo>
                  <a:pt x="651" y="543"/>
                  <a:pt x="638" y="533"/>
                  <a:pt x="642" y="528"/>
                </a:cubicBezTo>
                <a:close/>
                <a:moveTo>
                  <a:pt x="641" y="494"/>
                </a:moveTo>
                <a:cubicBezTo>
                  <a:pt x="640" y="493"/>
                  <a:pt x="640" y="491"/>
                  <a:pt x="641" y="490"/>
                </a:cubicBezTo>
                <a:cubicBezTo>
                  <a:pt x="641" y="491"/>
                  <a:pt x="641" y="492"/>
                  <a:pt x="641" y="494"/>
                </a:cubicBezTo>
                <a:close/>
                <a:moveTo>
                  <a:pt x="641" y="488"/>
                </a:moveTo>
                <a:cubicBezTo>
                  <a:pt x="641" y="488"/>
                  <a:pt x="641" y="488"/>
                  <a:pt x="641" y="488"/>
                </a:cubicBezTo>
                <a:cubicBezTo>
                  <a:pt x="641" y="488"/>
                  <a:pt x="641" y="488"/>
                  <a:pt x="641" y="488"/>
                </a:cubicBezTo>
                <a:cubicBezTo>
                  <a:pt x="641" y="488"/>
                  <a:pt x="641" y="488"/>
                  <a:pt x="641" y="488"/>
                </a:cubicBezTo>
                <a:close/>
                <a:moveTo>
                  <a:pt x="641" y="452"/>
                </a:moveTo>
                <a:cubicBezTo>
                  <a:pt x="641" y="452"/>
                  <a:pt x="641" y="452"/>
                  <a:pt x="641" y="452"/>
                </a:cubicBezTo>
                <a:cubicBezTo>
                  <a:pt x="641" y="454"/>
                  <a:pt x="640" y="450"/>
                  <a:pt x="641" y="452"/>
                </a:cubicBezTo>
                <a:close/>
                <a:moveTo>
                  <a:pt x="641" y="478"/>
                </a:moveTo>
                <a:cubicBezTo>
                  <a:pt x="641" y="478"/>
                  <a:pt x="641" y="479"/>
                  <a:pt x="641" y="479"/>
                </a:cubicBezTo>
                <a:cubicBezTo>
                  <a:pt x="641" y="479"/>
                  <a:pt x="641" y="479"/>
                  <a:pt x="641" y="480"/>
                </a:cubicBezTo>
                <a:cubicBezTo>
                  <a:pt x="641" y="480"/>
                  <a:pt x="641" y="481"/>
                  <a:pt x="641" y="480"/>
                </a:cubicBezTo>
                <a:cubicBezTo>
                  <a:pt x="641" y="480"/>
                  <a:pt x="641" y="479"/>
                  <a:pt x="641" y="479"/>
                </a:cubicBezTo>
                <a:cubicBezTo>
                  <a:pt x="641" y="479"/>
                  <a:pt x="641" y="479"/>
                  <a:pt x="641" y="479"/>
                </a:cubicBezTo>
                <a:cubicBezTo>
                  <a:pt x="641" y="479"/>
                  <a:pt x="641" y="478"/>
                  <a:pt x="641" y="478"/>
                </a:cubicBezTo>
                <a:close/>
                <a:moveTo>
                  <a:pt x="641" y="482"/>
                </a:moveTo>
                <a:cubicBezTo>
                  <a:pt x="641" y="483"/>
                  <a:pt x="641" y="485"/>
                  <a:pt x="641" y="487"/>
                </a:cubicBezTo>
                <a:cubicBezTo>
                  <a:pt x="640" y="486"/>
                  <a:pt x="640" y="484"/>
                  <a:pt x="641" y="482"/>
                </a:cubicBezTo>
                <a:close/>
                <a:moveTo>
                  <a:pt x="640" y="442"/>
                </a:moveTo>
                <a:cubicBezTo>
                  <a:pt x="639" y="440"/>
                  <a:pt x="634" y="435"/>
                  <a:pt x="634" y="432"/>
                </a:cubicBezTo>
                <a:cubicBezTo>
                  <a:pt x="636" y="435"/>
                  <a:pt x="639" y="439"/>
                  <a:pt x="640" y="442"/>
                </a:cubicBezTo>
                <a:close/>
                <a:moveTo>
                  <a:pt x="633" y="488"/>
                </a:moveTo>
                <a:cubicBezTo>
                  <a:pt x="634" y="488"/>
                  <a:pt x="634" y="489"/>
                  <a:pt x="634" y="489"/>
                </a:cubicBezTo>
                <a:cubicBezTo>
                  <a:pt x="634" y="492"/>
                  <a:pt x="630" y="488"/>
                  <a:pt x="633" y="488"/>
                </a:cubicBezTo>
                <a:close/>
                <a:moveTo>
                  <a:pt x="633" y="524"/>
                </a:moveTo>
                <a:cubicBezTo>
                  <a:pt x="634" y="524"/>
                  <a:pt x="634" y="526"/>
                  <a:pt x="632" y="526"/>
                </a:cubicBezTo>
                <a:cubicBezTo>
                  <a:pt x="631" y="526"/>
                  <a:pt x="631" y="524"/>
                  <a:pt x="633" y="524"/>
                </a:cubicBezTo>
                <a:close/>
                <a:moveTo>
                  <a:pt x="582" y="488"/>
                </a:moveTo>
                <a:cubicBezTo>
                  <a:pt x="583" y="489"/>
                  <a:pt x="581" y="487"/>
                  <a:pt x="582" y="488"/>
                </a:cubicBezTo>
                <a:close/>
                <a:moveTo>
                  <a:pt x="583" y="573"/>
                </a:moveTo>
                <a:cubicBezTo>
                  <a:pt x="585" y="572"/>
                  <a:pt x="587" y="574"/>
                  <a:pt x="589" y="575"/>
                </a:cubicBezTo>
                <a:cubicBezTo>
                  <a:pt x="587" y="575"/>
                  <a:pt x="585" y="574"/>
                  <a:pt x="583" y="573"/>
                </a:cubicBezTo>
                <a:close/>
                <a:moveTo>
                  <a:pt x="590" y="563"/>
                </a:moveTo>
                <a:cubicBezTo>
                  <a:pt x="591" y="564"/>
                  <a:pt x="590" y="565"/>
                  <a:pt x="590" y="563"/>
                </a:cubicBezTo>
                <a:close/>
                <a:moveTo>
                  <a:pt x="590" y="549"/>
                </a:moveTo>
                <a:cubicBezTo>
                  <a:pt x="588" y="548"/>
                  <a:pt x="590" y="547"/>
                  <a:pt x="590" y="549"/>
                </a:cubicBezTo>
                <a:close/>
                <a:moveTo>
                  <a:pt x="595" y="560"/>
                </a:moveTo>
                <a:cubicBezTo>
                  <a:pt x="594" y="559"/>
                  <a:pt x="594" y="557"/>
                  <a:pt x="595" y="555"/>
                </a:cubicBezTo>
                <a:cubicBezTo>
                  <a:pt x="596" y="556"/>
                  <a:pt x="595" y="558"/>
                  <a:pt x="595" y="560"/>
                </a:cubicBezTo>
                <a:close/>
                <a:moveTo>
                  <a:pt x="603" y="595"/>
                </a:moveTo>
                <a:cubicBezTo>
                  <a:pt x="600" y="596"/>
                  <a:pt x="600" y="592"/>
                  <a:pt x="603" y="595"/>
                </a:cubicBezTo>
                <a:close/>
                <a:moveTo>
                  <a:pt x="607" y="583"/>
                </a:moveTo>
                <a:cubicBezTo>
                  <a:pt x="603" y="584"/>
                  <a:pt x="604" y="579"/>
                  <a:pt x="604" y="577"/>
                </a:cubicBezTo>
                <a:cubicBezTo>
                  <a:pt x="607" y="576"/>
                  <a:pt x="611" y="582"/>
                  <a:pt x="607" y="583"/>
                </a:cubicBezTo>
                <a:close/>
                <a:moveTo>
                  <a:pt x="606" y="564"/>
                </a:moveTo>
                <a:cubicBezTo>
                  <a:pt x="608" y="564"/>
                  <a:pt x="609" y="565"/>
                  <a:pt x="610" y="567"/>
                </a:cubicBezTo>
                <a:cubicBezTo>
                  <a:pt x="610" y="567"/>
                  <a:pt x="610" y="567"/>
                  <a:pt x="610" y="567"/>
                </a:cubicBezTo>
                <a:cubicBezTo>
                  <a:pt x="610" y="567"/>
                  <a:pt x="610" y="567"/>
                  <a:pt x="610" y="567"/>
                </a:cubicBezTo>
                <a:cubicBezTo>
                  <a:pt x="611" y="568"/>
                  <a:pt x="612" y="569"/>
                  <a:pt x="612" y="569"/>
                </a:cubicBezTo>
                <a:cubicBezTo>
                  <a:pt x="613" y="569"/>
                  <a:pt x="613" y="569"/>
                  <a:pt x="613" y="570"/>
                </a:cubicBezTo>
                <a:cubicBezTo>
                  <a:pt x="613" y="570"/>
                  <a:pt x="613" y="570"/>
                  <a:pt x="613" y="570"/>
                </a:cubicBezTo>
                <a:cubicBezTo>
                  <a:pt x="613" y="570"/>
                  <a:pt x="613" y="570"/>
                  <a:pt x="613" y="570"/>
                </a:cubicBezTo>
                <a:cubicBezTo>
                  <a:pt x="613" y="570"/>
                  <a:pt x="613" y="570"/>
                  <a:pt x="613" y="571"/>
                </a:cubicBezTo>
                <a:cubicBezTo>
                  <a:pt x="613" y="570"/>
                  <a:pt x="612" y="570"/>
                  <a:pt x="612" y="570"/>
                </a:cubicBezTo>
                <a:cubicBezTo>
                  <a:pt x="610" y="568"/>
                  <a:pt x="608" y="565"/>
                  <a:pt x="606" y="564"/>
                </a:cubicBezTo>
                <a:close/>
                <a:moveTo>
                  <a:pt x="613" y="568"/>
                </a:moveTo>
                <a:cubicBezTo>
                  <a:pt x="611" y="567"/>
                  <a:pt x="613" y="565"/>
                  <a:pt x="613" y="568"/>
                </a:cubicBezTo>
                <a:close/>
                <a:moveTo>
                  <a:pt x="616" y="579"/>
                </a:moveTo>
                <a:cubicBezTo>
                  <a:pt x="612" y="580"/>
                  <a:pt x="611" y="573"/>
                  <a:pt x="613" y="572"/>
                </a:cubicBezTo>
                <a:cubicBezTo>
                  <a:pt x="616" y="570"/>
                  <a:pt x="618" y="575"/>
                  <a:pt x="618" y="576"/>
                </a:cubicBezTo>
                <a:cubicBezTo>
                  <a:pt x="618" y="578"/>
                  <a:pt x="617" y="579"/>
                  <a:pt x="616" y="579"/>
                </a:cubicBezTo>
                <a:close/>
                <a:moveTo>
                  <a:pt x="615" y="543"/>
                </a:moveTo>
                <a:cubicBezTo>
                  <a:pt x="616" y="543"/>
                  <a:pt x="617" y="543"/>
                  <a:pt x="617" y="544"/>
                </a:cubicBezTo>
                <a:cubicBezTo>
                  <a:pt x="618" y="547"/>
                  <a:pt x="613" y="545"/>
                  <a:pt x="615" y="543"/>
                </a:cubicBezTo>
                <a:close/>
                <a:moveTo>
                  <a:pt x="615" y="515"/>
                </a:moveTo>
                <a:cubicBezTo>
                  <a:pt x="616" y="515"/>
                  <a:pt x="616" y="516"/>
                  <a:pt x="616" y="516"/>
                </a:cubicBezTo>
                <a:cubicBezTo>
                  <a:pt x="617" y="518"/>
                  <a:pt x="614" y="516"/>
                  <a:pt x="615" y="515"/>
                </a:cubicBezTo>
                <a:close/>
                <a:moveTo>
                  <a:pt x="617" y="556"/>
                </a:moveTo>
                <a:cubicBezTo>
                  <a:pt x="617" y="556"/>
                  <a:pt x="617" y="556"/>
                  <a:pt x="617" y="556"/>
                </a:cubicBezTo>
                <a:cubicBezTo>
                  <a:pt x="615" y="555"/>
                  <a:pt x="618" y="555"/>
                  <a:pt x="617" y="556"/>
                </a:cubicBezTo>
                <a:close/>
                <a:moveTo>
                  <a:pt x="618" y="554"/>
                </a:moveTo>
                <a:cubicBezTo>
                  <a:pt x="618" y="553"/>
                  <a:pt x="618" y="555"/>
                  <a:pt x="618" y="555"/>
                </a:cubicBezTo>
                <a:cubicBezTo>
                  <a:pt x="618" y="556"/>
                  <a:pt x="616" y="555"/>
                  <a:pt x="618" y="554"/>
                </a:cubicBezTo>
                <a:close/>
                <a:moveTo>
                  <a:pt x="618" y="537"/>
                </a:moveTo>
                <a:cubicBezTo>
                  <a:pt x="617" y="536"/>
                  <a:pt x="617" y="533"/>
                  <a:pt x="619" y="534"/>
                </a:cubicBezTo>
                <a:cubicBezTo>
                  <a:pt x="620" y="534"/>
                  <a:pt x="620" y="538"/>
                  <a:pt x="618" y="537"/>
                </a:cubicBezTo>
                <a:close/>
                <a:moveTo>
                  <a:pt x="621" y="553"/>
                </a:moveTo>
                <a:cubicBezTo>
                  <a:pt x="619" y="554"/>
                  <a:pt x="620" y="549"/>
                  <a:pt x="621" y="552"/>
                </a:cubicBezTo>
                <a:cubicBezTo>
                  <a:pt x="622" y="552"/>
                  <a:pt x="622" y="553"/>
                  <a:pt x="621" y="553"/>
                </a:cubicBezTo>
                <a:close/>
                <a:moveTo>
                  <a:pt x="623" y="544"/>
                </a:moveTo>
                <a:cubicBezTo>
                  <a:pt x="622" y="543"/>
                  <a:pt x="624" y="543"/>
                  <a:pt x="623" y="544"/>
                </a:cubicBezTo>
                <a:close/>
                <a:moveTo>
                  <a:pt x="624" y="553"/>
                </a:moveTo>
                <a:cubicBezTo>
                  <a:pt x="625" y="554"/>
                  <a:pt x="623" y="551"/>
                  <a:pt x="624" y="553"/>
                </a:cubicBezTo>
                <a:close/>
                <a:moveTo>
                  <a:pt x="624" y="503"/>
                </a:moveTo>
                <a:cubicBezTo>
                  <a:pt x="622" y="502"/>
                  <a:pt x="623" y="497"/>
                  <a:pt x="626" y="497"/>
                </a:cubicBezTo>
                <a:cubicBezTo>
                  <a:pt x="629" y="498"/>
                  <a:pt x="627" y="505"/>
                  <a:pt x="624" y="503"/>
                </a:cubicBezTo>
                <a:close/>
                <a:moveTo>
                  <a:pt x="628" y="419"/>
                </a:moveTo>
                <a:cubicBezTo>
                  <a:pt x="629" y="420"/>
                  <a:pt x="628" y="421"/>
                  <a:pt x="627" y="420"/>
                </a:cubicBezTo>
                <a:cubicBezTo>
                  <a:pt x="627" y="419"/>
                  <a:pt x="628" y="419"/>
                  <a:pt x="628" y="419"/>
                </a:cubicBezTo>
                <a:close/>
                <a:moveTo>
                  <a:pt x="628" y="466"/>
                </a:moveTo>
                <a:cubicBezTo>
                  <a:pt x="629" y="467"/>
                  <a:pt x="627" y="472"/>
                  <a:pt x="624" y="469"/>
                </a:cubicBezTo>
                <a:cubicBezTo>
                  <a:pt x="623" y="468"/>
                  <a:pt x="626" y="465"/>
                  <a:pt x="628" y="466"/>
                </a:cubicBezTo>
                <a:close/>
                <a:moveTo>
                  <a:pt x="624" y="448"/>
                </a:moveTo>
                <a:cubicBezTo>
                  <a:pt x="627" y="450"/>
                  <a:pt x="625" y="451"/>
                  <a:pt x="624" y="448"/>
                </a:cubicBezTo>
                <a:close/>
                <a:moveTo>
                  <a:pt x="624" y="438"/>
                </a:moveTo>
                <a:cubicBezTo>
                  <a:pt x="625" y="439"/>
                  <a:pt x="623" y="437"/>
                  <a:pt x="624" y="438"/>
                </a:cubicBezTo>
                <a:close/>
                <a:moveTo>
                  <a:pt x="625" y="439"/>
                </a:moveTo>
                <a:cubicBezTo>
                  <a:pt x="628" y="439"/>
                  <a:pt x="628" y="444"/>
                  <a:pt x="625" y="444"/>
                </a:cubicBezTo>
                <a:cubicBezTo>
                  <a:pt x="623" y="444"/>
                  <a:pt x="623" y="439"/>
                  <a:pt x="625" y="439"/>
                </a:cubicBezTo>
                <a:close/>
                <a:moveTo>
                  <a:pt x="623" y="483"/>
                </a:moveTo>
                <a:cubicBezTo>
                  <a:pt x="624" y="484"/>
                  <a:pt x="622" y="484"/>
                  <a:pt x="623" y="483"/>
                </a:cubicBezTo>
                <a:close/>
                <a:moveTo>
                  <a:pt x="621" y="454"/>
                </a:moveTo>
                <a:cubicBezTo>
                  <a:pt x="622" y="454"/>
                  <a:pt x="621" y="455"/>
                  <a:pt x="621" y="455"/>
                </a:cubicBezTo>
                <a:cubicBezTo>
                  <a:pt x="620" y="454"/>
                  <a:pt x="621" y="454"/>
                  <a:pt x="621" y="454"/>
                </a:cubicBezTo>
                <a:close/>
                <a:moveTo>
                  <a:pt x="618" y="462"/>
                </a:moveTo>
                <a:cubicBezTo>
                  <a:pt x="618" y="462"/>
                  <a:pt x="619" y="463"/>
                  <a:pt x="619" y="463"/>
                </a:cubicBezTo>
                <a:cubicBezTo>
                  <a:pt x="618" y="464"/>
                  <a:pt x="618" y="461"/>
                  <a:pt x="618" y="462"/>
                </a:cubicBezTo>
                <a:close/>
                <a:moveTo>
                  <a:pt x="615" y="421"/>
                </a:moveTo>
                <a:cubicBezTo>
                  <a:pt x="616" y="421"/>
                  <a:pt x="616" y="422"/>
                  <a:pt x="616" y="422"/>
                </a:cubicBezTo>
                <a:cubicBezTo>
                  <a:pt x="615" y="423"/>
                  <a:pt x="615" y="421"/>
                  <a:pt x="615" y="421"/>
                </a:cubicBezTo>
                <a:close/>
                <a:moveTo>
                  <a:pt x="625" y="495"/>
                </a:moveTo>
                <a:cubicBezTo>
                  <a:pt x="624" y="495"/>
                  <a:pt x="622" y="497"/>
                  <a:pt x="621" y="496"/>
                </a:cubicBezTo>
                <a:cubicBezTo>
                  <a:pt x="620" y="495"/>
                  <a:pt x="622" y="494"/>
                  <a:pt x="621" y="493"/>
                </a:cubicBezTo>
                <a:cubicBezTo>
                  <a:pt x="620" y="490"/>
                  <a:pt x="616" y="488"/>
                  <a:pt x="615" y="485"/>
                </a:cubicBezTo>
                <a:cubicBezTo>
                  <a:pt x="618" y="487"/>
                  <a:pt x="621" y="491"/>
                  <a:pt x="625" y="495"/>
                </a:cubicBezTo>
                <a:close/>
                <a:moveTo>
                  <a:pt x="612" y="402"/>
                </a:moveTo>
                <a:cubicBezTo>
                  <a:pt x="613" y="401"/>
                  <a:pt x="614" y="403"/>
                  <a:pt x="614" y="403"/>
                </a:cubicBezTo>
                <a:cubicBezTo>
                  <a:pt x="614" y="406"/>
                  <a:pt x="610" y="403"/>
                  <a:pt x="612" y="402"/>
                </a:cubicBezTo>
                <a:close/>
                <a:moveTo>
                  <a:pt x="612" y="522"/>
                </a:moveTo>
                <a:cubicBezTo>
                  <a:pt x="613" y="522"/>
                  <a:pt x="613" y="524"/>
                  <a:pt x="612" y="524"/>
                </a:cubicBezTo>
                <a:cubicBezTo>
                  <a:pt x="611" y="523"/>
                  <a:pt x="611" y="522"/>
                  <a:pt x="612" y="522"/>
                </a:cubicBezTo>
                <a:close/>
                <a:moveTo>
                  <a:pt x="612" y="517"/>
                </a:moveTo>
                <a:cubicBezTo>
                  <a:pt x="613" y="519"/>
                  <a:pt x="612" y="516"/>
                  <a:pt x="612" y="517"/>
                </a:cubicBezTo>
                <a:close/>
                <a:moveTo>
                  <a:pt x="613" y="502"/>
                </a:moveTo>
                <a:cubicBezTo>
                  <a:pt x="613" y="503"/>
                  <a:pt x="614" y="504"/>
                  <a:pt x="613" y="505"/>
                </a:cubicBezTo>
                <a:cubicBezTo>
                  <a:pt x="613" y="504"/>
                  <a:pt x="612" y="503"/>
                  <a:pt x="613" y="502"/>
                </a:cubicBezTo>
                <a:close/>
                <a:moveTo>
                  <a:pt x="612" y="484"/>
                </a:moveTo>
                <a:cubicBezTo>
                  <a:pt x="613" y="484"/>
                  <a:pt x="614" y="487"/>
                  <a:pt x="612" y="487"/>
                </a:cubicBezTo>
                <a:cubicBezTo>
                  <a:pt x="610" y="486"/>
                  <a:pt x="611" y="484"/>
                  <a:pt x="612" y="484"/>
                </a:cubicBezTo>
                <a:close/>
                <a:moveTo>
                  <a:pt x="611" y="489"/>
                </a:moveTo>
                <a:cubicBezTo>
                  <a:pt x="612" y="488"/>
                  <a:pt x="612" y="490"/>
                  <a:pt x="612" y="490"/>
                </a:cubicBezTo>
                <a:cubicBezTo>
                  <a:pt x="613" y="493"/>
                  <a:pt x="609" y="489"/>
                  <a:pt x="611" y="489"/>
                </a:cubicBezTo>
                <a:close/>
                <a:moveTo>
                  <a:pt x="609" y="556"/>
                </a:moveTo>
                <a:cubicBezTo>
                  <a:pt x="612" y="553"/>
                  <a:pt x="618" y="559"/>
                  <a:pt x="614" y="562"/>
                </a:cubicBezTo>
                <a:cubicBezTo>
                  <a:pt x="615" y="561"/>
                  <a:pt x="617" y="563"/>
                  <a:pt x="616" y="564"/>
                </a:cubicBezTo>
                <a:cubicBezTo>
                  <a:pt x="615" y="566"/>
                  <a:pt x="612" y="563"/>
                  <a:pt x="614" y="562"/>
                </a:cubicBezTo>
                <a:cubicBezTo>
                  <a:pt x="611" y="563"/>
                  <a:pt x="607" y="558"/>
                  <a:pt x="609" y="556"/>
                </a:cubicBezTo>
                <a:close/>
                <a:moveTo>
                  <a:pt x="607" y="532"/>
                </a:moveTo>
                <a:cubicBezTo>
                  <a:pt x="607" y="532"/>
                  <a:pt x="608" y="533"/>
                  <a:pt x="608" y="533"/>
                </a:cubicBezTo>
                <a:cubicBezTo>
                  <a:pt x="607" y="534"/>
                  <a:pt x="607" y="532"/>
                  <a:pt x="607" y="532"/>
                </a:cubicBezTo>
                <a:close/>
                <a:moveTo>
                  <a:pt x="607" y="517"/>
                </a:moveTo>
                <a:cubicBezTo>
                  <a:pt x="607" y="517"/>
                  <a:pt x="606" y="517"/>
                  <a:pt x="606" y="517"/>
                </a:cubicBezTo>
                <a:cubicBezTo>
                  <a:pt x="606" y="517"/>
                  <a:pt x="606" y="517"/>
                  <a:pt x="606" y="517"/>
                </a:cubicBezTo>
                <a:cubicBezTo>
                  <a:pt x="606" y="517"/>
                  <a:pt x="607" y="517"/>
                  <a:pt x="607" y="517"/>
                </a:cubicBezTo>
                <a:close/>
                <a:moveTo>
                  <a:pt x="606" y="571"/>
                </a:moveTo>
                <a:cubicBezTo>
                  <a:pt x="606" y="570"/>
                  <a:pt x="606" y="570"/>
                  <a:pt x="606" y="570"/>
                </a:cubicBezTo>
                <a:cubicBezTo>
                  <a:pt x="606" y="571"/>
                  <a:pt x="607" y="572"/>
                  <a:pt x="606" y="571"/>
                </a:cubicBezTo>
                <a:close/>
                <a:moveTo>
                  <a:pt x="605" y="461"/>
                </a:moveTo>
                <a:cubicBezTo>
                  <a:pt x="605" y="461"/>
                  <a:pt x="606" y="462"/>
                  <a:pt x="605" y="462"/>
                </a:cubicBezTo>
                <a:cubicBezTo>
                  <a:pt x="605" y="463"/>
                  <a:pt x="605" y="461"/>
                  <a:pt x="605" y="461"/>
                </a:cubicBezTo>
                <a:close/>
                <a:moveTo>
                  <a:pt x="602" y="525"/>
                </a:moveTo>
                <a:cubicBezTo>
                  <a:pt x="603" y="527"/>
                  <a:pt x="604" y="530"/>
                  <a:pt x="604" y="534"/>
                </a:cubicBezTo>
                <a:cubicBezTo>
                  <a:pt x="603" y="531"/>
                  <a:pt x="602" y="528"/>
                  <a:pt x="602" y="525"/>
                </a:cubicBezTo>
                <a:close/>
                <a:moveTo>
                  <a:pt x="604" y="450"/>
                </a:moveTo>
                <a:cubicBezTo>
                  <a:pt x="604" y="450"/>
                  <a:pt x="604" y="450"/>
                  <a:pt x="604" y="450"/>
                </a:cubicBezTo>
                <a:cubicBezTo>
                  <a:pt x="603" y="450"/>
                  <a:pt x="604" y="450"/>
                  <a:pt x="604" y="450"/>
                </a:cubicBezTo>
                <a:close/>
                <a:moveTo>
                  <a:pt x="604" y="477"/>
                </a:moveTo>
                <a:cubicBezTo>
                  <a:pt x="603" y="476"/>
                  <a:pt x="604" y="475"/>
                  <a:pt x="604" y="477"/>
                </a:cubicBezTo>
                <a:close/>
                <a:moveTo>
                  <a:pt x="602" y="450"/>
                </a:moveTo>
                <a:cubicBezTo>
                  <a:pt x="602" y="450"/>
                  <a:pt x="601" y="450"/>
                  <a:pt x="601" y="450"/>
                </a:cubicBezTo>
                <a:cubicBezTo>
                  <a:pt x="599" y="450"/>
                  <a:pt x="603" y="448"/>
                  <a:pt x="602" y="450"/>
                </a:cubicBezTo>
                <a:close/>
                <a:moveTo>
                  <a:pt x="601" y="516"/>
                </a:moveTo>
                <a:cubicBezTo>
                  <a:pt x="602" y="518"/>
                  <a:pt x="602" y="521"/>
                  <a:pt x="602" y="522"/>
                </a:cubicBezTo>
                <a:cubicBezTo>
                  <a:pt x="602" y="522"/>
                  <a:pt x="600" y="518"/>
                  <a:pt x="601" y="516"/>
                </a:cubicBezTo>
                <a:close/>
                <a:moveTo>
                  <a:pt x="597" y="521"/>
                </a:moveTo>
                <a:cubicBezTo>
                  <a:pt x="598" y="521"/>
                  <a:pt x="598" y="522"/>
                  <a:pt x="599" y="522"/>
                </a:cubicBezTo>
                <a:cubicBezTo>
                  <a:pt x="599" y="523"/>
                  <a:pt x="597" y="522"/>
                  <a:pt x="597" y="521"/>
                </a:cubicBezTo>
                <a:close/>
                <a:moveTo>
                  <a:pt x="597" y="542"/>
                </a:moveTo>
                <a:cubicBezTo>
                  <a:pt x="598" y="545"/>
                  <a:pt x="593" y="542"/>
                  <a:pt x="595" y="540"/>
                </a:cubicBezTo>
                <a:cubicBezTo>
                  <a:pt x="596" y="539"/>
                  <a:pt x="597" y="541"/>
                  <a:pt x="597" y="542"/>
                </a:cubicBezTo>
                <a:close/>
                <a:moveTo>
                  <a:pt x="594" y="433"/>
                </a:moveTo>
                <a:cubicBezTo>
                  <a:pt x="593" y="434"/>
                  <a:pt x="594" y="431"/>
                  <a:pt x="594" y="433"/>
                </a:cubicBezTo>
                <a:close/>
                <a:moveTo>
                  <a:pt x="595" y="451"/>
                </a:moveTo>
                <a:cubicBezTo>
                  <a:pt x="595" y="451"/>
                  <a:pt x="595" y="452"/>
                  <a:pt x="596" y="453"/>
                </a:cubicBezTo>
                <a:cubicBezTo>
                  <a:pt x="596" y="455"/>
                  <a:pt x="592" y="452"/>
                  <a:pt x="595" y="451"/>
                </a:cubicBezTo>
                <a:close/>
                <a:moveTo>
                  <a:pt x="595" y="520"/>
                </a:moveTo>
                <a:cubicBezTo>
                  <a:pt x="595" y="520"/>
                  <a:pt x="595" y="520"/>
                  <a:pt x="594" y="519"/>
                </a:cubicBezTo>
                <a:cubicBezTo>
                  <a:pt x="594" y="519"/>
                  <a:pt x="594" y="519"/>
                  <a:pt x="594" y="519"/>
                </a:cubicBezTo>
                <a:cubicBezTo>
                  <a:pt x="594" y="519"/>
                  <a:pt x="595" y="520"/>
                  <a:pt x="595" y="520"/>
                </a:cubicBezTo>
                <a:close/>
                <a:moveTo>
                  <a:pt x="595" y="538"/>
                </a:moveTo>
                <a:cubicBezTo>
                  <a:pt x="595" y="543"/>
                  <a:pt x="590" y="531"/>
                  <a:pt x="590" y="529"/>
                </a:cubicBezTo>
                <a:cubicBezTo>
                  <a:pt x="591" y="532"/>
                  <a:pt x="589" y="528"/>
                  <a:pt x="589" y="527"/>
                </a:cubicBezTo>
                <a:cubicBezTo>
                  <a:pt x="591" y="527"/>
                  <a:pt x="592" y="531"/>
                  <a:pt x="592" y="531"/>
                </a:cubicBezTo>
                <a:cubicBezTo>
                  <a:pt x="593" y="533"/>
                  <a:pt x="595" y="536"/>
                  <a:pt x="595" y="538"/>
                </a:cubicBezTo>
                <a:close/>
                <a:moveTo>
                  <a:pt x="590" y="422"/>
                </a:moveTo>
                <a:cubicBezTo>
                  <a:pt x="589" y="421"/>
                  <a:pt x="591" y="423"/>
                  <a:pt x="590" y="422"/>
                </a:cubicBezTo>
                <a:close/>
                <a:moveTo>
                  <a:pt x="591" y="452"/>
                </a:moveTo>
                <a:cubicBezTo>
                  <a:pt x="591" y="452"/>
                  <a:pt x="591" y="454"/>
                  <a:pt x="590" y="454"/>
                </a:cubicBezTo>
                <a:cubicBezTo>
                  <a:pt x="589" y="454"/>
                  <a:pt x="590" y="452"/>
                  <a:pt x="591" y="452"/>
                </a:cubicBezTo>
                <a:close/>
                <a:moveTo>
                  <a:pt x="588" y="505"/>
                </a:moveTo>
                <a:cubicBezTo>
                  <a:pt x="590" y="505"/>
                  <a:pt x="591" y="509"/>
                  <a:pt x="590" y="510"/>
                </a:cubicBezTo>
                <a:cubicBezTo>
                  <a:pt x="588" y="511"/>
                  <a:pt x="587" y="507"/>
                  <a:pt x="588" y="505"/>
                </a:cubicBezTo>
                <a:close/>
                <a:moveTo>
                  <a:pt x="589" y="546"/>
                </a:moveTo>
                <a:cubicBezTo>
                  <a:pt x="589" y="545"/>
                  <a:pt x="589" y="545"/>
                  <a:pt x="589" y="545"/>
                </a:cubicBezTo>
                <a:cubicBezTo>
                  <a:pt x="589" y="545"/>
                  <a:pt x="589" y="545"/>
                  <a:pt x="589" y="546"/>
                </a:cubicBezTo>
                <a:cubicBezTo>
                  <a:pt x="589" y="546"/>
                  <a:pt x="589" y="546"/>
                  <a:pt x="589" y="546"/>
                </a:cubicBezTo>
                <a:cubicBezTo>
                  <a:pt x="589" y="546"/>
                  <a:pt x="589" y="546"/>
                  <a:pt x="589" y="546"/>
                </a:cubicBezTo>
                <a:close/>
                <a:moveTo>
                  <a:pt x="590" y="552"/>
                </a:moveTo>
                <a:cubicBezTo>
                  <a:pt x="589" y="552"/>
                  <a:pt x="587" y="550"/>
                  <a:pt x="587" y="549"/>
                </a:cubicBezTo>
                <a:cubicBezTo>
                  <a:pt x="589" y="549"/>
                  <a:pt x="588" y="551"/>
                  <a:pt x="590" y="552"/>
                </a:cubicBezTo>
                <a:close/>
                <a:moveTo>
                  <a:pt x="587" y="548"/>
                </a:moveTo>
                <a:cubicBezTo>
                  <a:pt x="586" y="545"/>
                  <a:pt x="587" y="549"/>
                  <a:pt x="587" y="548"/>
                </a:cubicBezTo>
                <a:close/>
                <a:moveTo>
                  <a:pt x="586" y="410"/>
                </a:moveTo>
                <a:cubicBezTo>
                  <a:pt x="586" y="410"/>
                  <a:pt x="586" y="410"/>
                  <a:pt x="586" y="410"/>
                </a:cubicBezTo>
                <a:cubicBezTo>
                  <a:pt x="586" y="410"/>
                  <a:pt x="586" y="410"/>
                  <a:pt x="586" y="410"/>
                </a:cubicBezTo>
                <a:close/>
                <a:moveTo>
                  <a:pt x="586" y="566"/>
                </a:moveTo>
                <a:cubicBezTo>
                  <a:pt x="585" y="565"/>
                  <a:pt x="587" y="568"/>
                  <a:pt x="586" y="566"/>
                </a:cubicBezTo>
                <a:close/>
                <a:moveTo>
                  <a:pt x="585" y="530"/>
                </a:moveTo>
                <a:cubicBezTo>
                  <a:pt x="586" y="530"/>
                  <a:pt x="586" y="532"/>
                  <a:pt x="585" y="531"/>
                </a:cubicBezTo>
                <a:cubicBezTo>
                  <a:pt x="584" y="531"/>
                  <a:pt x="585" y="530"/>
                  <a:pt x="585" y="530"/>
                </a:cubicBezTo>
                <a:close/>
                <a:moveTo>
                  <a:pt x="583" y="469"/>
                </a:moveTo>
                <a:cubicBezTo>
                  <a:pt x="583" y="469"/>
                  <a:pt x="584" y="470"/>
                  <a:pt x="583" y="470"/>
                </a:cubicBezTo>
                <a:cubicBezTo>
                  <a:pt x="583" y="471"/>
                  <a:pt x="583" y="468"/>
                  <a:pt x="583" y="469"/>
                </a:cubicBezTo>
                <a:close/>
                <a:moveTo>
                  <a:pt x="582" y="481"/>
                </a:moveTo>
                <a:cubicBezTo>
                  <a:pt x="582" y="481"/>
                  <a:pt x="582" y="482"/>
                  <a:pt x="582" y="482"/>
                </a:cubicBezTo>
                <a:cubicBezTo>
                  <a:pt x="584" y="484"/>
                  <a:pt x="580" y="480"/>
                  <a:pt x="582" y="481"/>
                </a:cubicBezTo>
                <a:close/>
                <a:moveTo>
                  <a:pt x="574" y="537"/>
                </a:moveTo>
                <a:cubicBezTo>
                  <a:pt x="573" y="535"/>
                  <a:pt x="575" y="538"/>
                  <a:pt x="574" y="537"/>
                </a:cubicBezTo>
                <a:close/>
                <a:moveTo>
                  <a:pt x="577" y="514"/>
                </a:moveTo>
                <a:cubicBezTo>
                  <a:pt x="576" y="514"/>
                  <a:pt x="576" y="510"/>
                  <a:pt x="575" y="509"/>
                </a:cubicBezTo>
                <a:cubicBezTo>
                  <a:pt x="578" y="509"/>
                  <a:pt x="576" y="512"/>
                  <a:pt x="577" y="514"/>
                </a:cubicBezTo>
                <a:close/>
                <a:moveTo>
                  <a:pt x="579" y="552"/>
                </a:moveTo>
                <a:cubicBezTo>
                  <a:pt x="577" y="553"/>
                  <a:pt x="576" y="548"/>
                  <a:pt x="576" y="546"/>
                </a:cubicBezTo>
                <a:cubicBezTo>
                  <a:pt x="578" y="547"/>
                  <a:pt x="581" y="552"/>
                  <a:pt x="579" y="552"/>
                </a:cubicBezTo>
                <a:close/>
                <a:moveTo>
                  <a:pt x="577" y="515"/>
                </a:moveTo>
                <a:cubicBezTo>
                  <a:pt x="578" y="522"/>
                  <a:pt x="580" y="527"/>
                  <a:pt x="581" y="534"/>
                </a:cubicBezTo>
                <a:cubicBezTo>
                  <a:pt x="579" y="528"/>
                  <a:pt x="577" y="522"/>
                  <a:pt x="577" y="515"/>
                </a:cubicBezTo>
                <a:close/>
                <a:moveTo>
                  <a:pt x="580" y="426"/>
                </a:moveTo>
                <a:cubicBezTo>
                  <a:pt x="581" y="426"/>
                  <a:pt x="581" y="427"/>
                  <a:pt x="581" y="427"/>
                </a:cubicBezTo>
                <a:cubicBezTo>
                  <a:pt x="582" y="429"/>
                  <a:pt x="579" y="427"/>
                  <a:pt x="580" y="426"/>
                </a:cubicBezTo>
                <a:close/>
                <a:moveTo>
                  <a:pt x="578" y="464"/>
                </a:moveTo>
                <a:cubicBezTo>
                  <a:pt x="577" y="465"/>
                  <a:pt x="577" y="464"/>
                  <a:pt x="577" y="464"/>
                </a:cubicBezTo>
                <a:cubicBezTo>
                  <a:pt x="578" y="463"/>
                  <a:pt x="578" y="464"/>
                  <a:pt x="578" y="464"/>
                </a:cubicBezTo>
                <a:close/>
                <a:moveTo>
                  <a:pt x="576" y="475"/>
                </a:moveTo>
                <a:cubicBezTo>
                  <a:pt x="576" y="474"/>
                  <a:pt x="577" y="477"/>
                  <a:pt x="576" y="475"/>
                </a:cubicBezTo>
                <a:close/>
                <a:moveTo>
                  <a:pt x="576" y="497"/>
                </a:moveTo>
                <a:cubicBezTo>
                  <a:pt x="576" y="497"/>
                  <a:pt x="576" y="498"/>
                  <a:pt x="576" y="498"/>
                </a:cubicBezTo>
                <a:cubicBezTo>
                  <a:pt x="576" y="499"/>
                  <a:pt x="576" y="497"/>
                  <a:pt x="576" y="497"/>
                </a:cubicBezTo>
                <a:close/>
                <a:moveTo>
                  <a:pt x="576" y="507"/>
                </a:moveTo>
                <a:cubicBezTo>
                  <a:pt x="577" y="507"/>
                  <a:pt x="577" y="508"/>
                  <a:pt x="576" y="508"/>
                </a:cubicBezTo>
                <a:cubicBezTo>
                  <a:pt x="574" y="509"/>
                  <a:pt x="575" y="505"/>
                  <a:pt x="576" y="507"/>
                </a:cubicBezTo>
                <a:close/>
                <a:moveTo>
                  <a:pt x="575" y="486"/>
                </a:moveTo>
                <a:cubicBezTo>
                  <a:pt x="575" y="485"/>
                  <a:pt x="576" y="488"/>
                  <a:pt x="575" y="486"/>
                </a:cubicBezTo>
                <a:close/>
                <a:moveTo>
                  <a:pt x="573" y="519"/>
                </a:moveTo>
                <a:cubicBezTo>
                  <a:pt x="574" y="524"/>
                  <a:pt x="577" y="528"/>
                  <a:pt x="576" y="533"/>
                </a:cubicBezTo>
                <a:cubicBezTo>
                  <a:pt x="573" y="530"/>
                  <a:pt x="572" y="524"/>
                  <a:pt x="573" y="519"/>
                </a:cubicBezTo>
                <a:close/>
                <a:moveTo>
                  <a:pt x="556" y="517"/>
                </a:moveTo>
                <a:cubicBezTo>
                  <a:pt x="556" y="517"/>
                  <a:pt x="556" y="516"/>
                  <a:pt x="556" y="516"/>
                </a:cubicBezTo>
                <a:cubicBezTo>
                  <a:pt x="554" y="516"/>
                  <a:pt x="557" y="515"/>
                  <a:pt x="556" y="517"/>
                </a:cubicBezTo>
                <a:close/>
                <a:moveTo>
                  <a:pt x="559" y="486"/>
                </a:moveTo>
                <a:cubicBezTo>
                  <a:pt x="558" y="486"/>
                  <a:pt x="559" y="485"/>
                  <a:pt x="559" y="485"/>
                </a:cubicBezTo>
                <a:cubicBezTo>
                  <a:pt x="559" y="485"/>
                  <a:pt x="559" y="486"/>
                  <a:pt x="559" y="486"/>
                </a:cubicBezTo>
                <a:close/>
                <a:moveTo>
                  <a:pt x="561" y="516"/>
                </a:moveTo>
                <a:cubicBezTo>
                  <a:pt x="560" y="516"/>
                  <a:pt x="560" y="515"/>
                  <a:pt x="560" y="515"/>
                </a:cubicBezTo>
                <a:cubicBezTo>
                  <a:pt x="562" y="514"/>
                  <a:pt x="563" y="517"/>
                  <a:pt x="561" y="516"/>
                </a:cubicBezTo>
                <a:close/>
                <a:moveTo>
                  <a:pt x="572" y="517"/>
                </a:moveTo>
                <a:cubicBezTo>
                  <a:pt x="572" y="517"/>
                  <a:pt x="567" y="506"/>
                  <a:pt x="569" y="506"/>
                </a:cubicBezTo>
                <a:cubicBezTo>
                  <a:pt x="569" y="505"/>
                  <a:pt x="572" y="514"/>
                  <a:pt x="572" y="515"/>
                </a:cubicBezTo>
                <a:cubicBezTo>
                  <a:pt x="572" y="515"/>
                  <a:pt x="572" y="516"/>
                  <a:pt x="572" y="517"/>
                </a:cubicBezTo>
                <a:close/>
                <a:moveTo>
                  <a:pt x="569" y="480"/>
                </a:moveTo>
                <a:cubicBezTo>
                  <a:pt x="570" y="480"/>
                  <a:pt x="570" y="480"/>
                  <a:pt x="570" y="480"/>
                </a:cubicBezTo>
                <a:cubicBezTo>
                  <a:pt x="571" y="482"/>
                  <a:pt x="567" y="479"/>
                  <a:pt x="569" y="480"/>
                </a:cubicBezTo>
                <a:close/>
                <a:moveTo>
                  <a:pt x="570" y="451"/>
                </a:moveTo>
                <a:cubicBezTo>
                  <a:pt x="570" y="451"/>
                  <a:pt x="570" y="452"/>
                  <a:pt x="570" y="453"/>
                </a:cubicBezTo>
                <a:cubicBezTo>
                  <a:pt x="568" y="454"/>
                  <a:pt x="568" y="449"/>
                  <a:pt x="570" y="451"/>
                </a:cubicBezTo>
                <a:close/>
                <a:moveTo>
                  <a:pt x="569" y="528"/>
                </a:moveTo>
                <a:cubicBezTo>
                  <a:pt x="569" y="528"/>
                  <a:pt x="569" y="529"/>
                  <a:pt x="569" y="529"/>
                </a:cubicBezTo>
                <a:cubicBezTo>
                  <a:pt x="567" y="529"/>
                  <a:pt x="569" y="526"/>
                  <a:pt x="569" y="528"/>
                </a:cubicBezTo>
                <a:close/>
                <a:moveTo>
                  <a:pt x="567" y="520"/>
                </a:moveTo>
                <a:cubicBezTo>
                  <a:pt x="567" y="520"/>
                  <a:pt x="567" y="519"/>
                  <a:pt x="567" y="519"/>
                </a:cubicBezTo>
                <a:cubicBezTo>
                  <a:pt x="568" y="519"/>
                  <a:pt x="567" y="521"/>
                  <a:pt x="567" y="520"/>
                </a:cubicBezTo>
                <a:close/>
                <a:moveTo>
                  <a:pt x="567" y="511"/>
                </a:moveTo>
                <a:cubicBezTo>
                  <a:pt x="566" y="511"/>
                  <a:pt x="566" y="509"/>
                  <a:pt x="566" y="508"/>
                </a:cubicBezTo>
                <a:cubicBezTo>
                  <a:pt x="567" y="509"/>
                  <a:pt x="567" y="510"/>
                  <a:pt x="567" y="511"/>
                </a:cubicBezTo>
                <a:close/>
                <a:moveTo>
                  <a:pt x="566" y="507"/>
                </a:moveTo>
                <a:cubicBezTo>
                  <a:pt x="565" y="506"/>
                  <a:pt x="567" y="504"/>
                  <a:pt x="566" y="507"/>
                </a:cubicBezTo>
                <a:close/>
                <a:moveTo>
                  <a:pt x="565" y="501"/>
                </a:moveTo>
                <a:cubicBezTo>
                  <a:pt x="565" y="501"/>
                  <a:pt x="565" y="501"/>
                  <a:pt x="565" y="501"/>
                </a:cubicBezTo>
                <a:cubicBezTo>
                  <a:pt x="565" y="501"/>
                  <a:pt x="565" y="501"/>
                  <a:pt x="565" y="500"/>
                </a:cubicBezTo>
                <a:cubicBezTo>
                  <a:pt x="565" y="501"/>
                  <a:pt x="565" y="501"/>
                  <a:pt x="565" y="501"/>
                </a:cubicBezTo>
                <a:close/>
                <a:moveTo>
                  <a:pt x="565" y="508"/>
                </a:moveTo>
                <a:cubicBezTo>
                  <a:pt x="566" y="510"/>
                  <a:pt x="562" y="508"/>
                  <a:pt x="564" y="507"/>
                </a:cubicBezTo>
                <a:cubicBezTo>
                  <a:pt x="564" y="507"/>
                  <a:pt x="565" y="507"/>
                  <a:pt x="565" y="508"/>
                </a:cubicBezTo>
                <a:close/>
                <a:moveTo>
                  <a:pt x="564" y="502"/>
                </a:moveTo>
                <a:cubicBezTo>
                  <a:pt x="564" y="502"/>
                  <a:pt x="564" y="503"/>
                  <a:pt x="564" y="503"/>
                </a:cubicBezTo>
                <a:cubicBezTo>
                  <a:pt x="565" y="505"/>
                  <a:pt x="561" y="503"/>
                  <a:pt x="564" y="502"/>
                </a:cubicBezTo>
                <a:close/>
                <a:moveTo>
                  <a:pt x="560" y="494"/>
                </a:moveTo>
                <a:cubicBezTo>
                  <a:pt x="562" y="492"/>
                  <a:pt x="564" y="496"/>
                  <a:pt x="564" y="496"/>
                </a:cubicBezTo>
                <a:cubicBezTo>
                  <a:pt x="565" y="501"/>
                  <a:pt x="557" y="496"/>
                  <a:pt x="560" y="494"/>
                </a:cubicBezTo>
                <a:close/>
                <a:moveTo>
                  <a:pt x="557" y="439"/>
                </a:moveTo>
                <a:cubicBezTo>
                  <a:pt x="557" y="440"/>
                  <a:pt x="556" y="438"/>
                  <a:pt x="557" y="439"/>
                </a:cubicBezTo>
                <a:close/>
                <a:moveTo>
                  <a:pt x="555" y="457"/>
                </a:moveTo>
                <a:cubicBezTo>
                  <a:pt x="556" y="456"/>
                  <a:pt x="558" y="461"/>
                  <a:pt x="558" y="460"/>
                </a:cubicBezTo>
                <a:cubicBezTo>
                  <a:pt x="558" y="462"/>
                  <a:pt x="558" y="464"/>
                  <a:pt x="559" y="467"/>
                </a:cubicBezTo>
                <a:cubicBezTo>
                  <a:pt x="560" y="471"/>
                  <a:pt x="564" y="476"/>
                  <a:pt x="564" y="480"/>
                </a:cubicBezTo>
                <a:cubicBezTo>
                  <a:pt x="560" y="478"/>
                  <a:pt x="561" y="472"/>
                  <a:pt x="559" y="469"/>
                </a:cubicBezTo>
                <a:cubicBezTo>
                  <a:pt x="558" y="468"/>
                  <a:pt x="556" y="462"/>
                  <a:pt x="555" y="459"/>
                </a:cubicBezTo>
                <a:cubicBezTo>
                  <a:pt x="555" y="458"/>
                  <a:pt x="553" y="457"/>
                  <a:pt x="555" y="457"/>
                </a:cubicBezTo>
                <a:close/>
                <a:moveTo>
                  <a:pt x="549" y="528"/>
                </a:moveTo>
                <a:cubicBezTo>
                  <a:pt x="549" y="527"/>
                  <a:pt x="550" y="527"/>
                  <a:pt x="550" y="528"/>
                </a:cubicBezTo>
                <a:cubicBezTo>
                  <a:pt x="551" y="529"/>
                  <a:pt x="549" y="528"/>
                  <a:pt x="549" y="528"/>
                </a:cubicBezTo>
                <a:close/>
                <a:moveTo>
                  <a:pt x="540" y="511"/>
                </a:moveTo>
                <a:cubicBezTo>
                  <a:pt x="540" y="513"/>
                  <a:pt x="539" y="510"/>
                  <a:pt x="540" y="511"/>
                </a:cubicBezTo>
                <a:close/>
                <a:moveTo>
                  <a:pt x="541" y="554"/>
                </a:moveTo>
                <a:cubicBezTo>
                  <a:pt x="543" y="553"/>
                  <a:pt x="546" y="557"/>
                  <a:pt x="546" y="557"/>
                </a:cubicBezTo>
                <a:cubicBezTo>
                  <a:pt x="546" y="563"/>
                  <a:pt x="538" y="556"/>
                  <a:pt x="541" y="554"/>
                </a:cubicBezTo>
                <a:close/>
                <a:moveTo>
                  <a:pt x="541" y="528"/>
                </a:moveTo>
                <a:cubicBezTo>
                  <a:pt x="541" y="527"/>
                  <a:pt x="543" y="529"/>
                  <a:pt x="542" y="529"/>
                </a:cubicBezTo>
                <a:cubicBezTo>
                  <a:pt x="542" y="529"/>
                  <a:pt x="541" y="529"/>
                  <a:pt x="541" y="528"/>
                </a:cubicBezTo>
                <a:close/>
                <a:moveTo>
                  <a:pt x="549" y="540"/>
                </a:moveTo>
                <a:cubicBezTo>
                  <a:pt x="550" y="541"/>
                  <a:pt x="548" y="539"/>
                  <a:pt x="549" y="540"/>
                </a:cubicBezTo>
                <a:close/>
                <a:moveTo>
                  <a:pt x="548" y="494"/>
                </a:moveTo>
                <a:cubicBezTo>
                  <a:pt x="547" y="494"/>
                  <a:pt x="547" y="493"/>
                  <a:pt x="547" y="492"/>
                </a:cubicBezTo>
                <a:cubicBezTo>
                  <a:pt x="547" y="492"/>
                  <a:pt x="548" y="493"/>
                  <a:pt x="548" y="494"/>
                </a:cubicBezTo>
                <a:close/>
                <a:moveTo>
                  <a:pt x="546" y="541"/>
                </a:moveTo>
                <a:cubicBezTo>
                  <a:pt x="546" y="544"/>
                  <a:pt x="543" y="538"/>
                  <a:pt x="546" y="539"/>
                </a:cubicBezTo>
                <a:cubicBezTo>
                  <a:pt x="546" y="539"/>
                  <a:pt x="546" y="540"/>
                  <a:pt x="546" y="541"/>
                </a:cubicBezTo>
                <a:close/>
                <a:moveTo>
                  <a:pt x="545" y="522"/>
                </a:moveTo>
                <a:cubicBezTo>
                  <a:pt x="545" y="521"/>
                  <a:pt x="546" y="522"/>
                  <a:pt x="546" y="522"/>
                </a:cubicBezTo>
                <a:cubicBezTo>
                  <a:pt x="546" y="523"/>
                  <a:pt x="544" y="522"/>
                  <a:pt x="545" y="522"/>
                </a:cubicBezTo>
                <a:close/>
                <a:moveTo>
                  <a:pt x="545" y="470"/>
                </a:moveTo>
                <a:cubicBezTo>
                  <a:pt x="545" y="468"/>
                  <a:pt x="544" y="467"/>
                  <a:pt x="544" y="465"/>
                </a:cubicBezTo>
                <a:cubicBezTo>
                  <a:pt x="545" y="466"/>
                  <a:pt x="546" y="468"/>
                  <a:pt x="545" y="470"/>
                </a:cubicBezTo>
                <a:close/>
                <a:moveTo>
                  <a:pt x="543" y="518"/>
                </a:moveTo>
                <a:cubicBezTo>
                  <a:pt x="543" y="518"/>
                  <a:pt x="543" y="518"/>
                  <a:pt x="544" y="518"/>
                </a:cubicBezTo>
                <a:cubicBezTo>
                  <a:pt x="545" y="517"/>
                  <a:pt x="546" y="522"/>
                  <a:pt x="543" y="521"/>
                </a:cubicBezTo>
                <a:cubicBezTo>
                  <a:pt x="543" y="521"/>
                  <a:pt x="542" y="520"/>
                  <a:pt x="542" y="519"/>
                </a:cubicBezTo>
                <a:cubicBezTo>
                  <a:pt x="542" y="519"/>
                  <a:pt x="541" y="519"/>
                  <a:pt x="541" y="518"/>
                </a:cubicBezTo>
                <a:cubicBezTo>
                  <a:pt x="541" y="517"/>
                  <a:pt x="543" y="517"/>
                  <a:pt x="543" y="518"/>
                </a:cubicBezTo>
                <a:cubicBezTo>
                  <a:pt x="543" y="518"/>
                  <a:pt x="543" y="518"/>
                  <a:pt x="543" y="518"/>
                </a:cubicBezTo>
                <a:close/>
                <a:moveTo>
                  <a:pt x="541" y="454"/>
                </a:moveTo>
                <a:cubicBezTo>
                  <a:pt x="542" y="456"/>
                  <a:pt x="543" y="459"/>
                  <a:pt x="543" y="461"/>
                </a:cubicBezTo>
                <a:cubicBezTo>
                  <a:pt x="542" y="459"/>
                  <a:pt x="541" y="457"/>
                  <a:pt x="541" y="454"/>
                </a:cubicBezTo>
                <a:close/>
                <a:moveTo>
                  <a:pt x="539" y="439"/>
                </a:moveTo>
                <a:cubicBezTo>
                  <a:pt x="541" y="443"/>
                  <a:pt x="541" y="450"/>
                  <a:pt x="542" y="454"/>
                </a:cubicBezTo>
                <a:cubicBezTo>
                  <a:pt x="540" y="450"/>
                  <a:pt x="540" y="445"/>
                  <a:pt x="539" y="439"/>
                </a:cubicBezTo>
                <a:close/>
                <a:moveTo>
                  <a:pt x="539" y="439"/>
                </a:moveTo>
                <a:cubicBezTo>
                  <a:pt x="538" y="438"/>
                  <a:pt x="538" y="436"/>
                  <a:pt x="538" y="434"/>
                </a:cubicBezTo>
                <a:cubicBezTo>
                  <a:pt x="540" y="435"/>
                  <a:pt x="540" y="437"/>
                  <a:pt x="539" y="439"/>
                </a:cubicBezTo>
                <a:close/>
                <a:moveTo>
                  <a:pt x="539" y="432"/>
                </a:moveTo>
                <a:cubicBezTo>
                  <a:pt x="539" y="433"/>
                  <a:pt x="540" y="433"/>
                  <a:pt x="539" y="434"/>
                </a:cubicBezTo>
                <a:cubicBezTo>
                  <a:pt x="538" y="434"/>
                  <a:pt x="538" y="429"/>
                  <a:pt x="539" y="432"/>
                </a:cubicBezTo>
                <a:close/>
                <a:moveTo>
                  <a:pt x="538" y="420"/>
                </a:moveTo>
                <a:cubicBezTo>
                  <a:pt x="538" y="420"/>
                  <a:pt x="539" y="420"/>
                  <a:pt x="538" y="421"/>
                </a:cubicBezTo>
                <a:cubicBezTo>
                  <a:pt x="537" y="421"/>
                  <a:pt x="537" y="418"/>
                  <a:pt x="538" y="420"/>
                </a:cubicBezTo>
                <a:close/>
                <a:moveTo>
                  <a:pt x="537" y="551"/>
                </a:moveTo>
                <a:cubicBezTo>
                  <a:pt x="538" y="550"/>
                  <a:pt x="539" y="551"/>
                  <a:pt x="539" y="552"/>
                </a:cubicBezTo>
                <a:cubicBezTo>
                  <a:pt x="539" y="554"/>
                  <a:pt x="536" y="553"/>
                  <a:pt x="537" y="551"/>
                </a:cubicBezTo>
                <a:close/>
                <a:moveTo>
                  <a:pt x="535" y="409"/>
                </a:moveTo>
                <a:cubicBezTo>
                  <a:pt x="536" y="409"/>
                  <a:pt x="536" y="411"/>
                  <a:pt x="535" y="409"/>
                </a:cubicBezTo>
                <a:close/>
                <a:moveTo>
                  <a:pt x="535" y="418"/>
                </a:moveTo>
                <a:cubicBezTo>
                  <a:pt x="533" y="417"/>
                  <a:pt x="535" y="416"/>
                  <a:pt x="535" y="418"/>
                </a:cubicBezTo>
                <a:close/>
                <a:moveTo>
                  <a:pt x="534" y="460"/>
                </a:moveTo>
                <a:cubicBezTo>
                  <a:pt x="535" y="460"/>
                  <a:pt x="536" y="461"/>
                  <a:pt x="536" y="461"/>
                </a:cubicBezTo>
                <a:cubicBezTo>
                  <a:pt x="537" y="465"/>
                  <a:pt x="533" y="461"/>
                  <a:pt x="534" y="460"/>
                </a:cubicBezTo>
                <a:close/>
                <a:moveTo>
                  <a:pt x="301" y="28"/>
                </a:moveTo>
                <a:cubicBezTo>
                  <a:pt x="300" y="27"/>
                  <a:pt x="303" y="29"/>
                  <a:pt x="301" y="28"/>
                </a:cubicBezTo>
                <a:close/>
                <a:moveTo>
                  <a:pt x="308" y="19"/>
                </a:moveTo>
                <a:cubicBezTo>
                  <a:pt x="310" y="20"/>
                  <a:pt x="312" y="22"/>
                  <a:pt x="314" y="24"/>
                </a:cubicBezTo>
                <a:cubicBezTo>
                  <a:pt x="311" y="23"/>
                  <a:pt x="310" y="21"/>
                  <a:pt x="308" y="19"/>
                </a:cubicBezTo>
                <a:close/>
                <a:moveTo>
                  <a:pt x="314" y="19"/>
                </a:moveTo>
                <a:cubicBezTo>
                  <a:pt x="314" y="19"/>
                  <a:pt x="314" y="19"/>
                  <a:pt x="314" y="19"/>
                </a:cubicBezTo>
                <a:cubicBezTo>
                  <a:pt x="315" y="20"/>
                  <a:pt x="314" y="19"/>
                  <a:pt x="314" y="19"/>
                </a:cubicBezTo>
                <a:close/>
                <a:moveTo>
                  <a:pt x="286" y="38"/>
                </a:moveTo>
                <a:cubicBezTo>
                  <a:pt x="286" y="38"/>
                  <a:pt x="286" y="38"/>
                  <a:pt x="286" y="38"/>
                </a:cubicBezTo>
                <a:cubicBezTo>
                  <a:pt x="286" y="38"/>
                  <a:pt x="287" y="38"/>
                  <a:pt x="287" y="38"/>
                </a:cubicBezTo>
                <a:cubicBezTo>
                  <a:pt x="287" y="38"/>
                  <a:pt x="287" y="38"/>
                  <a:pt x="286" y="38"/>
                </a:cubicBezTo>
                <a:close/>
                <a:moveTo>
                  <a:pt x="290" y="56"/>
                </a:moveTo>
                <a:cubicBezTo>
                  <a:pt x="291" y="55"/>
                  <a:pt x="292" y="57"/>
                  <a:pt x="290" y="56"/>
                </a:cubicBezTo>
                <a:close/>
                <a:moveTo>
                  <a:pt x="294" y="57"/>
                </a:moveTo>
                <a:cubicBezTo>
                  <a:pt x="292" y="57"/>
                  <a:pt x="293" y="55"/>
                  <a:pt x="294" y="57"/>
                </a:cubicBezTo>
                <a:close/>
                <a:moveTo>
                  <a:pt x="292" y="34"/>
                </a:moveTo>
                <a:cubicBezTo>
                  <a:pt x="293" y="33"/>
                  <a:pt x="294" y="34"/>
                  <a:pt x="294" y="35"/>
                </a:cubicBezTo>
                <a:cubicBezTo>
                  <a:pt x="293" y="35"/>
                  <a:pt x="293" y="34"/>
                  <a:pt x="292" y="34"/>
                </a:cubicBezTo>
                <a:close/>
                <a:moveTo>
                  <a:pt x="301" y="46"/>
                </a:moveTo>
                <a:cubicBezTo>
                  <a:pt x="302" y="47"/>
                  <a:pt x="299" y="45"/>
                  <a:pt x="301" y="46"/>
                </a:cubicBezTo>
                <a:close/>
                <a:moveTo>
                  <a:pt x="300" y="50"/>
                </a:moveTo>
                <a:cubicBezTo>
                  <a:pt x="298" y="49"/>
                  <a:pt x="302" y="52"/>
                  <a:pt x="300" y="50"/>
                </a:cubicBezTo>
                <a:close/>
                <a:moveTo>
                  <a:pt x="301" y="48"/>
                </a:moveTo>
                <a:cubicBezTo>
                  <a:pt x="300" y="48"/>
                  <a:pt x="300" y="47"/>
                  <a:pt x="300" y="47"/>
                </a:cubicBezTo>
                <a:cubicBezTo>
                  <a:pt x="301" y="45"/>
                  <a:pt x="304" y="50"/>
                  <a:pt x="301" y="48"/>
                </a:cubicBezTo>
                <a:close/>
                <a:moveTo>
                  <a:pt x="197" y="116"/>
                </a:moveTo>
                <a:cubicBezTo>
                  <a:pt x="197" y="115"/>
                  <a:pt x="196" y="115"/>
                  <a:pt x="197" y="115"/>
                </a:cubicBezTo>
                <a:cubicBezTo>
                  <a:pt x="198" y="114"/>
                  <a:pt x="199" y="117"/>
                  <a:pt x="197" y="116"/>
                </a:cubicBezTo>
                <a:close/>
                <a:moveTo>
                  <a:pt x="204" y="118"/>
                </a:moveTo>
                <a:cubicBezTo>
                  <a:pt x="205" y="118"/>
                  <a:pt x="206" y="119"/>
                  <a:pt x="205" y="119"/>
                </a:cubicBezTo>
                <a:cubicBezTo>
                  <a:pt x="205" y="120"/>
                  <a:pt x="203" y="119"/>
                  <a:pt x="204" y="118"/>
                </a:cubicBezTo>
                <a:close/>
                <a:moveTo>
                  <a:pt x="201" y="107"/>
                </a:moveTo>
                <a:cubicBezTo>
                  <a:pt x="205" y="105"/>
                  <a:pt x="202" y="110"/>
                  <a:pt x="201" y="107"/>
                </a:cubicBezTo>
                <a:cubicBezTo>
                  <a:pt x="201" y="106"/>
                  <a:pt x="201" y="107"/>
                  <a:pt x="201" y="107"/>
                </a:cubicBezTo>
                <a:close/>
                <a:moveTo>
                  <a:pt x="203" y="122"/>
                </a:moveTo>
                <a:cubicBezTo>
                  <a:pt x="203" y="122"/>
                  <a:pt x="202" y="122"/>
                  <a:pt x="202" y="121"/>
                </a:cubicBezTo>
                <a:cubicBezTo>
                  <a:pt x="202" y="121"/>
                  <a:pt x="202" y="121"/>
                  <a:pt x="202" y="121"/>
                </a:cubicBezTo>
                <a:cubicBezTo>
                  <a:pt x="202" y="120"/>
                  <a:pt x="201" y="119"/>
                  <a:pt x="200" y="118"/>
                </a:cubicBezTo>
                <a:cubicBezTo>
                  <a:pt x="202" y="119"/>
                  <a:pt x="203" y="121"/>
                  <a:pt x="205" y="124"/>
                </a:cubicBezTo>
                <a:cubicBezTo>
                  <a:pt x="204" y="123"/>
                  <a:pt x="203" y="123"/>
                  <a:pt x="203" y="122"/>
                </a:cubicBezTo>
                <a:close/>
                <a:moveTo>
                  <a:pt x="205" y="124"/>
                </a:moveTo>
                <a:cubicBezTo>
                  <a:pt x="206" y="123"/>
                  <a:pt x="207" y="128"/>
                  <a:pt x="205" y="126"/>
                </a:cubicBezTo>
                <a:cubicBezTo>
                  <a:pt x="205" y="125"/>
                  <a:pt x="204" y="125"/>
                  <a:pt x="205" y="124"/>
                </a:cubicBezTo>
                <a:close/>
                <a:moveTo>
                  <a:pt x="205" y="140"/>
                </a:moveTo>
                <a:cubicBezTo>
                  <a:pt x="204" y="140"/>
                  <a:pt x="204" y="139"/>
                  <a:pt x="205" y="139"/>
                </a:cubicBezTo>
                <a:cubicBezTo>
                  <a:pt x="206" y="138"/>
                  <a:pt x="207" y="141"/>
                  <a:pt x="205" y="140"/>
                </a:cubicBezTo>
                <a:close/>
                <a:moveTo>
                  <a:pt x="77" y="199"/>
                </a:moveTo>
                <a:cubicBezTo>
                  <a:pt x="79" y="200"/>
                  <a:pt x="77" y="201"/>
                  <a:pt x="77" y="199"/>
                </a:cubicBezTo>
                <a:close/>
                <a:moveTo>
                  <a:pt x="21" y="249"/>
                </a:moveTo>
                <a:cubicBezTo>
                  <a:pt x="20" y="248"/>
                  <a:pt x="22" y="247"/>
                  <a:pt x="21" y="249"/>
                </a:cubicBezTo>
                <a:close/>
                <a:moveTo>
                  <a:pt x="24" y="252"/>
                </a:moveTo>
                <a:cubicBezTo>
                  <a:pt x="23" y="252"/>
                  <a:pt x="23" y="251"/>
                  <a:pt x="24" y="251"/>
                </a:cubicBezTo>
                <a:cubicBezTo>
                  <a:pt x="24" y="250"/>
                  <a:pt x="24" y="252"/>
                  <a:pt x="24" y="252"/>
                </a:cubicBezTo>
                <a:close/>
                <a:moveTo>
                  <a:pt x="23" y="249"/>
                </a:moveTo>
                <a:cubicBezTo>
                  <a:pt x="23" y="249"/>
                  <a:pt x="24" y="248"/>
                  <a:pt x="24" y="248"/>
                </a:cubicBezTo>
                <a:cubicBezTo>
                  <a:pt x="26" y="247"/>
                  <a:pt x="24" y="251"/>
                  <a:pt x="23" y="249"/>
                </a:cubicBezTo>
                <a:close/>
                <a:moveTo>
                  <a:pt x="26" y="245"/>
                </a:moveTo>
                <a:cubicBezTo>
                  <a:pt x="25" y="245"/>
                  <a:pt x="25" y="244"/>
                  <a:pt x="25" y="244"/>
                </a:cubicBezTo>
                <a:cubicBezTo>
                  <a:pt x="26" y="243"/>
                  <a:pt x="26" y="245"/>
                  <a:pt x="26" y="245"/>
                </a:cubicBezTo>
                <a:close/>
                <a:moveTo>
                  <a:pt x="33" y="251"/>
                </a:moveTo>
                <a:cubicBezTo>
                  <a:pt x="34" y="250"/>
                  <a:pt x="34" y="253"/>
                  <a:pt x="33" y="253"/>
                </a:cubicBezTo>
                <a:cubicBezTo>
                  <a:pt x="33" y="252"/>
                  <a:pt x="33" y="251"/>
                  <a:pt x="33" y="251"/>
                </a:cubicBezTo>
                <a:close/>
                <a:moveTo>
                  <a:pt x="28" y="258"/>
                </a:moveTo>
                <a:cubicBezTo>
                  <a:pt x="28" y="259"/>
                  <a:pt x="27" y="257"/>
                  <a:pt x="27" y="257"/>
                </a:cubicBezTo>
                <a:cubicBezTo>
                  <a:pt x="28" y="256"/>
                  <a:pt x="28" y="258"/>
                  <a:pt x="28" y="258"/>
                </a:cubicBezTo>
                <a:close/>
                <a:moveTo>
                  <a:pt x="29" y="249"/>
                </a:moveTo>
                <a:cubicBezTo>
                  <a:pt x="29" y="248"/>
                  <a:pt x="30" y="249"/>
                  <a:pt x="29" y="250"/>
                </a:cubicBezTo>
                <a:cubicBezTo>
                  <a:pt x="29" y="250"/>
                  <a:pt x="28" y="249"/>
                  <a:pt x="29" y="249"/>
                </a:cubicBezTo>
                <a:close/>
                <a:moveTo>
                  <a:pt x="29" y="275"/>
                </a:moveTo>
                <a:cubicBezTo>
                  <a:pt x="29" y="276"/>
                  <a:pt x="30" y="274"/>
                  <a:pt x="29" y="275"/>
                </a:cubicBezTo>
                <a:close/>
                <a:moveTo>
                  <a:pt x="29" y="247"/>
                </a:moveTo>
                <a:cubicBezTo>
                  <a:pt x="29" y="247"/>
                  <a:pt x="28" y="247"/>
                  <a:pt x="29" y="248"/>
                </a:cubicBezTo>
                <a:cubicBezTo>
                  <a:pt x="28" y="247"/>
                  <a:pt x="28" y="246"/>
                  <a:pt x="28" y="246"/>
                </a:cubicBezTo>
                <a:cubicBezTo>
                  <a:pt x="28" y="246"/>
                  <a:pt x="28" y="245"/>
                  <a:pt x="28" y="245"/>
                </a:cubicBezTo>
                <a:cubicBezTo>
                  <a:pt x="28" y="244"/>
                  <a:pt x="25" y="241"/>
                  <a:pt x="27" y="240"/>
                </a:cubicBezTo>
                <a:cubicBezTo>
                  <a:pt x="31" y="239"/>
                  <a:pt x="30" y="243"/>
                  <a:pt x="30" y="244"/>
                </a:cubicBezTo>
                <a:cubicBezTo>
                  <a:pt x="30" y="244"/>
                  <a:pt x="30" y="245"/>
                  <a:pt x="30" y="245"/>
                </a:cubicBezTo>
                <a:cubicBezTo>
                  <a:pt x="31" y="245"/>
                  <a:pt x="31" y="247"/>
                  <a:pt x="30" y="247"/>
                </a:cubicBezTo>
                <a:cubicBezTo>
                  <a:pt x="30" y="247"/>
                  <a:pt x="30" y="247"/>
                  <a:pt x="30" y="247"/>
                </a:cubicBezTo>
                <a:cubicBezTo>
                  <a:pt x="29" y="247"/>
                  <a:pt x="29" y="247"/>
                  <a:pt x="29" y="247"/>
                </a:cubicBezTo>
                <a:close/>
                <a:moveTo>
                  <a:pt x="30" y="259"/>
                </a:moveTo>
                <a:cubicBezTo>
                  <a:pt x="31" y="258"/>
                  <a:pt x="32" y="262"/>
                  <a:pt x="31" y="262"/>
                </a:cubicBezTo>
                <a:cubicBezTo>
                  <a:pt x="30" y="262"/>
                  <a:pt x="29" y="260"/>
                  <a:pt x="30" y="259"/>
                </a:cubicBezTo>
                <a:close/>
                <a:moveTo>
                  <a:pt x="32" y="282"/>
                </a:moveTo>
                <a:cubicBezTo>
                  <a:pt x="32" y="281"/>
                  <a:pt x="33" y="281"/>
                  <a:pt x="33" y="282"/>
                </a:cubicBezTo>
                <a:cubicBezTo>
                  <a:pt x="33" y="284"/>
                  <a:pt x="29" y="282"/>
                  <a:pt x="32" y="282"/>
                </a:cubicBezTo>
                <a:close/>
                <a:moveTo>
                  <a:pt x="33" y="261"/>
                </a:moveTo>
                <a:cubicBezTo>
                  <a:pt x="33" y="261"/>
                  <a:pt x="32" y="260"/>
                  <a:pt x="33" y="259"/>
                </a:cubicBezTo>
                <a:cubicBezTo>
                  <a:pt x="34" y="259"/>
                  <a:pt x="34" y="261"/>
                  <a:pt x="33" y="261"/>
                </a:cubicBezTo>
                <a:close/>
                <a:moveTo>
                  <a:pt x="34" y="281"/>
                </a:moveTo>
                <a:cubicBezTo>
                  <a:pt x="33" y="279"/>
                  <a:pt x="35" y="278"/>
                  <a:pt x="34" y="281"/>
                </a:cubicBezTo>
                <a:close/>
                <a:moveTo>
                  <a:pt x="35" y="279"/>
                </a:moveTo>
                <a:cubicBezTo>
                  <a:pt x="35" y="280"/>
                  <a:pt x="34" y="277"/>
                  <a:pt x="35" y="277"/>
                </a:cubicBezTo>
                <a:cubicBezTo>
                  <a:pt x="36" y="278"/>
                  <a:pt x="36" y="278"/>
                  <a:pt x="35" y="279"/>
                </a:cubicBezTo>
                <a:close/>
                <a:moveTo>
                  <a:pt x="37" y="226"/>
                </a:moveTo>
                <a:cubicBezTo>
                  <a:pt x="37" y="226"/>
                  <a:pt x="37" y="227"/>
                  <a:pt x="37" y="228"/>
                </a:cubicBezTo>
                <a:cubicBezTo>
                  <a:pt x="37" y="228"/>
                  <a:pt x="36" y="227"/>
                  <a:pt x="37" y="226"/>
                </a:cubicBezTo>
                <a:close/>
                <a:moveTo>
                  <a:pt x="38" y="238"/>
                </a:moveTo>
                <a:cubicBezTo>
                  <a:pt x="37" y="238"/>
                  <a:pt x="37" y="236"/>
                  <a:pt x="38" y="236"/>
                </a:cubicBezTo>
                <a:cubicBezTo>
                  <a:pt x="39" y="235"/>
                  <a:pt x="39" y="238"/>
                  <a:pt x="38" y="238"/>
                </a:cubicBezTo>
                <a:close/>
                <a:moveTo>
                  <a:pt x="40" y="226"/>
                </a:moveTo>
                <a:cubicBezTo>
                  <a:pt x="41" y="226"/>
                  <a:pt x="40" y="228"/>
                  <a:pt x="40" y="228"/>
                </a:cubicBezTo>
                <a:cubicBezTo>
                  <a:pt x="39" y="228"/>
                  <a:pt x="38" y="227"/>
                  <a:pt x="40" y="226"/>
                </a:cubicBezTo>
                <a:close/>
                <a:moveTo>
                  <a:pt x="40" y="265"/>
                </a:moveTo>
                <a:cubicBezTo>
                  <a:pt x="39" y="266"/>
                  <a:pt x="40" y="264"/>
                  <a:pt x="40" y="265"/>
                </a:cubicBezTo>
                <a:close/>
                <a:moveTo>
                  <a:pt x="40" y="249"/>
                </a:moveTo>
                <a:cubicBezTo>
                  <a:pt x="40" y="249"/>
                  <a:pt x="41" y="250"/>
                  <a:pt x="41" y="250"/>
                </a:cubicBezTo>
                <a:cubicBezTo>
                  <a:pt x="40" y="250"/>
                  <a:pt x="40" y="250"/>
                  <a:pt x="40" y="249"/>
                </a:cubicBezTo>
                <a:close/>
                <a:moveTo>
                  <a:pt x="41" y="284"/>
                </a:moveTo>
                <a:cubicBezTo>
                  <a:pt x="40" y="284"/>
                  <a:pt x="39" y="281"/>
                  <a:pt x="40" y="281"/>
                </a:cubicBezTo>
                <a:cubicBezTo>
                  <a:pt x="41" y="280"/>
                  <a:pt x="42" y="283"/>
                  <a:pt x="41" y="284"/>
                </a:cubicBezTo>
                <a:close/>
                <a:moveTo>
                  <a:pt x="40" y="241"/>
                </a:moveTo>
                <a:cubicBezTo>
                  <a:pt x="39" y="241"/>
                  <a:pt x="38" y="238"/>
                  <a:pt x="40" y="237"/>
                </a:cubicBezTo>
                <a:cubicBezTo>
                  <a:pt x="42" y="237"/>
                  <a:pt x="41" y="241"/>
                  <a:pt x="40" y="241"/>
                </a:cubicBezTo>
                <a:close/>
                <a:moveTo>
                  <a:pt x="57" y="241"/>
                </a:moveTo>
                <a:cubicBezTo>
                  <a:pt x="57" y="241"/>
                  <a:pt x="56" y="243"/>
                  <a:pt x="56" y="243"/>
                </a:cubicBezTo>
                <a:cubicBezTo>
                  <a:pt x="56" y="243"/>
                  <a:pt x="56" y="241"/>
                  <a:pt x="57" y="241"/>
                </a:cubicBezTo>
                <a:close/>
                <a:moveTo>
                  <a:pt x="53" y="238"/>
                </a:moveTo>
                <a:cubicBezTo>
                  <a:pt x="56" y="242"/>
                  <a:pt x="53" y="244"/>
                  <a:pt x="53" y="238"/>
                </a:cubicBezTo>
                <a:close/>
                <a:moveTo>
                  <a:pt x="47" y="255"/>
                </a:moveTo>
                <a:cubicBezTo>
                  <a:pt x="46" y="254"/>
                  <a:pt x="48" y="253"/>
                  <a:pt x="47" y="255"/>
                </a:cubicBezTo>
                <a:close/>
                <a:moveTo>
                  <a:pt x="46" y="251"/>
                </a:moveTo>
                <a:cubicBezTo>
                  <a:pt x="47" y="251"/>
                  <a:pt x="47" y="253"/>
                  <a:pt x="46" y="253"/>
                </a:cubicBezTo>
                <a:cubicBezTo>
                  <a:pt x="45" y="253"/>
                  <a:pt x="46" y="251"/>
                  <a:pt x="46" y="251"/>
                </a:cubicBezTo>
                <a:close/>
                <a:moveTo>
                  <a:pt x="42" y="252"/>
                </a:moveTo>
                <a:cubicBezTo>
                  <a:pt x="43" y="251"/>
                  <a:pt x="44" y="254"/>
                  <a:pt x="43" y="254"/>
                </a:cubicBezTo>
                <a:cubicBezTo>
                  <a:pt x="42" y="255"/>
                  <a:pt x="42" y="252"/>
                  <a:pt x="42" y="252"/>
                </a:cubicBezTo>
                <a:close/>
                <a:moveTo>
                  <a:pt x="43" y="259"/>
                </a:moveTo>
                <a:cubicBezTo>
                  <a:pt x="43" y="260"/>
                  <a:pt x="44" y="261"/>
                  <a:pt x="43" y="262"/>
                </a:cubicBezTo>
                <a:cubicBezTo>
                  <a:pt x="42" y="261"/>
                  <a:pt x="42" y="260"/>
                  <a:pt x="43" y="259"/>
                </a:cubicBezTo>
                <a:close/>
                <a:moveTo>
                  <a:pt x="43" y="292"/>
                </a:moveTo>
                <a:cubicBezTo>
                  <a:pt x="43" y="292"/>
                  <a:pt x="43" y="292"/>
                  <a:pt x="44" y="292"/>
                </a:cubicBezTo>
                <a:cubicBezTo>
                  <a:pt x="44" y="292"/>
                  <a:pt x="44" y="292"/>
                  <a:pt x="44" y="292"/>
                </a:cubicBezTo>
                <a:cubicBezTo>
                  <a:pt x="44" y="292"/>
                  <a:pt x="43" y="292"/>
                  <a:pt x="43" y="292"/>
                </a:cubicBezTo>
                <a:close/>
                <a:moveTo>
                  <a:pt x="44" y="265"/>
                </a:moveTo>
                <a:cubicBezTo>
                  <a:pt x="44" y="265"/>
                  <a:pt x="43" y="264"/>
                  <a:pt x="44" y="264"/>
                </a:cubicBezTo>
                <a:cubicBezTo>
                  <a:pt x="44" y="263"/>
                  <a:pt x="45" y="264"/>
                  <a:pt x="44" y="265"/>
                </a:cubicBezTo>
                <a:close/>
                <a:moveTo>
                  <a:pt x="47" y="274"/>
                </a:moveTo>
                <a:cubicBezTo>
                  <a:pt x="46" y="275"/>
                  <a:pt x="44" y="270"/>
                  <a:pt x="46" y="269"/>
                </a:cubicBezTo>
                <a:cubicBezTo>
                  <a:pt x="48" y="269"/>
                  <a:pt x="48" y="274"/>
                  <a:pt x="47" y="274"/>
                </a:cubicBezTo>
                <a:close/>
                <a:moveTo>
                  <a:pt x="48" y="282"/>
                </a:moveTo>
                <a:cubicBezTo>
                  <a:pt x="46" y="280"/>
                  <a:pt x="50" y="279"/>
                  <a:pt x="48" y="282"/>
                </a:cubicBezTo>
                <a:close/>
                <a:moveTo>
                  <a:pt x="51" y="287"/>
                </a:moveTo>
                <a:cubicBezTo>
                  <a:pt x="48" y="289"/>
                  <a:pt x="51" y="281"/>
                  <a:pt x="52" y="285"/>
                </a:cubicBezTo>
                <a:cubicBezTo>
                  <a:pt x="52" y="286"/>
                  <a:pt x="51" y="287"/>
                  <a:pt x="51" y="287"/>
                </a:cubicBezTo>
                <a:close/>
                <a:moveTo>
                  <a:pt x="53" y="285"/>
                </a:moveTo>
                <a:cubicBezTo>
                  <a:pt x="54" y="284"/>
                  <a:pt x="54" y="285"/>
                  <a:pt x="54" y="285"/>
                </a:cubicBezTo>
                <a:cubicBezTo>
                  <a:pt x="53" y="286"/>
                  <a:pt x="54" y="285"/>
                  <a:pt x="53" y="285"/>
                </a:cubicBezTo>
                <a:close/>
                <a:moveTo>
                  <a:pt x="55" y="281"/>
                </a:moveTo>
                <a:cubicBezTo>
                  <a:pt x="54" y="282"/>
                  <a:pt x="56" y="280"/>
                  <a:pt x="55" y="281"/>
                </a:cubicBezTo>
                <a:close/>
                <a:moveTo>
                  <a:pt x="57" y="266"/>
                </a:moveTo>
                <a:cubicBezTo>
                  <a:pt x="56" y="266"/>
                  <a:pt x="54" y="265"/>
                  <a:pt x="54" y="265"/>
                </a:cubicBezTo>
                <a:cubicBezTo>
                  <a:pt x="50" y="263"/>
                  <a:pt x="46" y="255"/>
                  <a:pt x="50" y="252"/>
                </a:cubicBezTo>
                <a:cubicBezTo>
                  <a:pt x="52" y="251"/>
                  <a:pt x="56" y="253"/>
                  <a:pt x="56" y="254"/>
                </a:cubicBezTo>
                <a:cubicBezTo>
                  <a:pt x="56" y="255"/>
                  <a:pt x="56" y="256"/>
                  <a:pt x="56" y="257"/>
                </a:cubicBezTo>
                <a:cubicBezTo>
                  <a:pt x="56" y="258"/>
                  <a:pt x="57" y="258"/>
                  <a:pt x="57" y="258"/>
                </a:cubicBezTo>
                <a:cubicBezTo>
                  <a:pt x="58" y="260"/>
                  <a:pt x="57" y="262"/>
                  <a:pt x="57" y="264"/>
                </a:cubicBezTo>
                <a:cubicBezTo>
                  <a:pt x="57" y="265"/>
                  <a:pt x="57" y="265"/>
                  <a:pt x="57" y="266"/>
                </a:cubicBezTo>
                <a:close/>
                <a:moveTo>
                  <a:pt x="58" y="333"/>
                </a:moveTo>
                <a:cubicBezTo>
                  <a:pt x="58" y="333"/>
                  <a:pt x="57" y="333"/>
                  <a:pt x="57" y="332"/>
                </a:cubicBezTo>
                <a:cubicBezTo>
                  <a:pt x="57" y="331"/>
                  <a:pt x="58" y="332"/>
                  <a:pt x="58" y="333"/>
                </a:cubicBezTo>
                <a:close/>
                <a:moveTo>
                  <a:pt x="64" y="334"/>
                </a:moveTo>
                <a:cubicBezTo>
                  <a:pt x="63" y="334"/>
                  <a:pt x="63" y="333"/>
                  <a:pt x="64" y="332"/>
                </a:cubicBezTo>
                <a:cubicBezTo>
                  <a:pt x="64" y="332"/>
                  <a:pt x="65" y="334"/>
                  <a:pt x="64" y="334"/>
                </a:cubicBezTo>
                <a:close/>
                <a:moveTo>
                  <a:pt x="70" y="242"/>
                </a:moveTo>
                <a:cubicBezTo>
                  <a:pt x="71" y="242"/>
                  <a:pt x="72" y="242"/>
                  <a:pt x="72" y="243"/>
                </a:cubicBezTo>
                <a:cubicBezTo>
                  <a:pt x="72" y="245"/>
                  <a:pt x="68" y="243"/>
                  <a:pt x="70" y="242"/>
                </a:cubicBezTo>
                <a:close/>
                <a:moveTo>
                  <a:pt x="71" y="259"/>
                </a:moveTo>
                <a:cubicBezTo>
                  <a:pt x="70" y="259"/>
                  <a:pt x="70" y="258"/>
                  <a:pt x="70" y="258"/>
                </a:cubicBezTo>
                <a:cubicBezTo>
                  <a:pt x="71" y="257"/>
                  <a:pt x="71" y="259"/>
                  <a:pt x="71" y="259"/>
                </a:cubicBezTo>
                <a:close/>
                <a:moveTo>
                  <a:pt x="68" y="253"/>
                </a:moveTo>
                <a:cubicBezTo>
                  <a:pt x="69" y="252"/>
                  <a:pt x="69" y="254"/>
                  <a:pt x="68" y="254"/>
                </a:cubicBezTo>
                <a:cubicBezTo>
                  <a:pt x="68" y="254"/>
                  <a:pt x="67" y="253"/>
                  <a:pt x="68" y="253"/>
                </a:cubicBezTo>
                <a:close/>
                <a:moveTo>
                  <a:pt x="68" y="246"/>
                </a:moveTo>
                <a:cubicBezTo>
                  <a:pt x="68" y="246"/>
                  <a:pt x="69" y="247"/>
                  <a:pt x="68" y="247"/>
                </a:cubicBezTo>
                <a:cubicBezTo>
                  <a:pt x="68" y="247"/>
                  <a:pt x="67" y="247"/>
                  <a:pt x="68" y="246"/>
                </a:cubicBezTo>
                <a:close/>
                <a:moveTo>
                  <a:pt x="69" y="248"/>
                </a:moveTo>
                <a:cubicBezTo>
                  <a:pt x="68" y="246"/>
                  <a:pt x="69" y="250"/>
                  <a:pt x="69" y="248"/>
                </a:cubicBezTo>
                <a:close/>
                <a:moveTo>
                  <a:pt x="67" y="243"/>
                </a:moveTo>
                <a:cubicBezTo>
                  <a:pt x="68" y="244"/>
                  <a:pt x="68" y="245"/>
                  <a:pt x="69" y="246"/>
                </a:cubicBezTo>
                <a:cubicBezTo>
                  <a:pt x="68" y="246"/>
                  <a:pt x="67" y="244"/>
                  <a:pt x="67" y="243"/>
                </a:cubicBezTo>
                <a:close/>
                <a:moveTo>
                  <a:pt x="67" y="277"/>
                </a:moveTo>
                <a:cubicBezTo>
                  <a:pt x="69" y="275"/>
                  <a:pt x="70" y="280"/>
                  <a:pt x="70" y="282"/>
                </a:cubicBezTo>
                <a:cubicBezTo>
                  <a:pt x="68" y="281"/>
                  <a:pt x="66" y="279"/>
                  <a:pt x="67" y="277"/>
                </a:cubicBezTo>
                <a:close/>
                <a:moveTo>
                  <a:pt x="66" y="267"/>
                </a:moveTo>
                <a:cubicBezTo>
                  <a:pt x="65" y="267"/>
                  <a:pt x="65" y="266"/>
                  <a:pt x="66" y="266"/>
                </a:cubicBezTo>
                <a:cubicBezTo>
                  <a:pt x="67" y="265"/>
                  <a:pt x="66" y="267"/>
                  <a:pt x="66" y="267"/>
                </a:cubicBezTo>
                <a:close/>
                <a:moveTo>
                  <a:pt x="64" y="237"/>
                </a:moveTo>
                <a:cubicBezTo>
                  <a:pt x="65" y="236"/>
                  <a:pt x="66" y="239"/>
                  <a:pt x="65" y="239"/>
                </a:cubicBezTo>
                <a:cubicBezTo>
                  <a:pt x="64" y="239"/>
                  <a:pt x="64" y="238"/>
                  <a:pt x="64" y="237"/>
                </a:cubicBezTo>
                <a:close/>
                <a:moveTo>
                  <a:pt x="64" y="255"/>
                </a:moveTo>
                <a:cubicBezTo>
                  <a:pt x="64" y="255"/>
                  <a:pt x="65" y="256"/>
                  <a:pt x="64" y="257"/>
                </a:cubicBezTo>
                <a:cubicBezTo>
                  <a:pt x="64" y="256"/>
                  <a:pt x="64" y="256"/>
                  <a:pt x="64" y="255"/>
                </a:cubicBezTo>
                <a:close/>
                <a:moveTo>
                  <a:pt x="64" y="265"/>
                </a:moveTo>
                <a:cubicBezTo>
                  <a:pt x="64" y="265"/>
                  <a:pt x="64" y="265"/>
                  <a:pt x="64" y="265"/>
                </a:cubicBezTo>
                <a:cubicBezTo>
                  <a:pt x="65" y="264"/>
                  <a:pt x="62" y="267"/>
                  <a:pt x="64" y="265"/>
                </a:cubicBezTo>
                <a:close/>
                <a:moveTo>
                  <a:pt x="63" y="259"/>
                </a:moveTo>
                <a:cubicBezTo>
                  <a:pt x="64" y="258"/>
                  <a:pt x="64" y="259"/>
                  <a:pt x="64" y="259"/>
                </a:cubicBezTo>
                <a:cubicBezTo>
                  <a:pt x="64" y="260"/>
                  <a:pt x="63" y="259"/>
                  <a:pt x="63" y="259"/>
                </a:cubicBezTo>
                <a:close/>
                <a:moveTo>
                  <a:pt x="59" y="265"/>
                </a:moveTo>
                <a:cubicBezTo>
                  <a:pt x="60" y="265"/>
                  <a:pt x="61" y="268"/>
                  <a:pt x="60" y="269"/>
                </a:cubicBezTo>
                <a:cubicBezTo>
                  <a:pt x="59" y="269"/>
                  <a:pt x="58" y="266"/>
                  <a:pt x="59" y="265"/>
                </a:cubicBezTo>
                <a:close/>
                <a:moveTo>
                  <a:pt x="67" y="342"/>
                </a:moveTo>
                <a:cubicBezTo>
                  <a:pt x="66" y="343"/>
                  <a:pt x="65" y="341"/>
                  <a:pt x="66" y="341"/>
                </a:cubicBezTo>
                <a:cubicBezTo>
                  <a:pt x="67" y="341"/>
                  <a:pt x="67" y="342"/>
                  <a:pt x="67" y="342"/>
                </a:cubicBezTo>
                <a:close/>
                <a:moveTo>
                  <a:pt x="70" y="301"/>
                </a:moveTo>
                <a:cubicBezTo>
                  <a:pt x="70" y="301"/>
                  <a:pt x="69" y="301"/>
                  <a:pt x="69" y="301"/>
                </a:cubicBezTo>
                <a:cubicBezTo>
                  <a:pt x="68" y="302"/>
                  <a:pt x="66" y="299"/>
                  <a:pt x="65" y="297"/>
                </a:cubicBezTo>
                <a:cubicBezTo>
                  <a:pt x="65" y="298"/>
                  <a:pt x="65" y="300"/>
                  <a:pt x="65" y="301"/>
                </a:cubicBezTo>
                <a:cubicBezTo>
                  <a:pt x="65" y="306"/>
                  <a:pt x="63" y="297"/>
                  <a:pt x="63" y="297"/>
                </a:cubicBezTo>
                <a:cubicBezTo>
                  <a:pt x="62" y="291"/>
                  <a:pt x="61" y="287"/>
                  <a:pt x="60" y="282"/>
                </a:cubicBezTo>
                <a:cubicBezTo>
                  <a:pt x="60" y="281"/>
                  <a:pt x="59" y="274"/>
                  <a:pt x="60" y="273"/>
                </a:cubicBezTo>
                <a:cubicBezTo>
                  <a:pt x="61" y="272"/>
                  <a:pt x="62" y="281"/>
                  <a:pt x="63" y="284"/>
                </a:cubicBezTo>
                <a:cubicBezTo>
                  <a:pt x="63" y="288"/>
                  <a:pt x="63" y="291"/>
                  <a:pt x="64" y="293"/>
                </a:cubicBezTo>
                <a:cubicBezTo>
                  <a:pt x="64" y="291"/>
                  <a:pt x="65" y="289"/>
                  <a:pt x="68" y="289"/>
                </a:cubicBezTo>
                <a:cubicBezTo>
                  <a:pt x="73" y="289"/>
                  <a:pt x="72" y="297"/>
                  <a:pt x="70" y="301"/>
                </a:cubicBezTo>
                <a:close/>
                <a:moveTo>
                  <a:pt x="72" y="283"/>
                </a:moveTo>
                <a:cubicBezTo>
                  <a:pt x="72" y="283"/>
                  <a:pt x="72" y="283"/>
                  <a:pt x="72" y="283"/>
                </a:cubicBezTo>
                <a:cubicBezTo>
                  <a:pt x="74" y="282"/>
                  <a:pt x="70" y="285"/>
                  <a:pt x="72" y="283"/>
                </a:cubicBezTo>
                <a:close/>
                <a:moveTo>
                  <a:pt x="25" y="317"/>
                </a:moveTo>
                <a:cubicBezTo>
                  <a:pt x="27" y="317"/>
                  <a:pt x="26" y="320"/>
                  <a:pt x="25" y="320"/>
                </a:cubicBezTo>
                <a:cubicBezTo>
                  <a:pt x="24" y="321"/>
                  <a:pt x="23" y="317"/>
                  <a:pt x="25" y="317"/>
                </a:cubicBezTo>
                <a:close/>
                <a:moveTo>
                  <a:pt x="24" y="294"/>
                </a:moveTo>
                <a:cubicBezTo>
                  <a:pt x="26" y="293"/>
                  <a:pt x="25" y="296"/>
                  <a:pt x="24" y="296"/>
                </a:cubicBezTo>
                <a:cubicBezTo>
                  <a:pt x="23" y="296"/>
                  <a:pt x="23" y="295"/>
                  <a:pt x="24" y="294"/>
                </a:cubicBezTo>
                <a:close/>
                <a:moveTo>
                  <a:pt x="8" y="242"/>
                </a:moveTo>
                <a:cubicBezTo>
                  <a:pt x="9" y="241"/>
                  <a:pt x="9" y="244"/>
                  <a:pt x="8" y="243"/>
                </a:cubicBezTo>
                <a:cubicBezTo>
                  <a:pt x="8" y="243"/>
                  <a:pt x="8" y="242"/>
                  <a:pt x="8" y="242"/>
                </a:cubicBezTo>
                <a:close/>
                <a:moveTo>
                  <a:pt x="2" y="238"/>
                </a:moveTo>
                <a:cubicBezTo>
                  <a:pt x="2" y="237"/>
                  <a:pt x="0" y="239"/>
                  <a:pt x="2" y="238"/>
                </a:cubicBezTo>
                <a:close/>
                <a:moveTo>
                  <a:pt x="2" y="242"/>
                </a:moveTo>
                <a:cubicBezTo>
                  <a:pt x="2" y="242"/>
                  <a:pt x="2" y="241"/>
                  <a:pt x="2" y="241"/>
                </a:cubicBezTo>
                <a:cubicBezTo>
                  <a:pt x="3" y="240"/>
                  <a:pt x="3" y="242"/>
                  <a:pt x="2" y="242"/>
                </a:cubicBezTo>
                <a:close/>
                <a:moveTo>
                  <a:pt x="3" y="351"/>
                </a:moveTo>
                <a:cubicBezTo>
                  <a:pt x="2" y="353"/>
                  <a:pt x="4" y="350"/>
                  <a:pt x="3" y="351"/>
                </a:cubicBezTo>
                <a:close/>
                <a:moveTo>
                  <a:pt x="3" y="442"/>
                </a:moveTo>
                <a:cubicBezTo>
                  <a:pt x="3" y="442"/>
                  <a:pt x="3" y="442"/>
                  <a:pt x="3" y="442"/>
                </a:cubicBezTo>
                <a:cubicBezTo>
                  <a:pt x="4" y="441"/>
                  <a:pt x="1" y="445"/>
                  <a:pt x="3" y="442"/>
                </a:cubicBezTo>
                <a:close/>
                <a:moveTo>
                  <a:pt x="11" y="295"/>
                </a:moveTo>
                <a:cubicBezTo>
                  <a:pt x="13" y="295"/>
                  <a:pt x="12" y="300"/>
                  <a:pt x="11" y="299"/>
                </a:cubicBezTo>
                <a:cubicBezTo>
                  <a:pt x="9" y="299"/>
                  <a:pt x="10" y="295"/>
                  <a:pt x="11" y="295"/>
                </a:cubicBezTo>
                <a:close/>
                <a:moveTo>
                  <a:pt x="9" y="283"/>
                </a:moveTo>
                <a:cubicBezTo>
                  <a:pt x="12" y="283"/>
                  <a:pt x="10" y="288"/>
                  <a:pt x="8" y="288"/>
                </a:cubicBezTo>
                <a:cubicBezTo>
                  <a:pt x="6" y="288"/>
                  <a:pt x="7" y="283"/>
                  <a:pt x="9" y="283"/>
                </a:cubicBezTo>
                <a:close/>
                <a:moveTo>
                  <a:pt x="5" y="239"/>
                </a:moveTo>
                <a:cubicBezTo>
                  <a:pt x="6" y="239"/>
                  <a:pt x="6" y="243"/>
                  <a:pt x="5" y="243"/>
                </a:cubicBezTo>
                <a:cubicBezTo>
                  <a:pt x="4" y="243"/>
                  <a:pt x="3" y="239"/>
                  <a:pt x="5" y="239"/>
                </a:cubicBezTo>
                <a:close/>
                <a:moveTo>
                  <a:pt x="5" y="282"/>
                </a:moveTo>
                <a:cubicBezTo>
                  <a:pt x="4" y="281"/>
                  <a:pt x="7" y="281"/>
                  <a:pt x="5" y="282"/>
                </a:cubicBezTo>
                <a:close/>
                <a:moveTo>
                  <a:pt x="6" y="383"/>
                </a:moveTo>
                <a:cubicBezTo>
                  <a:pt x="5" y="382"/>
                  <a:pt x="7" y="381"/>
                  <a:pt x="6" y="383"/>
                </a:cubicBezTo>
                <a:close/>
                <a:moveTo>
                  <a:pt x="7" y="413"/>
                </a:moveTo>
                <a:cubicBezTo>
                  <a:pt x="7" y="414"/>
                  <a:pt x="7" y="414"/>
                  <a:pt x="7" y="413"/>
                </a:cubicBezTo>
                <a:close/>
                <a:moveTo>
                  <a:pt x="7" y="412"/>
                </a:moveTo>
                <a:cubicBezTo>
                  <a:pt x="6" y="411"/>
                  <a:pt x="8" y="410"/>
                  <a:pt x="7" y="412"/>
                </a:cubicBezTo>
                <a:close/>
                <a:moveTo>
                  <a:pt x="11" y="364"/>
                </a:moveTo>
                <a:cubicBezTo>
                  <a:pt x="9" y="362"/>
                  <a:pt x="12" y="361"/>
                  <a:pt x="11" y="364"/>
                </a:cubicBezTo>
                <a:close/>
                <a:moveTo>
                  <a:pt x="11" y="360"/>
                </a:moveTo>
                <a:cubicBezTo>
                  <a:pt x="10" y="360"/>
                  <a:pt x="11" y="359"/>
                  <a:pt x="11" y="358"/>
                </a:cubicBezTo>
                <a:cubicBezTo>
                  <a:pt x="12" y="359"/>
                  <a:pt x="11" y="360"/>
                  <a:pt x="11" y="360"/>
                </a:cubicBezTo>
                <a:close/>
                <a:moveTo>
                  <a:pt x="12" y="342"/>
                </a:moveTo>
                <a:cubicBezTo>
                  <a:pt x="11" y="344"/>
                  <a:pt x="9" y="343"/>
                  <a:pt x="7" y="345"/>
                </a:cubicBezTo>
                <a:cubicBezTo>
                  <a:pt x="4" y="343"/>
                  <a:pt x="3" y="336"/>
                  <a:pt x="6" y="332"/>
                </a:cubicBezTo>
                <a:cubicBezTo>
                  <a:pt x="10" y="324"/>
                  <a:pt x="16" y="336"/>
                  <a:pt x="12" y="342"/>
                </a:cubicBezTo>
                <a:close/>
                <a:moveTo>
                  <a:pt x="13" y="293"/>
                </a:moveTo>
                <a:cubicBezTo>
                  <a:pt x="12" y="293"/>
                  <a:pt x="12" y="291"/>
                  <a:pt x="13" y="291"/>
                </a:cubicBezTo>
                <a:cubicBezTo>
                  <a:pt x="14" y="292"/>
                  <a:pt x="14" y="294"/>
                  <a:pt x="13" y="293"/>
                </a:cubicBezTo>
                <a:close/>
                <a:moveTo>
                  <a:pt x="20" y="292"/>
                </a:moveTo>
                <a:cubicBezTo>
                  <a:pt x="19" y="292"/>
                  <a:pt x="18" y="288"/>
                  <a:pt x="20" y="288"/>
                </a:cubicBezTo>
                <a:cubicBezTo>
                  <a:pt x="22" y="288"/>
                  <a:pt x="21" y="292"/>
                  <a:pt x="20" y="292"/>
                </a:cubicBezTo>
                <a:close/>
                <a:moveTo>
                  <a:pt x="21" y="325"/>
                </a:moveTo>
                <a:cubicBezTo>
                  <a:pt x="21" y="325"/>
                  <a:pt x="20" y="324"/>
                  <a:pt x="21" y="324"/>
                </a:cubicBezTo>
                <a:cubicBezTo>
                  <a:pt x="22" y="324"/>
                  <a:pt x="22" y="325"/>
                  <a:pt x="21" y="325"/>
                </a:cubicBezTo>
                <a:close/>
                <a:moveTo>
                  <a:pt x="22" y="295"/>
                </a:moveTo>
                <a:cubicBezTo>
                  <a:pt x="21" y="296"/>
                  <a:pt x="21" y="293"/>
                  <a:pt x="21" y="293"/>
                </a:cubicBezTo>
                <a:cubicBezTo>
                  <a:pt x="22" y="292"/>
                  <a:pt x="23" y="295"/>
                  <a:pt x="22" y="295"/>
                </a:cubicBezTo>
                <a:close/>
                <a:moveTo>
                  <a:pt x="26" y="373"/>
                </a:moveTo>
                <a:cubicBezTo>
                  <a:pt x="25" y="372"/>
                  <a:pt x="28" y="371"/>
                  <a:pt x="26" y="373"/>
                </a:cubicBezTo>
                <a:close/>
                <a:moveTo>
                  <a:pt x="27" y="459"/>
                </a:moveTo>
                <a:cubicBezTo>
                  <a:pt x="26" y="458"/>
                  <a:pt x="28" y="457"/>
                  <a:pt x="27" y="459"/>
                </a:cubicBezTo>
                <a:close/>
                <a:moveTo>
                  <a:pt x="31" y="330"/>
                </a:moveTo>
                <a:cubicBezTo>
                  <a:pt x="32" y="329"/>
                  <a:pt x="32" y="332"/>
                  <a:pt x="31" y="332"/>
                </a:cubicBezTo>
                <a:cubicBezTo>
                  <a:pt x="31" y="332"/>
                  <a:pt x="31" y="330"/>
                  <a:pt x="31" y="330"/>
                </a:cubicBezTo>
                <a:close/>
                <a:moveTo>
                  <a:pt x="31" y="465"/>
                </a:moveTo>
                <a:cubicBezTo>
                  <a:pt x="30" y="463"/>
                  <a:pt x="30" y="461"/>
                  <a:pt x="31" y="458"/>
                </a:cubicBezTo>
                <a:cubicBezTo>
                  <a:pt x="32" y="460"/>
                  <a:pt x="31" y="463"/>
                  <a:pt x="31" y="465"/>
                </a:cubicBezTo>
                <a:close/>
                <a:moveTo>
                  <a:pt x="33" y="366"/>
                </a:moveTo>
                <a:cubicBezTo>
                  <a:pt x="32" y="360"/>
                  <a:pt x="31" y="354"/>
                  <a:pt x="31" y="348"/>
                </a:cubicBezTo>
                <a:cubicBezTo>
                  <a:pt x="33" y="353"/>
                  <a:pt x="33" y="362"/>
                  <a:pt x="35" y="369"/>
                </a:cubicBezTo>
                <a:cubicBezTo>
                  <a:pt x="36" y="374"/>
                  <a:pt x="33" y="367"/>
                  <a:pt x="33" y="366"/>
                </a:cubicBezTo>
                <a:close/>
                <a:moveTo>
                  <a:pt x="35" y="330"/>
                </a:moveTo>
                <a:cubicBezTo>
                  <a:pt x="36" y="331"/>
                  <a:pt x="35" y="331"/>
                  <a:pt x="35" y="330"/>
                </a:cubicBezTo>
                <a:close/>
                <a:moveTo>
                  <a:pt x="46" y="336"/>
                </a:moveTo>
                <a:cubicBezTo>
                  <a:pt x="46" y="336"/>
                  <a:pt x="46" y="337"/>
                  <a:pt x="46" y="337"/>
                </a:cubicBezTo>
                <a:cubicBezTo>
                  <a:pt x="46" y="338"/>
                  <a:pt x="45" y="337"/>
                  <a:pt x="46" y="336"/>
                </a:cubicBezTo>
                <a:close/>
                <a:moveTo>
                  <a:pt x="39" y="421"/>
                </a:moveTo>
                <a:cubicBezTo>
                  <a:pt x="38" y="420"/>
                  <a:pt x="40" y="419"/>
                  <a:pt x="39" y="421"/>
                </a:cubicBezTo>
                <a:close/>
                <a:moveTo>
                  <a:pt x="40" y="416"/>
                </a:moveTo>
                <a:cubicBezTo>
                  <a:pt x="38" y="417"/>
                  <a:pt x="39" y="414"/>
                  <a:pt x="39" y="414"/>
                </a:cubicBezTo>
                <a:cubicBezTo>
                  <a:pt x="40" y="414"/>
                  <a:pt x="39" y="415"/>
                  <a:pt x="40" y="416"/>
                </a:cubicBezTo>
                <a:close/>
                <a:moveTo>
                  <a:pt x="43" y="333"/>
                </a:moveTo>
                <a:cubicBezTo>
                  <a:pt x="43" y="333"/>
                  <a:pt x="42" y="334"/>
                  <a:pt x="42" y="334"/>
                </a:cubicBezTo>
                <a:cubicBezTo>
                  <a:pt x="41" y="335"/>
                  <a:pt x="42" y="332"/>
                  <a:pt x="43" y="333"/>
                </a:cubicBezTo>
                <a:close/>
                <a:moveTo>
                  <a:pt x="43" y="405"/>
                </a:moveTo>
                <a:cubicBezTo>
                  <a:pt x="43" y="407"/>
                  <a:pt x="44" y="410"/>
                  <a:pt x="43" y="411"/>
                </a:cubicBezTo>
                <a:cubicBezTo>
                  <a:pt x="42" y="411"/>
                  <a:pt x="42" y="407"/>
                  <a:pt x="43" y="405"/>
                </a:cubicBezTo>
                <a:close/>
                <a:moveTo>
                  <a:pt x="43" y="446"/>
                </a:moveTo>
                <a:cubicBezTo>
                  <a:pt x="43" y="447"/>
                  <a:pt x="42" y="448"/>
                  <a:pt x="43" y="446"/>
                </a:cubicBezTo>
                <a:close/>
                <a:moveTo>
                  <a:pt x="43" y="449"/>
                </a:moveTo>
                <a:cubicBezTo>
                  <a:pt x="43" y="449"/>
                  <a:pt x="44" y="450"/>
                  <a:pt x="44" y="450"/>
                </a:cubicBezTo>
                <a:cubicBezTo>
                  <a:pt x="43" y="451"/>
                  <a:pt x="42" y="450"/>
                  <a:pt x="43" y="449"/>
                </a:cubicBezTo>
                <a:close/>
                <a:moveTo>
                  <a:pt x="43" y="404"/>
                </a:moveTo>
                <a:cubicBezTo>
                  <a:pt x="42" y="404"/>
                  <a:pt x="43" y="394"/>
                  <a:pt x="43" y="395"/>
                </a:cubicBezTo>
                <a:cubicBezTo>
                  <a:pt x="44" y="397"/>
                  <a:pt x="45" y="401"/>
                  <a:pt x="43" y="404"/>
                </a:cubicBezTo>
                <a:close/>
                <a:moveTo>
                  <a:pt x="44" y="379"/>
                </a:moveTo>
                <a:cubicBezTo>
                  <a:pt x="44" y="379"/>
                  <a:pt x="44" y="379"/>
                  <a:pt x="44" y="379"/>
                </a:cubicBezTo>
                <a:cubicBezTo>
                  <a:pt x="44" y="379"/>
                  <a:pt x="44" y="379"/>
                  <a:pt x="44" y="379"/>
                </a:cubicBezTo>
                <a:cubicBezTo>
                  <a:pt x="44" y="379"/>
                  <a:pt x="44" y="379"/>
                  <a:pt x="44" y="379"/>
                </a:cubicBezTo>
                <a:close/>
                <a:moveTo>
                  <a:pt x="46" y="410"/>
                </a:moveTo>
                <a:cubicBezTo>
                  <a:pt x="44" y="409"/>
                  <a:pt x="44" y="404"/>
                  <a:pt x="47" y="405"/>
                </a:cubicBezTo>
                <a:cubicBezTo>
                  <a:pt x="49" y="406"/>
                  <a:pt x="48" y="410"/>
                  <a:pt x="46" y="410"/>
                </a:cubicBezTo>
                <a:close/>
                <a:moveTo>
                  <a:pt x="48" y="365"/>
                </a:moveTo>
                <a:cubicBezTo>
                  <a:pt x="45" y="365"/>
                  <a:pt x="45" y="360"/>
                  <a:pt x="47" y="360"/>
                </a:cubicBezTo>
                <a:cubicBezTo>
                  <a:pt x="50" y="360"/>
                  <a:pt x="49" y="365"/>
                  <a:pt x="48" y="365"/>
                </a:cubicBezTo>
                <a:close/>
                <a:moveTo>
                  <a:pt x="52" y="444"/>
                </a:moveTo>
                <a:cubicBezTo>
                  <a:pt x="51" y="444"/>
                  <a:pt x="50" y="442"/>
                  <a:pt x="51" y="441"/>
                </a:cubicBezTo>
                <a:cubicBezTo>
                  <a:pt x="52" y="440"/>
                  <a:pt x="52" y="444"/>
                  <a:pt x="52" y="444"/>
                </a:cubicBezTo>
                <a:close/>
                <a:moveTo>
                  <a:pt x="55" y="387"/>
                </a:moveTo>
                <a:cubicBezTo>
                  <a:pt x="56" y="388"/>
                  <a:pt x="55" y="389"/>
                  <a:pt x="55" y="390"/>
                </a:cubicBezTo>
                <a:cubicBezTo>
                  <a:pt x="55" y="389"/>
                  <a:pt x="54" y="388"/>
                  <a:pt x="55" y="387"/>
                </a:cubicBezTo>
                <a:close/>
                <a:moveTo>
                  <a:pt x="54" y="397"/>
                </a:moveTo>
                <a:cubicBezTo>
                  <a:pt x="55" y="396"/>
                  <a:pt x="55" y="399"/>
                  <a:pt x="54" y="399"/>
                </a:cubicBezTo>
                <a:cubicBezTo>
                  <a:pt x="54" y="400"/>
                  <a:pt x="52" y="397"/>
                  <a:pt x="54" y="397"/>
                </a:cubicBezTo>
                <a:close/>
                <a:moveTo>
                  <a:pt x="55" y="464"/>
                </a:moveTo>
                <a:cubicBezTo>
                  <a:pt x="54" y="459"/>
                  <a:pt x="54" y="453"/>
                  <a:pt x="54" y="448"/>
                </a:cubicBezTo>
                <a:cubicBezTo>
                  <a:pt x="56" y="453"/>
                  <a:pt x="56" y="459"/>
                  <a:pt x="55" y="464"/>
                </a:cubicBezTo>
                <a:close/>
                <a:moveTo>
                  <a:pt x="57" y="480"/>
                </a:moveTo>
                <a:cubicBezTo>
                  <a:pt x="56" y="476"/>
                  <a:pt x="56" y="471"/>
                  <a:pt x="56" y="467"/>
                </a:cubicBezTo>
                <a:cubicBezTo>
                  <a:pt x="56" y="471"/>
                  <a:pt x="58" y="475"/>
                  <a:pt x="57" y="480"/>
                </a:cubicBezTo>
                <a:close/>
                <a:moveTo>
                  <a:pt x="64" y="450"/>
                </a:moveTo>
                <a:cubicBezTo>
                  <a:pt x="63" y="451"/>
                  <a:pt x="64" y="449"/>
                  <a:pt x="64" y="450"/>
                </a:cubicBezTo>
                <a:close/>
                <a:moveTo>
                  <a:pt x="71" y="454"/>
                </a:moveTo>
                <a:cubicBezTo>
                  <a:pt x="72" y="455"/>
                  <a:pt x="70" y="456"/>
                  <a:pt x="71" y="454"/>
                </a:cubicBezTo>
                <a:close/>
                <a:moveTo>
                  <a:pt x="75" y="408"/>
                </a:moveTo>
                <a:cubicBezTo>
                  <a:pt x="75" y="408"/>
                  <a:pt x="75" y="408"/>
                  <a:pt x="75" y="408"/>
                </a:cubicBezTo>
                <a:cubicBezTo>
                  <a:pt x="75" y="408"/>
                  <a:pt x="75" y="408"/>
                  <a:pt x="75" y="408"/>
                </a:cubicBezTo>
                <a:cubicBezTo>
                  <a:pt x="75" y="408"/>
                  <a:pt x="75" y="408"/>
                  <a:pt x="75" y="408"/>
                </a:cubicBezTo>
                <a:close/>
                <a:moveTo>
                  <a:pt x="80" y="382"/>
                </a:moveTo>
                <a:cubicBezTo>
                  <a:pt x="80" y="382"/>
                  <a:pt x="80" y="382"/>
                  <a:pt x="80" y="382"/>
                </a:cubicBezTo>
                <a:cubicBezTo>
                  <a:pt x="80" y="382"/>
                  <a:pt x="80" y="382"/>
                  <a:pt x="80" y="382"/>
                </a:cubicBezTo>
                <a:cubicBezTo>
                  <a:pt x="80" y="382"/>
                  <a:pt x="80" y="382"/>
                  <a:pt x="80" y="382"/>
                </a:cubicBezTo>
                <a:close/>
                <a:moveTo>
                  <a:pt x="78" y="214"/>
                </a:moveTo>
                <a:cubicBezTo>
                  <a:pt x="78" y="214"/>
                  <a:pt x="78" y="212"/>
                  <a:pt x="78" y="212"/>
                </a:cubicBezTo>
                <a:cubicBezTo>
                  <a:pt x="78" y="211"/>
                  <a:pt x="79" y="213"/>
                  <a:pt x="78" y="214"/>
                </a:cubicBezTo>
                <a:close/>
                <a:moveTo>
                  <a:pt x="78" y="214"/>
                </a:moveTo>
                <a:cubicBezTo>
                  <a:pt x="79" y="214"/>
                  <a:pt x="78" y="216"/>
                  <a:pt x="78" y="216"/>
                </a:cubicBezTo>
                <a:cubicBezTo>
                  <a:pt x="78" y="216"/>
                  <a:pt x="77" y="215"/>
                  <a:pt x="78" y="214"/>
                </a:cubicBezTo>
                <a:close/>
                <a:moveTo>
                  <a:pt x="76" y="204"/>
                </a:moveTo>
                <a:cubicBezTo>
                  <a:pt x="77" y="205"/>
                  <a:pt x="77" y="206"/>
                  <a:pt x="77" y="208"/>
                </a:cubicBezTo>
                <a:cubicBezTo>
                  <a:pt x="77" y="207"/>
                  <a:pt x="75" y="206"/>
                  <a:pt x="76" y="204"/>
                </a:cubicBezTo>
                <a:close/>
                <a:moveTo>
                  <a:pt x="76" y="221"/>
                </a:moveTo>
                <a:cubicBezTo>
                  <a:pt x="76" y="221"/>
                  <a:pt x="76" y="221"/>
                  <a:pt x="76" y="221"/>
                </a:cubicBezTo>
                <a:cubicBezTo>
                  <a:pt x="76" y="222"/>
                  <a:pt x="75" y="221"/>
                  <a:pt x="76" y="221"/>
                </a:cubicBezTo>
                <a:close/>
                <a:moveTo>
                  <a:pt x="77" y="253"/>
                </a:moveTo>
                <a:cubicBezTo>
                  <a:pt x="77" y="254"/>
                  <a:pt x="75" y="251"/>
                  <a:pt x="76" y="251"/>
                </a:cubicBezTo>
                <a:cubicBezTo>
                  <a:pt x="77" y="251"/>
                  <a:pt x="78" y="253"/>
                  <a:pt x="77" y="253"/>
                </a:cubicBezTo>
                <a:close/>
                <a:moveTo>
                  <a:pt x="76" y="260"/>
                </a:moveTo>
                <a:cubicBezTo>
                  <a:pt x="79" y="259"/>
                  <a:pt x="79" y="264"/>
                  <a:pt x="77" y="265"/>
                </a:cubicBezTo>
                <a:cubicBezTo>
                  <a:pt x="75" y="266"/>
                  <a:pt x="74" y="261"/>
                  <a:pt x="76" y="260"/>
                </a:cubicBezTo>
                <a:close/>
                <a:moveTo>
                  <a:pt x="78" y="258"/>
                </a:moveTo>
                <a:cubicBezTo>
                  <a:pt x="77" y="257"/>
                  <a:pt x="79" y="256"/>
                  <a:pt x="78" y="258"/>
                </a:cubicBezTo>
                <a:close/>
                <a:moveTo>
                  <a:pt x="76" y="353"/>
                </a:moveTo>
                <a:cubicBezTo>
                  <a:pt x="75" y="353"/>
                  <a:pt x="74" y="351"/>
                  <a:pt x="75" y="351"/>
                </a:cubicBezTo>
                <a:cubicBezTo>
                  <a:pt x="75" y="351"/>
                  <a:pt x="76" y="353"/>
                  <a:pt x="76" y="353"/>
                </a:cubicBezTo>
                <a:close/>
                <a:moveTo>
                  <a:pt x="79" y="279"/>
                </a:moveTo>
                <a:cubicBezTo>
                  <a:pt x="79" y="278"/>
                  <a:pt x="81" y="279"/>
                  <a:pt x="81" y="278"/>
                </a:cubicBezTo>
                <a:cubicBezTo>
                  <a:pt x="81" y="277"/>
                  <a:pt x="80" y="276"/>
                  <a:pt x="79" y="276"/>
                </a:cubicBezTo>
                <a:cubicBezTo>
                  <a:pt x="78" y="276"/>
                  <a:pt x="78" y="278"/>
                  <a:pt x="77" y="277"/>
                </a:cubicBezTo>
                <a:cubicBezTo>
                  <a:pt x="78" y="278"/>
                  <a:pt x="77" y="279"/>
                  <a:pt x="77" y="277"/>
                </a:cubicBezTo>
                <a:cubicBezTo>
                  <a:pt x="76" y="277"/>
                  <a:pt x="77" y="276"/>
                  <a:pt x="77" y="275"/>
                </a:cubicBezTo>
                <a:cubicBezTo>
                  <a:pt x="76" y="274"/>
                  <a:pt x="76" y="274"/>
                  <a:pt x="76" y="272"/>
                </a:cubicBezTo>
                <a:cubicBezTo>
                  <a:pt x="76" y="271"/>
                  <a:pt x="79" y="267"/>
                  <a:pt x="81" y="270"/>
                </a:cubicBezTo>
                <a:cubicBezTo>
                  <a:pt x="82" y="273"/>
                  <a:pt x="83" y="278"/>
                  <a:pt x="81" y="280"/>
                </a:cubicBezTo>
                <a:cubicBezTo>
                  <a:pt x="81" y="281"/>
                  <a:pt x="78" y="281"/>
                  <a:pt x="79" y="279"/>
                </a:cubicBezTo>
                <a:close/>
                <a:moveTo>
                  <a:pt x="82" y="357"/>
                </a:moveTo>
                <a:cubicBezTo>
                  <a:pt x="82" y="358"/>
                  <a:pt x="82" y="358"/>
                  <a:pt x="82" y="359"/>
                </a:cubicBezTo>
                <a:cubicBezTo>
                  <a:pt x="82" y="359"/>
                  <a:pt x="82" y="358"/>
                  <a:pt x="82" y="357"/>
                </a:cubicBezTo>
                <a:close/>
                <a:moveTo>
                  <a:pt x="81" y="298"/>
                </a:moveTo>
                <a:cubicBezTo>
                  <a:pt x="82" y="299"/>
                  <a:pt x="83" y="302"/>
                  <a:pt x="83" y="304"/>
                </a:cubicBezTo>
                <a:cubicBezTo>
                  <a:pt x="81" y="302"/>
                  <a:pt x="82" y="300"/>
                  <a:pt x="81" y="298"/>
                </a:cubicBezTo>
                <a:close/>
                <a:moveTo>
                  <a:pt x="81" y="240"/>
                </a:moveTo>
                <a:cubicBezTo>
                  <a:pt x="83" y="236"/>
                  <a:pt x="78" y="238"/>
                  <a:pt x="77" y="238"/>
                </a:cubicBezTo>
                <a:cubicBezTo>
                  <a:pt x="76" y="236"/>
                  <a:pt x="78" y="233"/>
                  <a:pt x="78" y="230"/>
                </a:cubicBezTo>
                <a:cubicBezTo>
                  <a:pt x="78" y="229"/>
                  <a:pt x="76" y="224"/>
                  <a:pt x="77" y="223"/>
                </a:cubicBezTo>
                <a:cubicBezTo>
                  <a:pt x="79" y="223"/>
                  <a:pt x="79" y="229"/>
                  <a:pt x="79" y="229"/>
                </a:cubicBezTo>
                <a:cubicBezTo>
                  <a:pt x="80" y="230"/>
                  <a:pt x="83" y="226"/>
                  <a:pt x="84" y="226"/>
                </a:cubicBezTo>
                <a:cubicBezTo>
                  <a:pt x="92" y="224"/>
                  <a:pt x="89" y="237"/>
                  <a:pt x="87" y="241"/>
                </a:cubicBezTo>
                <a:cubicBezTo>
                  <a:pt x="84" y="246"/>
                  <a:pt x="86" y="236"/>
                  <a:pt x="81" y="240"/>
                </a:cubicBezTo>
                <a:close/>
                <a:moveTo>
                  <a:pt x="83" y="303"/>
                </a:moveTo>
                <a:cubicBezTo>
                  <a:pt x="83" y="302"/>
                  <a:pt x="85" y="304"/>
                  <a:pt x="84" y="304"/>
                </a:cubicBezTo>
                <a:cubicBezTo>
                  <a:pt x="84" y="304"/>
                  <a:pt x="83" y="303"/>
                  <a:pt x="83" y="303"/>
                </a:cubicBezTo>
                <a:close/>
                <a:moveTo>
                  <a:pt x="84" y="307"/>
                </a:moveTo>
                <a:cubicBezTo>
                  <a:pt x="83" y="306"/>
                  <a:pt x="84" y="305"/>
                  <a:pt x="84" y="307"/>
                </a:cubicBezTo>
                <a:close/>
                <a:moveTo>
                  <a:pt x="85" y="311"/>
                </a:moveTo>
                <a:cubicBezTo>
                  <a:pt x="84" y="311"/>
                  <a:pt x="84" y="309"/>
                  <a:pt x="84" y="308"/>
                </a:cubicBezTo>
                <a:cubicBezTo>
                  <a:pt x="84" y="309"/>
                  <a:pt x="85" y="310"/>
                  <a:pt x="85" y="311"/>
                </a:cubicBezTo>
                <a:close/>
                <a:moveTo>
                  <a:pt x="83" y="365"/>
                </a:moveTo>
                <a:cubicBezTo>
                  <a:pt x="84" y="366"/>
                  <a:pt x="83" y="367"/>
                  <a:pt x="84" y="368"/>
                </a:cubicBezTo>
                <a:cubicBezTo>
                  <a:pt x="83" y="368"/>
                  <a:pt x="83" y="366"/>
                  <a:pt x="83" y="365"/>
                </a:cubicBezTo>
                <a:close/>
                <a:moveTo>
                  <a:pt x="84" y="329"/>
                </a:moveTo>
                <a:cubicBezTo>
                  <a:pt x="85" y="329"/>
                  <a:pt x="86" y="330"/>
                  <a:pt x="85" y="331"/>
                </a:cubicBezTo>
                <a:cubicBezTo>
                  <a:pt x="84" y="331"/>
                  <a:pt x="84" y="329"/>
                  <a:pt x="84" y="329"/>
                </a:cubicBezTo>
                <a:close/>
                <a:moveTo>
                  <a:pt x="85" y="377"/>
                </a:moveTo>
                <a:cubicBezTo>
                  <a:pt x="84" y="377"/>
                  <a:pt x="85" y="376"/>
                  <a:pt x="85" y="375"/>
                </a:cubicBezTo>
                <a:cubicBezTo>
                  <a:pt x="84" y="374"/>
                  <a:pt x="85" y="376"/>
                  <a:pt x="85" y="377"/>
                </a:cubicBezTo>
                <a:close/>
                <a:moveTo>
                  <a:pt x="85" y="378"/>
                </a:moveTo>
                <a:cubicBezTo>
                  <a:pt x="85" y="378"/>
                  <a:pt x="85" y="379"/>
                  <a:pt x="85" y="380"/>
                </a:cubicBezTo>
                <a:cubicBezTo>
                  <a:pt x="85" y="380"/>
                  <a:pt x="85" y="378"/>
                  <a:pt x="85" y="378"/>
                </a:cubicBezTo>
                <a:close/>
                <a:moveTo>
                  <a:pt x="86" y="260"/>
                </a:moveTo>
                <a:cubicBezTo>
                  <a:pt x="84" y="260"/>
                  <a:pt x="83" y="256"/>
                  <a:pt x="87" y="256"/>
                </a:cubicBezTo>
                <a:cubicBezTo>
                  <a:pt x="89" y="256"/>
                  <a:pt x="88" y="261"/>
                  <a:pt x="86" y="260"/>
                </a:cubicBezTo>
                <a:close/>
                <a:moveTo>
                  <a:pt x="90" y="332"/>
                </a:moveTo>
                <a:cubicBezTo>
                  <a:pt x="89" y="332"/>
                  <a:pt x="88" y="328"/>
                  <a:pt x="90" y="328"/>
                </a:cubicBezTo>
                <a:cubicBezTo>
                  <a:pt x="90" y="328"/>
                  <a:pt x="90" y="331"/>
                  <a:pt x="90" y="332"/>
                </a:cubicBezTo>
                <a:close/>
                <a:moveTo>
                  <a:pt x="91" y="222"/>
                </a:moveTo>
                <a:cubicBezTo>
                  <a:pt x="91" y="223"/>
                  <a:pt x="91" y="224"/>
                  <a:pt x="91" y="225"/>
                </a:cubicBezTo>
                <a:cubicBezTo>
                  <a:pt x="90" y="224"/>
                  <a:pt x="90" y="223"/>
                  <a:pt x="91" y="222"/>
                </a:cubicBezTo>
                <a:close/>
                <a:moveTo>
                  <a:pt x="91" y="228"/>
                </a:moveTo>
                <a:cubicBezTo>
                  <a:pt x="91" y="229"/>
                  <a:pt x="90" y="228"/>
                  <a:pt x="91" y="227"/>
                </a:cubicBezTo>
                <a:cubicBezTo>
                  <a:pt x="91" y="227"/>
                  <a:pt x="92" y="228"/>
                  <a:pt x="91" y="228"/>
                </a:cubicBezTo>
                <a:close/>
                <a:moveTo>
                  <a:pt x="158" y="205"/>
                </a:moveTo>
                <a:cubicBezTo>
                  <a:pt x="159" y="205"/>
                  <a:pt x="159" y="208"/>
                  <a:pt x="158" y="208"/>
                </a:cubicBezTo>
                <a:cubicBezTo>
                  <a:pt x="158" y="208"/>
                  <a:pt x="157" y="206"/>
                  <a:pt x="158" y="205"/>
                </a:cubicBezTo>
                <a:close/>
                <a:moveTo>
                  <a:pt x="154" y="169"/>
                </a:moveTo>
                <a:cubicBezTo>
                  <a:pt x="155" y="168"/>
                  <a:pt x="155" y="171"/>
                  <a:pt x="154" y="171"/>
                </a:cubicBezTo>
                <a:cubicBezTo>
                  <a:pt x="154" y="171"/>
                  <a:pt x="153" y="170"/>
                  <a:pt x="154" y="169"/>
                </a:cubicBezTo>
                <a:close/>
                <a:moveTo>
                  <a:pt x="155" y="227"/>
                </a:moveTo>
                <a:cubicBezTo>
                  <a:pt x="154" y="227"/>
                  <a:pt x="153" y="225"/>
                  <a:pt x="154" y="225"/>
                </a:cubicBezTo>
                <a:cubicBezTo>
                  <a:pt x="155" y="224"/>
                  <a:pt x="155" y="227"/>
                  <a:pt x="155" y="227"/>
                </a:cubicBezTo>
                <a:close/>
                <a:moveTo>
                  <a:pt x="154" y="181"/>
                </a:moveTo>
                <a:cubicBezTo>
                  <a:pt x="154" y="181"/>
                  <a:pt x="155" y="182"/>
                  <a:pt x="154" y="182"/>
                </a:cubicBezTo>
                <a:cubicBezTo>
                  <a:pt x="153" y="183"/>
                  <a:pt x="153" y="182"/>
                  <a:pt x="154" y="181"/>
                </a:cubicBezTo>
                <a:close/>
                <a:moveTo>
                  <a:pt x="150" y="242"/>
                </a:moveTo>
                <a:cubicBezTo>
                  <a:pt x="149" y="242"/>
                  <a:pt x="150" y="241"/>
                  <a:pt x="150" y="241"/>
                </a:cubicBezTo>
                <a:cubicBezTo>
                  <a:pt x="150" y="240"/>
                  <a:pt x="150" y="242"/>
                  <a:pt x="150" y="242"/>
                </a:cubicBezTo>
                <a:close/>
                <a:moveTo>
                  <a:pt x="149" y="249"/>
                </a:moveTo>
                <a:cubicBezTo>
                  <a:pt x="149" y="249"/>
                  <a:pt x="150" y="251"/>
                  <a:pt x="150" y="251"/>
                </a:cubicBezTo>
                <a:cubicBezTo>
                  <a:pt x="149" y="251"/>
                  <a:pt x="149" y="249"/>
                  <a:pt x="149" y="249"/>
                </a:cubicBezTo>
                <a:close/>
                <a:moveTo>
                  <a:pt x="150" y="301"/>
                </a:moveTo>
                <a:cubicBezTo>
                  <a:pt x="149" y="300"/>
                  <a:pt x="149" y="299"/>
                  <a:pt x="149" y="299"/>
                </a:cubicBezTo>
                <a:cubicBezTo>
                  <a:pt x="149" y="299"/>
                  <a:pt x="150" y="300"/>
                  <a:pt x="150" y="301"/>
                </a:cubicBezTo>
                <a:close/>
                <a:moveTo>
                  <a:pt x="149" y="200"/>
                </a:moveTo>
                <a:cubicBezTo>
                  <a:pt x="151" y="199"/>
                  <a:pt x="150" y="203"/>
                  <a:pt x="149" y="203"/>
                </a:cubicBezTo>
                <a:cubicBezTo>
                  <a:pt x="148" y="202"/>
                  <a:pt x="148" y="200"/>
                  <a:pt x="149" y="200"/>
                </a:cubicBezTo>
                <a:close/>
                <a:moveTo>
                  <a:pt x="148" y="231"/>
                </a:moveTo>
                <a:cubicBezTo>
                  <a:pt x="148" y="232"/>
                  <a:pt x="147" y="231"/>
                  <a:pt x="147" y="231"/>
                </a:cubicBezTo>
                <a:cubicBezTo>
                  <a:pt x="147" y="231"/>
                  <a:pt x="148" y="231"/>
                  <a:pt x="148" y="231"/>
                </a:cubicBezTo>
                <a:close/>
                <a:moveTo>
                  <a:pt x="147" y="333"/>
                </a:moveTo>
                <a:cubicBezTo>
                  <a:pt x="146" y="334"/>
                  <a:pt x="149" y="333"/>
                  <a:pt x="147" y="333"/>
                </a:cubicBezTo>
                <a:close/>
                <a:moveTo>
                  <a:pt x="146" y="173"/>
                </a:moveTo>
                <a:cubicBezTo>
                  <a:pt x="146" y="173"/>
                  <a:pt x="146" y="172"/>
                  <a:pt x="146" y="172"/>
                </a:cubicBezTo>
                <a:cubicBezTo>
                  <a:pt x="148" y="172"/>
                  <a:pt x="144" y="175"/>
                  <a:pt x="146" y="173"/>
                </a:cubicBezTo>
                <a:close/>
                <a:moveTo>
                  <a:pt x="145" y="190"/>
                </a:moveTo>
                <a:cubicBezTo>
                  <a:pt x="145" y="190"/>
                  <a:pt x="146" y="190"/>
                  <a:pt x="146" y="190"/>
                </a:cubicBezTo>
                <a:cubicBezTo>
                  <a:pt x="148" y="189"/>
                  <a:pt x="144" y="192"/>
                  <a:pt x="145" y="190"/>
                </a:cubicBezTo>
                <a:close/>
                <a:moveTo>
                  <a:pt x="144" y="178"/>
                </a:moveTo>
                <a:cubicBezTo>
                  <a:pt x="145" y="178"/>
                  <a:pt x="145" y="180"/>
                  <a:pt x="144" y="180"/>
                </a:cubicBezTo>
                <a:cubicBezTo>
                  <a:pt x="144" y="180"/>
                  <a:pt x="143" y="178"/>
                  <a:pt x="144" y="178"/>
                </a:cubicBezTo>
                <a:close/>
                <a:moveTo>
                  <a:pt x="145" y="222"/>
                </a:moveTo>
                <a:cubicBezTo>
                  <a:pt x="145" y="221"/>
                  <a:pt x="146" y="220"/>
                  <a:pt x="147" y="221"/>
                </a:cubicBezTo>
                <a:cubicBezTo>
                  <a:pt x="148" y="221"/>
                  <a:pt x="148" y="224"/>
                  <a:pt x="147" y="224"/>
                </a:cubicBezTo>
                <a:cubicBezTo>
                  <a:pt x="146" y="224"/>
                  <a:pt x="146" y="223"/>
                  <a:pt x="145" y="222"/>
                </a:cubicBezTo>
                <a:cubicBezTo>
                  <a:pt x="145" y="222"/>
                  <a:pt x="145" y="222"/>
                  <a:pt x="145" y="222"/>
                </a:cubicBezTo>
                <a:cubicBezTo>
                  <a:pt x="144" y="221"/>
                  <a:pt x="144" y="219"/>
                  <a:pt x="143" y="217"/>
                </a:cubicBezTo>
                <a:cubicBezTo>
                  <a:pt x="144" y="218"/>
                  <a:pt x="145" y="220"/>
                  <a:pt x="145" y="222"/>
                </a:cubicBezTo>
                <a:close/>
                <a:moveTo>
                  <a:pt x="145" y="245"/>
                </a:moveTo>
                <a:cubicBezTo>
                  <a:pt x="147" y="244"/>
                  <a:pt x="146" y="248"/>
                  <a:pt x="145" y="248"/>
                </a:cubicBezTo>
                <a:cubicBezTo>
                  <a:pt x="144" y="248"/>
                  <a:pt x="143" y="246"/>
                  <a:pt x="145" y="245"/>
                </a:cubicBezTo>
                <a:close/>
                <a:moveTo>
                  <a:pt x="145" y="314"/>
                </a:moveTo>
                <a:cubicBezTo>
                  <a:pt x="145" y="314"/>
                  <a:pt x="144" y="313"/>
                  <a:pt x="144" y="312"/>
                </a:cubicBezTo>
                <a:cubicBezTo>
                  <a:pt x="144" y="311"/>
                  <a:pt x="145" y="314"/>
                  <a:pt x="145" y="314"/>
                </a:cubicBezTo>
                <a:close/>
                <a:moveTo>
                  <a:pt x="141" y="194"/>
                </a:moveTo>
                <a:cubicBezTo>
                  <a:pt x="141" y="194"/>
                  <a:pt x="140" y="193"/>
                  <a:pt x="140" y="193"/>
                </a:cubicBezTo>
                <a:cubicBezTo>
                  <a:pt x="140" y="192"/>
                  <a:pt x="142" y="194"/>
                  <a:pt x="141" y="194"/>
                </a:cubicBezTo>
                <a:close/>
                <a:moveTo>
                  <a:pt x="142" y="199"/>
                </a:moveTo>
                <a:cubicBezTo>
                  <a:pt x="141" y="199"/>
                  <a:pt x="141" y="198"/>
                  <a:pt x="141" y="197"/>
                </a:cubicBezTo>
                <a:cubicBezTo>
                  <a:pt x="141" y="197"/>
                  <a:pt x="142" y="198"/>
                  <a:pt x="142" y="199"/>
                </a:cubicBezTo>
                <a:close/>
                <a:moveTo>
                  <a:pt x="142" y="216"/>
                </a:moveTo>
                <a:cubicBezTo>
                  <a:pt x="141" y="214"/>
                  <a:pt x="140" y="211"/>
                  <a:pt x="139" y="209"/>
                </a:cubicBezTo>
                <a:cubicBezTo>
                  <a:pt x="141" y="210"/>
                  <a:pt x="142" y="214"/>
                  <a:pt x="142" y="216"/>
                </a:cubicBezTo>
                <a:close/>
                <a:moveTo>
                  <a:pt x="141" y="232"/>
                </a:moveTo>
                <a:cubicBezTo>
                  <a:pt x="141" y="233"/>
                  <a:pt x="141" y="231"/>
                  <a:pt x="141" y="232"/>
                </a:cubicBezTo>
                <a:close/>
                <a:moveTo>
                  <a:pt x="140" y="226"/>
                </a:moveTo>
                <a:cubicBezTo>
                  <a:pt x="139" y="224"/>
                  <a:pt x="140" y="224"/>
                  <a:pt x="140" y="226"/>
                </a:cubicBezTo>
                <a:close/>
                <a:moveTo>
                  <a:pt x="134" y="215"/>
                </a:moveTo>
                <a:cubicBezTo>
                  <a:pt x="134" y="216"/>
                  <a:pt x="133" y="215"/>
                  <a:pt x="133" y="215"/>
                </a:cubicBezTo>
                <a:cubicBezTo>
                  <a:pt x="133" y="214"/>
                  <a:pt x="134" y="215"/>
                  <a:pt x="134" y="215"/>
                </a:cubicBezTo>
                <a:close/>
                <a:moveTo>
                  <a:pt x="128" y="205"/>
                </a:moveTo>
                <a:cubicBezTo>
                  <a:pt x="128" y="203"/>
                  <a:pt x="128" y="202"/>
                  <a:pt x="130" y="202"/>
                </a:cubicBezTo>
                <a:cubicBezTo>
                  <a:pt x="131" y="202"/>
                  <a:pt x="132" y="206"/>
                  <a:pt x="131" y="207"/>
                </a:cubicBezTo>
                <a:cubicBezTo>
                  <a:pt x="130" y="208"/>
                  <a:pt x="130" y="207"/>
                  <a:pt x="129" y="207"/>
                </a:cubicBezTo>
                <a:cubicBezTo>
                  <a:pt x="129" y="207"/>
                  <a:pt x="129" y="207"/>
                  <a:pt x="129" y="207"/>
                </a:cubicBezTo>
                <a:cubicBezTo>
                  <a:pt x="128" y="207"/>
                  <a:pt x="127" y="205"/>
                  <a:pt x="128" y="205"/>
                </a:cubicBezTo>
                <a:close/>
                <a:moveTo>
                  <a:pt x="131" y="346"/>
                </a:moveTo>
                <a:cubicBezTo>
                  <a:pt x="133" y="346"/>
                  <a:pt x="132" y="348"/>
                  <a:pt x="131" y="346"/>
                </a:cubicBezTo>
                <a:close/>
                <a:moveTo>
                  <a:pt x="128" y="352"/>
                </a:moveTo>
                <a:cubicBezTo>
                  <a:pt x="129" y="352"/>
                  <a:pt x="129" y="353"/>
                  <a:pt x="129" y="353"/>
                </a:cubicBezTo>
                <a:cubicBezTo>
                  <a:pt x="128" y="354"/>
                  <a:pt x="128" y="353"/>
                  <a:pt x="128" y="352"/>
                </a:cubicBezTo>
                <a:close/>
                <a:moveTo>
                  <a:pt x="128" y="244"/>
                </a:moveTo>
                <a:cubicBezTo>
                  <a:pt x="128" y="243"/>
                  <a:pt x="129" y="245"/>
                  <a:pt x="129" y="246"/>
                </a:cubicBezTo>
                <a:cubicBezTo>
                  <a:pt x="128" y="245"/>
                  <a:pt x="129" y="245"/>
                  <a:pt x="128" y="244"/>
                </a:cubicBezTo>
                <a:close/>
                <a:moveTo>
                  <a:pt x="128" y="274"/>
                </a:moveTo>
                <a:cubicBezTo>
                  <a:pt x="129" y="275"/>
                  <a:pt x="129" y="276"/>
                  <a:pt x="130" y="277"/>
                </a:cubicBezTo>
                <a:cubicBezTo>
                  <a:pt x="129" y="277"/>
                  <a:pt x="128" y="275"/>
                  <a:pt x="128" y="274"/>
                </a:cubicBezTo>
                <a:close/>
                <a:moveTo>
                  <a:pt x="129" y="246"/>
                </a:moveTo>
                <a:cubicBezTo>
                  <a:pt x="132" y="246"/>
                  <a:pt x="128" y="249"/>
                  <a:pt x="129" y="247"/>
                </a:cubicBezTo>
                <a:cubicBezTo>
                  <a:pt x="129" y="247"/>
                  <a:pt x="129" y="246"/>
                  <a:pt x="129" y="246"/>
                </a:cubicBezTo>
                <a:close/>
                <a:moveTo>
                  <a:pt x="129" y="241"/>
                </a:moveTo>
                <a:cubicBezTo>
                  <a:pt x="130" y="240"/>
                  <a:pt x="130" y="242"/>
                  <a:pt x="130" y="242"/>
                </a:cubicBezTo>
                <a:cubicBezTo>
                  <a:pt x="130" y="242"/>
                  <a:pt x="129" y="241"/>
                  <a:pt x="129" y="241"/>
                </a:cubicBezTo>
                <a:close/>
                <a:moveTo>
                  <a:pt x="130" y="275"/>
                </a:moveTo>
                <a:cubicBezTo>
                  <a:pt x="129" y="274"/>
                  <a:pt x="130" y="273"/>
                  <a:pt x="130" y="274"/>
                </a:cubicBezTo>
                <a:cubicBezTo>
                  <a:pt x="131" y="274"/>
                  <a:pt x="131" y="275"/>
                  <a:pt x="130" y="275"/>
                </a:cubicBezTo>
                <a:close/>
                <a:moveTo>
                  <a:pt x="128" y="210"/>
                </a:moveTo>
                <a:cubicBezTo>
                  <a:pt x="127" y="210"/>
                  <a:pt x="127" y="208"/>
                  <a:pt x="127" y="207"/>
                </a:cubicBezTo>
                <a:cubicBezTo>
                  <a:pt x="128" y="208"/>
                  <a:pt x="128" y="209"/>
                  <a:pt x="128" y="210"/>
                </a:cubicBezTo>
                <a:close/>
                <a:moveTo>
                  <a:pt x="126" y="269"/>
                </a:moveTo>
                <a:cubicBezTo>
                  <a:pt x="127" y="270"/>
                  <a:pt x="128" y="271"/>
                  <a:pt x="128" y="273"/>
                </a:cubicBezTo>
                <a:cubicBezTo>
                  <a:pt x="127" y="272"/>
                  <a:pt x="126" y="271"/>
                  <a:pt x="126" y="269"/>
                </a:cubicBezTo>
                <a:close/>
                <a:moveTo>
                  <a:pt x="123" y="221"/>
                </a:moveTo>
                <a:cubicBezTo>
                  <a:pt x="123" y="221"/>
                  <a:pt x="124" y="221"/>
                  <a:pt x="124" y="222"/>
                </a:cubicBezTo>
                <a:cubicBezTo>
                  <a:pt x="124" y="222"/>
                  <a:pt x="122" y="222"/>
                  <a:pt x="123" y="221"/>
                </a:cubicBezTo>
                <a:close/>
                <a:moveTo>
                  <a:pt x="125" y="273"/>
                </a:moveTo>
                <a:cubicBezTo>
                  <a:pt x="123" y="272"/>
                  <a:pt x="123" y="271"/>
                  <a:pt x="123" y="270"/>
                </a:cubicBezTo>
                <a:cubicBezTo>
                  <a:pt x="124" y="270"/>
                  <a:pt x="125" y="272"/>
                  <a:pt x="125" y="273"/>
                </a:cubicBezTo>
                <a:close/>
                <a:moveTo>
                  <a:pt x="119" y="230"/>
                </a:moveTo>
                <a:cubicBezTo>
                  <a:pt x="119" y="231"/>
                  <a:pt x="119" y="230"/>
                  <a:pt x="119" y="230"/>
                </a:cubicBezTo>
                <a:cubicBezTo>
                  <a:pt x="116" y="228"/>
                  <a:pt x="120" y="229"/>
                  <a:pt x="119" y="230"/>
                </a:cubicBezTo>
                <a:close/>
                <a:moveTo>
                  <a:pt x="116" y="209"/>
                </a:moveTo>
                <a:cubicBezTo>
                  <a:pt x="117" y="209"/>
                  <a:pt x="117" y="211"/>
                  <a:pt x="117" y="211"/>
                </a:cubicBezTo>
                <a:cubicBezTo>
                  <a:pt x="117" y="211"/>
                  <a:pt x="116" y="210"/>
                  <a:pt x="116" y="209"/>
                </a:cubicBezTo>
                <a:close/>
                <a:moveTo>
                  <a:pt x="117" y="220"/>
                </a:moveTo>
                <a:cubicBezTo>
                  <a:pt x="118" y="221"/>
                  <a:pt x="118" y="223"/>
                  <a:pt x="118" y="224"/>
                </a:cubicBezTo>
                <a:cubicBezTo>
                  <a:pt x="118" y="226"/>
                  <a:pt x="119" y="228"/>
                  <a:pt x="118" y="228"/>
                </a:cubicBezTo>
                <a:cubicBezTo>
                  <a:pt x="118" y="228"/>
                  <a:pt x="118" y="228"/>
                  <a:pt x="118" y="227"/>
                </a:cubicBezTo>
                <a:cubicBezTo>
                  <a:pt x="118" y="228"/>
                  <a:pt x="118" y="228"/>
                  <a:pt x="118" y="228"/>
                </a:cubicBezTo>
                <a:cubicBezTo>
                  <a:pt x="118" y="228"/>
                  <a:pt x="117" y="229"/>
                  <a:pt x="117" y="229"/>
                </a:cubicBezTo>
                <a:cubicBezTo>
                  <a:pt x="116" y="229"/>
                  <a:pt x="111" y="224"/>
                  <a:pt x="112" y="221"/>
                </a:cubicBezTo>
                <a:cubicBezTo>
                  <a:pt x="112" y="219"/>
                  <a:pt x="115" y="218"/>
                  <a:pt x="117" y="220"/>
                </a:cubicBezTo>
                <a:close/>
                <a:moveTo>
                  <a:pt x="114" y="428"/>
                </a:moveTo>
                <a:cubicBezTo>
                  <a:pt x="114" y="430"/>
                  <a:pt x="112" y="427"/>
                  <a:pt x="112" y="425"/>
                </a:cubicBezTo>
                <a:cubicBezTo>
                  <a:pt x="111" y="421"/>
                  <a:pt x="110" y="416"/>
                  <a:pt x="110" y="413"/>
                </a:cubicBezTo>
                <a:cubicBezTo>
                  <a:pt x="110" y="413"/>
                  <a:pt x="110" y="411"/>
                  <a:pt x="110" y="411"/>
                </a:cubicBezTo>
                <a:cubicBezTo>
                  <a:pt x="111" y="411"/>
                  <a:pt x="114" y="426"/>
                  <a:pt x="114" y="428"/>
                </a:cubicBezTo>
                <a:close/>
                <a:moveTo>
                  <a:pt x="111" y="324"/>
                </a:moveTo>
                <a:cubicBezTo>
                  <a:pt x="110" y="325"/>
                  <a:pt x="111" y="323"/>
                  <a:pt x="111" y="324"/>
                </a:cubicBezTo>
                <a:close/>
                <a:moveTo>
                  <a:pt x="113" y="271"/>
                </a:moveTo>
                <a:cubicBezTo>
                  <a:pt x="115" y="271"/>
                  <a:pt x="117" y="274"/>
                  <a:pt x="115" y="276"/>
                </a:cubicBezTo>
                <a:cubicBezTo>
                  <a:pt x="112" y="280"/>
                  <a:pt x="109" y="271"/>
                  <a:pt x="113" y="271"/>
                </a:cubicBezTo>
                <a:close/>
                <a:moveTo>
                  <a:pt x="114" y="252"/>
                </a:moveTo>
                <a:cubicBezTo>
                  <a:pt x="114" y="252"/>
                  <a:pt x="115" y="253"/>
                  <a:pt x="114" y="254"/>
                </a:cubicBezTo>
                <a:cubicBezTo>
                  <a:pt x="113" y="254"/>
                  <a:pt x="113" y="252"/>
                  <a:pt x="114" y="252"/>
                </a:cubicBezTo>
                <a:close/>
                <a:moveTo>
                  <a:pt x="115" y="374"/>
                </a:moveTo>
                <a:cubicBezTo>
                  <a:pt x="117" y="374"/>
                  <a:pt x="117" y="378"/>
                  <a:pt x="115" y="378"/>
                </a:cubicBezTo>
                <a:cubicBezTo>
                  <a:pt x="115" y="378"/>
                  <a:pt x="113" y="375"/>
                  <a:pt x="115" y="374"/>
                </a:cubicBezTo>
                <a:close/>
                <a:moveTo>
                  <a:pt x="115" y="266"/>
                </a:moveTo>
                <a:cubicBezTo>
                  <a:pt x="118" y="267"/>
                  <a:pt x="116" y="270"/>
                  <a:pt x="115" y="266"/>
                </a:cubicBezTo>
                <a:close/>
                <a:moveTo>
                  <a:pt x="110" y="225"/>
                </a:moveTo>
                <a:cubicBezTo>
                  <a:pt x="112" y="225"/>
                  <a:pt x="110" y="226"/>
                  <a:pt x="110" y="225"/>
                </a:cubicBezTo>
                <a:close/>
                <a:moveTo>
                  <a:pt x="108" y="237"/>
                </a:moveTo>
                <a:cubicBezTo>
                  <a:pt x="106" y="236"/>
                  <a:pt x="109" y="235"/>
                  <a:pt x="108" y="237"/>
                </a:cubicBezTo>
                <a:close/>
                <a:moveTo>
                  <a:pt x="106" y="237"/>
                </a:moveTo>
                <a:cubicBezTo>
                  <a:pt x="107" y="236"/>
                  <a:pt x="108" y="238"/>
                  <a:pt x="107" y="239"/>
                </a:cubicBezTo>
                <a:cubicBezTo>
                  <a:pt x="106" y="239"/>
                  <a:pt x="106" y="237"/>
                  <a:pt x="106" y="237"/>
                </a:cubicBezTo>
                <a:close/>
                <a:moveTo>
                  <a:pt x="97" y="223"/>
                </a:moveTo>
                <a:cubicBezTo>
                  <a:pt x="98" y="223"/>
                  <a:pt x="98" y="225"/>
                  <a:pt x="96" y="225"/>
                </a:cubicBezTo>
                <a:cubicBezTo>
                  <a:pt x="95" y="224"/>
                  <a:pt x="96" y="223"/>
                  <a:pt x="97" y="223"/>
                </a:cubicBezTo>
                <a:close/>
                <a:moveTo>
                  <a:pt x="96" y="249"/>
                </a:moveTo>
                <a:cubicBezTo>
                  <a:pt x="97" y="250"/>
                  <a:pt x="96" y="250"/>
                  <a:pt x="96" y="249"/>
                </a:cubicBezTo>
                <a:close/>
                <a:moveTo>
                  <a:pt x="96" y="195"/>
                </a:moveTo>
                <a:cubicBezTo>
                  <a:pt x="96" y="195"/>
                  <a:pt x="96" y="196"/>
                  <a:pt x="96" y="197"/>
                </a:cubicBezTo>
                <a:cubicBezTo>
                  <a:pt x="96" y="197"/>
                  <a:pt x="95" y="196"/>
                  <a:pt x="96" y="195"/>
                </a:cubicBezTo>
                <a:close/>
                <a:moveTo>
                  <a:pt x="93" y="195"/>
                </a:moveTo>
                <a:cubicBezTo>
                  <a:pt x="94" y="195"/>
                  <a:pt x="93" y="195"/>
                  <a:pt x="93" y="195"/>
                </a:cubicBezTo>
                <a:cubicBezTo>
                  <a:pt x="93" y="195"/>
                  <a:pt x="93" y="195"/>
                  <a:pt x="93" y="195"/>
                </a:cubicBezTo>
                <a:close/>
                <a:moveTo>
                  <a:pt x="93" y="195"/>
                </a:moveTo>
                <a:cubicBezTo>
                  <a:pt x="93" y="196"/>
                  <a:pt x="93" y="196"/>
                  <a:pt x="93" y="195"/>
                </a:cubicBezTo>
                <a:close/>
                <a:moveTo>
                  <a:pt x="92" y="212"/>
                </a:moveTo>
                <a:cubicBezTo>
                  <a:pt x="91" y="213"/>
                  <a:pt x="90" y="211"/>
                  <a:pt x="89" y="211"/>
                </a:cubicBezTo>
                <a:cubicBezTo>
                  <a:pt x="88" y="207"/>
                  <a:pt x="94" y="209"/>
                  <a:pt x="92" y="212"/>
                </a:cubicBezTo>
                <a:close/>
                <a:moveTo>
                  <a:pt x="92" y="259"/>
                </a:moveTo>
                <a:cubicBezTo>
                  <a:pt x="91" y="259"/>
                  <a:pt x="93" y="251"/>
                  <a:pt x="92" y="248"/>
                </a:cubicBezTo>
                <a:cubicBezTo>
                  <a:pt x="94" y="249"/>
                  <a:pt x="93" y="260"/>
                  <a:pt x="92" y="259"/>
                </a:cubicBezTo>
                <a:close/>
                <a:moveTo>
                  <a:pt x="93" y="228"/>
                </a:moveTo>
                <a:cubicBezTo>
                  <a:pt x="91" y="227"/>
                  <a:pt x="93" y="226"/>
                  <a:pt x="93" y="228"/>
                </a:cubicBezTo>
                <a:close/>
                <a:moveTo>
                  <a:pt x="92" y="225"/>
                </a:moveTo>
                <a:cubicBezTo>
                  <a:pt x="92" y="225"/>
                  <a:pt x="92" y="223"/>
                  <a:pt x="92" y="223"/>
                </a:cubicBezTo>
                <a:cubicBezTo>
                  <a:pt x="93" y="223"/>
                  <a:pt x="93" y="226"/>
                  <a:pt x="92" y="225"/>
                </a:cubicBezTo>
                <a:close/>
                <a:moveTo>
                  <a:pt x="94" y="198"/>
                </a:moveTo>
                <a:cubicBezTo>
                  <a:pt x="95" y="198"/>
                  <a:pt x="95" y="199"/>
                  <a:pt x="95" y="199"/>
                </a:cubicBezTo>
                <a:cubicBezTo>
                  <a:pt x="95" y="199"/>
                  <a:pt x="93" y="200"/>
                  <a:pt x="93" y="200"/>
                </a:cubicBezTo>
                <a:cubicBezTo>
                  <a:pt x="92" y="200"/>
                  <a:pt x="92" y="198"/>
                  <a:pt x="94" y="198"/>
                </a:cubicBezTo>
                <a:close/>
                <a:moveTo>
                  <a:pt x="94" y="407"/>
                </a:moveTo>
                <a:cubicBezTo>
                  <a:pt x="95" y="409"/>
                  <a:pt x="93" y="409"/>
                  <a:pt x="94" y="407"/>
                </a:cubicBezTo>
                <a:close/>
                <a:moveTo>
                  <a:pt x="96" y="275"/>
                </a:moveTo>
                <a:cubicBezTo>
                  <a:pt x="95" y="275"/>
                  <a:pt x="95" y="273"/>
                  <a:pt x="95" y="272"/>
                </a:cubicBezTo>
                <a:cubicBezTo>
                  <a:pt x="97" y="271"/>
                  <a:pt x="97" y="275"/>
                  <a:pt x="96" y="275"/>
                </a:cubicBezTo>
                <a:close/>
                <a:moveTo>
                  <a:pt x="95" y="257"/>
                </a:moveTo>
                <a:cubicBezTo>
                  <a:pt x="97" y="257"/>
                  <a:pt x="98" y="260"/>
                  <a:pt x="98" y="262"/>
                </a:cubicBezTo>
                <a:cubicBezTo>
                  <a:pt x="97" y="260"/>
                  <a:pt x="96" y="259"/>
                  <a:pt x="95" y="257"/>
                </a:cubicBezTo>
                <a:close/>
                <a:moveTo>
                  <a:pt x="99" y="345"/>
                </a:moveTo>
                <a:cubicBezTo>
                  <a:pt x="98" y="346"/>
                  <a:pt x="98" y="344"/>
                  <a:pt x="98" y="344"/>
                </a:cubicBezTo>
                <a:cubicBezTo>
                  <a:pt x="99" y="344"/>
                  <a:pt x="99" y="345"/>
                  <a:pt x="99" y="345"/>
                </a:cubicBezTo>
                <a:close/>
                <a:moveTo>
                  <a:pt x="99" y="391"/>
                </a:moveTo>
                <a:cubicBezTo>
                  <a:pt x="100" y="393"/>
                  <a:pt x="99" y="393"/>
                  <a:pt x="99" y="391"/>
                </a:cubicBezTo>
                <a:close/>
                <a:moveTo>
                  <a:pt x="98" y="263"/>
                </a:moveTo>
                <a:cubicBezTo>
                  <a:pt x="99" y="265"/>
                  <a:pt x="100" y="266"/>
                  <a:pt x="100" y="268"/>
                </a:cubicBezTo>
                <a:cubicBezTo>
                  <a:pt x="100" y="267"/>
                  <a:pt x="99" y="265"/>
                  <a:pt x="98" y="263"/>
                </a:cubicBezTo>
                <a:close/>
                <a:moveTo>
                  <a:pt x="100" y="245"/>
                </a:moveTo>
                <a:cubicBezTo>
                  <a:pt x="98" y="243"/>
                  <a:pt x="100" y="243"/>
                  <a:pt x="100" y="245"/>
                </a:cubicBezTo>
                <a:close/>
                <a:moveTo>
                  <a:pt x="98" y="231"/>
                </a:moveTo>
                <a:cubicBezTo>
                  <a:pt x="97" y="231"/>
                  <a:pt x="98" y="227"/>
                  <a:pt x="99" y="227"/>
                </a:cubicBezTo>
                <a:cubicBezTo>
                  <a:pt x="101" y="227"/>
                  <a:pt x="101" y="232"/>
                  <a:pt x="98" y="231"/>
                </a:cubicBezTo>
                <a:close/>
                <a:moveTo>
                  <a:pt x="99" y="205"/>
                </a:moveTo>
                <a:cubicBezTo>
                  <a:pt x="99" y="204"/>
                  <a:pt x="100" y="206"/>
                  <a:pt x="99" y="206"/>
                </a:cubicBezTo>
                <a:cubicBezTo>
                  <a:pt x="99" y="206"/>
                  <a:pt x="99" y="205"/>
                  <a:pt x="99" y="205"/>
                </a:cubicBezTo>
                <a:close/>
                <a:moveTo>
                  <a:pt x="102" y="420"/>
                </a:moveTo>
                <a:cubicBezTo>
                  <a:pt x="102" y="420"/>
                  <a:pt x="102" y="420"/>
                  <a:pt x="102" y="420"/>
                </a:cubicBezTo>
                <a:cubicBezTo>
                  <a:pt x="102" y="420"/>
                  <a:pt x="102" y="420"/>
                  <a:pt x="102" y="420"/>
                </a:cubicBezTo>
                <a:cubicBezTo>
                  <a:pt x="102" y="420"/>
                  <a:pt x="102" y="420"/>
                  <a:pt x="102" y="420"/>
                </a:cubicBezTo>
                <a:close/>
                <a:moveTo>
                  <a:pt x="101" y="348"/>
                </a:moveTo>
                <a:cubicBezTo>
                  <a:pt x="99" y="349"/>
                  <a:pt x="102" y="346"/>
                  <a:pt x="102" y="347"/>
                </a:cubicBezTo>
                <a:cubicBezTo>
                  <a:pt x="102" y="348"/>
                  <a:pt x="102" y="348"/>
                  <a:pt x="101" y="348"/>
                </a:cubicBezTo>
                <a:close/>
                <a:moveTo>
                  <a:pt x="102" y="273"/>
                </a:moveTo>
                <a:cubicBezTo>
                  <a:pt x="101" y="273"/>
                  <a:pt x="101" y="271"/>
                  <a:pt x="101" y="270"/>
                </a:cubicBezTo>
                <a:cubicBezTo>
                  <a:pt x="102" y="270"/>
                  <a:pt x="103" y="273"/>
                  <a:pt x="102" y="273"/>
                </a:cubicBezTo>
                <a:close/>
                <a:moveTo>
                  <a:pt x="102" y="211"/>
                </a:moveTo>
                <a:cubicBezTo>
                  <a:pt x="102" y="210"/>
                  <a:pt x="103" y="210"/>
                  <a:pt x="102" y="210"/>
                </a:cubicBezTo>
                <a:cubicBezTo>
                  <a:pt x="102" y="210"/>
                  <a:pt x="102" y="211"/>
                  <a:pt x="102" y="211"/>
                </a:cubicBezTo>
                <a:close/>
                <a:moveTo>
                  <a:pt x="101" y="211"/>
                </a:moveTo>
                <a:cubicBezTo>
                  <a:pt x="101" y="211"/>
                  <a:pt x="101" y="210"/>
                  <a:pt x="101" y="210"/>
                </a:cubicBezTo>
                <a:cubicBezTo>
                  <a:pt x="101" y="211"/>
                  <a:pt x="100" y="212"/>
                  <a:pt x="101" y="211"/>
                </a:cubicBezTo>
                <a:close/>
                <a:moveTo>
                  <a:pt x="103" y="355"/>
                </a:moveTo>
                <a:cubicBezTo>
                  <a:pt x="102" y="355"/>
                  <a:pt x="102" y="354"/>
                  <a:pt x="102" y="353"/>
                </a:cubicBezTo>
                <a:cubicBezTo>
                  <a:pt x="103" y="354"/>
                  <a:pt x="103" y="354"/>
                  <a:pt x="103" y="355"/>
                </a:cubicBezTo>
                <a:close/>
                <a:moveTo>
                  <a:pt x="105" y="290"/>
                </a:moveTo>
                <a:cubicBezTo>
                  <a:pt x="105" y="291"/>
                  <a:pt x="104" y="291"/>
                  <a:pt x="103" y="290"/>
                </a:cubicBezTo>
                <a:cubicBezTo>
                  <a:pt x="101" y="289"/>
                  <a:pt x="106" y="287"/>
                  <a:pt x="105" y="290"/>
                </a:cubicBezTo>
                <a:close/>
                <a:moveTo>
                  <a:pt x="103" y="252"/>
                </a:moveTo>
                <a:cubicBezTo>
                  <a:pt x="104" y="252"/>
                  <a:pt x="103" y="253"/>
                  <a:pt x="103" y="252"/>
                </a:cubicBezTo>
                <a:close/>
                <a:moveTo>
                  <a:pt x="105" y="207"/>
                </a:moveTo>
                <a:cubicBezTo>
                  <a:pt x="104" y="207"/>
                  <a:pt x="103" y="205"/>
                  <a:pt x="102" y="205"/>
                </a:cubicBezTo>
                <a:cubicBezTo>
                  <a:pt x="102" y="206"/>
                  <a:pt x="103" y="207"/>
                  <a:pt x="102" y="207"/>
                </a:cubicBezTo>
                <a:cubicBezTo>
                  <a:pt x="102" y="206"/>
                  <a:pt x="98" y="203"/>
                  <a:pt x="98" y="200"/>
                </a:cubicBezTo>
                <a:cubicBezTo>
                  <a:pt x="98" y="199"/>
                  <a:pt x="99" y="196"/>
                  <a:pt x="102" y="196"/>
                </a:cubicBezTo>
                <a:cubicBezTo>
                  <a:pt x="103" y="197"/>
                  <a:pt x="106" y="201"/>
                  <a:pt x="106" y="203"/>
                </a:cubicBezTo>
                <a:cubicBezTo>
                  <a:pt x="105" y="204"/>
                  <a:pt x="105" y="205"/>
                  <a:pt x="105" y="206"/>
                </a:cubicBezTo>
                <a:cubicBezTo>
                  <a:pt x="105" y="206"/>
                  <a:pt x="106" y="207"/>
                  <a:pt x="105" y="207"/>
                </a:cubicBezTo>
                <a:close/>
                <a:moveTo>
                  <a:pt x="106" y="270"/>
                </a:moveTo>
                <a:cubicBezTo>
                  <a:pt x="105" y="270"/>
                  <a:pt x="106" y="270"/>
                  <a:pt x="106" y="270"/>
                </a:cubicBezTo>
                <a:close/>
                <a:moveTo>
                  <a:pt x="106" y="271"/>
                </a:moveTo>
                <a:cubicBezTo>
                  <a:pt x="106" y="271"/>
                  <a:pt x="106" y="271"/>
                  <a:pt x="106" y="271"/>
                </a:cubicBezTo>
                <a:cubicBezTo>
                  <a:pt x="106" y="271"/>
                  <a:pt x="106" y="271"/>
                  <a:pt x="106" y="271"/>
                </a:cubicBezTo>
                <a:cubicBezTo>
                  <a:pt x="106" y="271"/>
                  <a:pt x="106" y="271"/>
                  <a:pt x="106" y="271"/>
                </a:cubicBezTo>
                <a:close/>
                <a:moveTo>
                  <a:pt x="107" y="250"/>
                </a:moveTo>
                <a:cubicBezTo>
                  <a:pt x="107" y="249"/>
                  <a:pt x="108" y="250"/>
                  <a:pt x="109" y="250"/>
                </a:cubicBezTo>
                <a:cubicBezTo>
                  <a:pt x="112" y="250"/>
                  <a:pt x="112" y="254"/>
                  <a:pt x="111" y="255"/>
                </a:cubicBezTo>
                <a:cubicBezTo>
                  <a:pt x="111" y="255"/>
                  <a:pt x="111" y="255"/>
                  <a:pt x="111" y="255"/>
                </a:cubicBezTo>
                <a:cubicBezTo>
                  <a:pt x="111" y="255"/>
                  <a:pt x="111" y="255"/>
                  <a:pt x="111" y="255"/>
                </a:cubicBezTo>
                <a:cubicBezTo>
                  <a:pt x="111" y="259"/>
                  <a:pt x="102" y="254"/>
                  <a:pt x="107" y="250"/>
                </a:cubicBezTo>
                <a:close/>
                <a:moveTo>
                  <a:pt x="107" y="458"/>
                </a:moveTo>
                <a:cubicBezTo>
                  <a:pt x="108" y="460"/>
                  <a:pt x="106" y="460"/>
                  <a:pt x="107" y="458"/>
                </a:cubicBezTo>
                <a:close/>
                <a:moveTo>
                  <a:pt x="109" y="360"/>
                </a:moveTo>
                <a:cubicBezTo>
                  <a:pt x="111" y="360"/>
                  <a:pt x="110" y="363"/>
                  <a:pt x="109" y="363"/>
                </a:cubicBezTo>
                <a:cubicBezTo>
                  <a:pt x="108" y="362"/>
                  <a:pt x="108" y="361"/>
                  <a:pt x="109" y="360"/>
                </a:cubicBezTo>
                <a:close/>
                <a:moveTo>
                  <a:pt x="109" y="423"/>
                </a:moveTo>
                <a:cubicBezTo>
                  <a:pt x="109" y="423"/>
                  <a:pt x="108" y="420"/>
                  <a:pt x="110" y="422"/>
                </a:cubicBezTo>
                <a:cubicBezTo>
                  <a:pt x="112" y="425"/>
                  <a:pt x="112" y="431"/>
                  <a:pt x="113" y="435"/>
                </a:cubicBezTo>
                <a:cubicBezTo>
                  <a:pt x="111" y="432"/>
                  <a:pt x="109" y="427"/>
                  <a:pt x="109" y="423"/>
                </a:cubicBezTo>
                <a:close/>
                <a:moveTo>
                  <a:pt x="113" y="436"/>
                </a:moveTo>
                <a:cubicBezTo>
                  <a:pt x="115" y="437"/>
                  <a:pt x="117" y="442"/>
                  <a:pt x="117" y="446"/>
                </a:cubicBezTo>
                <a:cubicBezTo>
                  <a:pt x="115" y="443"/>
                  <a:pt x="114" y="439"/>
                  <a:pt x="113" y="436"/>
                </a:cubicBezTo>
                <a:close/>
                <a:moveTo>
                  <a:pt x="116" y="414"/>
                </a:moveTo>
                <a:cubicBezTo>
                  <a:pt x="116" y="415"/>
                  <a:pt x="114" y="414"/>
                  <a:pt x="116" y="414"/>
                </a:cubicBezTo>
                <a:close/>
                <a:moveTo>
                  <a:pt x="117" y="400"/>
                </a:moveTo>
                <a:cubicBezTo>
                  <a:pt x="115" y="401"/>
                  <a:pt x="112" y="391"/>
                  <a:pt x="116" y="392"/>
                </a:cubicBezTo>
                <a:cubicBezTo>
                  <a:pt x="118" y="393"/>
                  <a:pt x="117" y="396"/>
                  <a:pt x="117" y="397"/>
                </a:cubicBezTo>
                <a:cubicBezTo>
                  <a:pt x="117" y="398"/>
                  <a:pt x="116" y="398"/>
                  <a:pt x="116" y="398"/>
                </a:cubicBezTo>
                <a:cubicBezTo>
                  <a:pt x="116" y="398"/>
                  <a:pt x="118" y="400"/>
                  <a:pt x="117" y="400"/>
                </a:cubicBezTo>
                <a:close/>
                <a:moveTo>
                  <a:pt x="119" y="371"/>
                </a:moveTo>
                <a:cubicBezTo>
                  <a:pt x="117" y="370"/>
                  <a:pt x="120" y="368"/>
                  <a:pt x="119" y="371"/>
                </a:cubicBezTo>
                <a:close/>
                <a:moveTo>
                  <a:pt x="118" y="368"/>
                </a:moveTo>
                <a:cubicBezTo>
                  <a:pt x="118" y="368"/>
                  <a:pt x="117" y="366"/>
                  <a:pt x="118" y="366"/>
                </a:cubicBezTo>
                <a:cubicBezTo>
                  <a:pt x="119" y="365"/>
                  <a:pt x="120" y="369"/>
                  <a:pt x="118" y="368"/>
                </a:cubicBezTo>
                <a:close/>
                <a:moveTo>
                  <a:pt x="119" y="278"/>
                </a:moveTo>
                <a:cubicBezTo>
                  <a:pt x="118" y="278"/>
                  <a:pt x="118" y="277"/>
                  <a:pt x="118" y="276"/>
                </a:cubicBezTo>
                <a:cubicBezTo>
                  <a:pt x="121" y="274"/>
                  <a:pt x="122" y="280"/>
                  <a:pt x="119" y="278"/>
                </a:cubicBezTo>
                <a:close/>
                <a:moveTo>
                  <a:pt x="120" y="239"/>
                </a:moveTo>
                <a:cubicBezTo>
                  <a:pt x="119" y="241"/>
                  <a:pt x="117" y="235"/>
                  <a:pt x="119" y="235"/>
                </a:cubicBezTo>
                <a:cubicBezTo>
                  <a:pt x="121" y="234"/>
                  <a:pt x="122" y="238"/>
                  <a:pt x="120" y="239"/>
                </a:cubicBezTo>
                <a:close/>
                <a:moveTo>
                  <a:pt x="133" y="398"/>
                </a:moveTo>
                <a:cubicBezTo>
                  <a:pt x="131" y="392"/>
                  <a:pt x="130" y="386"/>
                  <a:pt x="128" y="380"/>
                </a:cubicBezTo>
                <a:cubicBezTo>
                  <a:pt x="125" y="375"/>
                  <a:pt x="122" y="370"/>
                  <a:pt x="122" y="364"/>
                </a:cubicBezTo>
                <a:cubicBezTo>
                  <a:pt x="122" y="364"/>
                  <a:pt x="123" y="363"/>
                  <a:pt x="123" y="363"/>
                </a:cubicBezTo>
                <a:cubicBezTo>
                  <a:pt x="124" y="363"/>
                  <a:pt x="128" y="373"/>
                  <a:pt x="128" y="376"/>
                </a:cubicBezTo>
                <a:cubicBezTo>
                  <a:pt x="129" y="381"/>
                  <a:pt x="131" y="385"/>
                  <a:pt x="132" y="390"/>
                </a:cubicBezTo>
                <a:cubicBezTo>
                  <a:pt x="132" y="392"/>
                  <a:pt x="136" y="397"/>
                  <a:pt x="135" y="399"/>
                </a:cubicBezTo>
                <a:cubicBezTo>
                  <a:pt x="135" y="403"/>
                  <a:pt x="133" y="398"/>
                  <a:pt x="133" y="398"/>
                </a:cubicBezTo>
                <a:close/>
                <a:moveTo>
                  <a:pt x="134" y="304"/>
                </a:moveTo>
                <a:cubicBezTo>
                  <a:pt x="134" y="304"/>
                  <a:pt x="133" y="304"/>
                  <a:pt x="133" y="303"/>
                </a:cubicBezTo>
                <a:cubicBezTo>
                  <a:pt x="133" y="303"/>
                  <a:pt x="134" y="304"/>
                  <a:pt x="134" y="304"/>
                </a:cubicBezTo>
                <a:close/>
                <a:moveTo>
                  <a:pt x="134" y="250"/>
                </a:moveTo>
                <a:cubicBezTo>
                  <a:pt x="135" y="250"/>
                  <a:pt x="136" y="254"/>
                  <a:pt x="134" y="254"/>
                </a:cubicBezTo>
                <a:cubicBezTo>
                  <a:pt x="134" y="254"/>
                  <a:pt x="132" y="250"/>
                  <a:pt x="134" y="250"/>
                </a:cubicBezTo>
                <a:close/>
                <a:moveTo>
                  <a:pt x="136" y="417"/>
                </a:moveTo>
                <a:cubicBezTo>
                  <a:pt x="137" y="418"/>
                  <a:pt x="137" y="419"/>
                  <a:pt x="138" y="420"/>
                </a:cubicBezTo>
                <a:cubicBezTo>
                  <a:pt x="137" y="420"/>
                  <a:pt x="136" y="418"/>
                  <a:pt x="136" y="417"/>
                </a:cubicBezTo>
                <a:close/>
                <a:moveTo>
                  <a:pt x="137" y="421"/>
                </a:moveTo>
                <a:cubicBezTo>
                  <a:pt x="137" y="422"/>
                  <a:pt x="138" y="420"/>
                  <a:pt x="137" y="421"/>
                </a:cubicBezTo>
                <a:close/>
                <a:moveTo>
                  <a:pt x="135" y="249"/>
                </a:moveTo>
                <a:cubicBezTo>
                  <a:pt x="136" y="248"/>
                  <a:pt x="133" y="247"/>
                  <a:pt x="132" y="246"/>
                </a:cubicBezTo>
                <a:cubicBezTo>
                  <a:pt x="129" y="238"/>
                  <a:pt x="140" y="237"/>
                  <a:pt x="139" y="245"/>
                </a:cubicBezTo>
                <a:cubicBezTo>
                  <a:pt x="139" y="246"/>
                  <a:pt x="138" y="249"/>
                  <a:pt x="135" y="249"/>
                </a:cubicBezTo>
                <a:close/>
                <a:moveTo>
                  <a:pt x="138" y="250"/>
                </a:moveTo>
                <a:cubicBezTo>
                  <a:pt x="138" y="250"/>
                  <a:pt x="138" y="249"/>
                  <a:pt x="138" y="249"/>
                </a:cubicBezTo>
                <a:cubicBezTo>
                  <a:pt x="139" y="248"/>
                  <a:pt x="139" y="250"/>
                  <a:pt x="138" y="250"/>
                </a:cubicBezTo>
                <a:close/>
                <a:moveTo>
                  <a:pt x="140" y="271"/>
                </a:moveTo>
                <a:cubicBezTo>
                  <a:pt x="140" y="271"/>
                  <a:pt x="140" y="270"/>
                  <a:pt x="140" y="271"/>
                </a:cubicBezTo>
                <a:close/>
                <a:moveTo>
                  <a:pt x="139" y="232"/>
                </a:moveTo>
                <a:cubicBezTo>
                  <a:pt x="140" y="232"/>
                  <a:pt x="141" y="232"/>
                  <a:pt x="141" y="232"/>
                </a:cubicBezTo>
                <a:cubicBezTo>
                  <a:pt x="145" y="235"/>
                  <a:pt x="139" y="234"/>
                  <a:pt x="139" y="232"/>
                </a:cubicBezTo>
                <a:close/>
                <a:moveTo>
                  <a:pt x="142" y="304"/>
                </a:moveTo>
                <a:cubicBezTo>
                  <a:pt x="143" y="306"/>
                  <a:pt x="145" y="309"/>
                  <a:pt x="143" y="310"/>
                </a:cubicBezTo>
                <a:cubicBezTo>
                  <a:pt x="144" y="308"/>
                  <a:pt x="142" y="307"/>
                  <a:pt x="142" y="304"/>
                </a:cubicBezTo>
                <a:close/>
                <a:moveTo>
                  <a:pt x="144" y="445"/>
                </a:moveTo>
                <a:cubicBezTo>
                  <a:pt x="144" y="445"/>
                  <a:pt x="144" y="444"/>
                  <a:pt x="144" y="444"/>
                </a:cubicBezTo>
                <a:cubicBezTo>
                  <a:pt x="147" y="445"/>
                  <a:pt x="141" y="446"/>
                  <a:pt x="144" y="445"/>
                </a:cubicBezTo>
                <a:close/>
                <a:moveTo>
                  <a:pt x="144" y="390"/>
                </a:moveTo>
                <a:cubicBezTo>
                  <a:pt x="145" y="390"/>
                  <a:pt x="144" y="391"/>
                  <a:pt x="145" y="391"/>
                </a:cubicBezTo>
                <a:cubicBezTo>
                  <a:pt x="144" y="392"/>
                  <a:pt x="144" y="390"/>
                  <a:pt x="144" y="390"/>
                </a:cubicBezTo>
                <a:close/>
                <a:moveTo>
                  <a:pt x="145" y="345"/>
                </a:moveTo>
                <a:cubicBezTo>
                  <a:pt x="141" y="343"/>
                  <a:pt x="142" y="334"/>
                  <a:pt x="147" y="334"/>
                </a:cubicBezTo>
                <a:cubicBezTo>
                  <a:pt x="153" y="335"/>
                  <a:pt x="151" y="349"/>
                  <a:pt x="145" y="345"/>
                </a:cubicBezTo>
                <a:close/>
                <a:moveTo>
                  <a:pt x="150" y="229"/>
                </a:moveTo>
                <a:cubicBezTo>
                  <a:pt x="151" y="228"/>
                  <a:pt x="152" y="230"/>
                  <a:pt x="151" y="230"/>
                </a:cubicBezTo>
                <a:cubicBezTo>
                  <a:pt x="151" y="231"/>
                  <a:pt x="150" y="229"/>
                  <a:pt x="150" y="229"/>
                </a:cubicBezTo>
                <a:close/>
                <a:moveTo>
                  <a:pt x="152" y="263"/>
                </a:moveTo>
                <a:cubicBezTo>
                  <a:pt x="150" y="260"/>
                  <a:pt x="152" y="259"/>
                  <a:pt x="152" y="263"/>
                </a:cubicBezTo>
                <a:close/>
                <a:moveTo>
                  <a:pt x="156" y="234"/>
                </a:moveTo>
                <a:cubicBezTo>
                  <a:pt x="155" y="233"/>
                  <a:pt x="153" y="230"/>
                  <a:pt x="152" y="229"/>
                </a:cubicBezTo>
                <a:cubicBezTo>
                  <a:pt x="151" y="226"/>
                  <a:pt x="157" y="231"/>
                  <a:pt x="156" y="234"/>
                </a:cubicBezTo>
                <a:close/>
                <a:moveTo>
                  <a:pt x="153" y="303"/>
                </a:moveTo>
                <a:cubicBezTo>
                  <a:pt x="154" y="304"/>
                  <a:pt x="152" y="305"/>
                  <a:pt x="153" y="303"/>
                </a:cubicBezTo>
                <a:close/>
                <a:moveTo>
                  <a:pt x="156" y="299"/>
                </a:moveTo>
                <a:cubicBezTo>
                  <a:pt x="155" y="299"/>
                  <a:pt x="155" y="299"/>
                  <a:pt x="155" y="299"/>
                </a:cubicBezTo>
                <a:cubicBezTo>
                  <a:pt x="155" y="299"/>
                  <a:pt x="156" y="298"/>
                  <a:pt x="156" y="298"/>
                </a:cubicBezTo>
                <a:cubicBezTo>
                  <a:pt x="156" y="298"/>
                  <a:pt x="156" y="298"/>
                  <a:pt x="156" y="299"/>
                </a:cubicBezTo>
                <a:close/>
                <a:moveTo>
                  <a:pt x="157" y="293"/>
                </a:moveTo>
                <a:cubicBezTo>
                  <a:pt x="157" y="293"/>
                  <a:pt x="152" y="289"/>
                  <a:pt x="154" y="288"/>
                </a:cubicBezTo>
                <a:cubicBezTo>
                  <a:pt x="156" y="286"/>
                  <a:pt x="158" y="293"/>
                  <a:pt x="157" y="293"/>
                </a:cubicBezTo>
                <a:close/>
                <a:moveTo>
                  <a:pt x="158" y="227"/>
                </a:moveTo>
                <a:cubicBezTo>
                  <a:pt x="158" y="227"/>
                  <a:pt x="159" y="228"/>
                  <a:pt x="159" y="228"/>
                </a:cubicBezTo>
                <a:cubicBezTo>
                  <a:pt x="158" y="229"/>
                  <a:pt x="158" y="227"/>
                  <a:pt x="158" y="227"/>
                </a:cubicBezTo>
                <a:close/>
                <a:moveTo>
                  <a:pt x="180" y="198"/>
                </a:moveTo>
                <a:cubicBezTo>
                  <a:pt x="180" y="198"/>
                  <a:pt x="179" y="198"/>
                  <a:pt x="179" y="197"/>
                </a:cubicBezTo>
                <a:cubicBezTo>
                  <a:pt x="180" y="197"/>
                  <a:pt x="181" y="198"/>
                  <a:pt x="180" y="198"/>
                </a:cubicBezTo>
                <a:close/>
                <a:moveTo>
                  <a:pt x="177" y="199"/>
                </a:moveTo>
                <a:cubicBezTo>
                  <a:pt x="178" y="199"/>
                  <a:pt x="179" y="201"/>
                  <a:pt x="177" y="200"/>
                </a:cubicBezTo>
                <a:cubicBezTo>
                  <a:pt x="177" y="200"/>
                  <a:pt x="177" y="200"/>
                  <a:pt x="177" y="199"/>
                </a:cubicBezTo>
                <a:close/>
                <a:moveTo>
                  <a:pt x="175" y="198"/>
                </a:moveTo>
                <a:cubicBezTo>
                  <a:pt x="177" y="197"/>
                  <a:pt x="174" y="198"/>
                  <a:pt x="175" y="198"/>
                </a:cubicBezTo>
                <a:close/>
                <a:moveTo>
                  <a:pt x="178" y="260"/>
                </a:moveTo>
                <a:cubicBezTo>
                  <a:pt x="176" y="259"/>
                  <a:pt x="176" y="258"/>
                  <a:pt x="175" y="257"/>
                </a:cubicBezTo>
                <a:cubicBezTo>
                  <a:pt x="176" y="257"/>
                  <a:pt x="178" y="259"/>
                  <a:pt x="178" y="260"/>
                </a:cubicBezTo>
                <a:close/>
                <a:moveTo>
                  <a:pt x="174" y="205"/>
                </a:moveTo>
                <a:cubicBezTo>
                  <a:pt x="173" y="205"/>
                  <a:pt x="175" y="206"/>
                  <a:pt x="174" y="207"/>
                </a:cubicBezTo>
                <a:cubicBezTo>
                  <a:pt x="174" y="207"/>
                  <a:pt x="172" y="205"/>
                  <a:pt x="174" y="205"/>
                </a:cubicBezTo>
                <a:close/>
                <a:moveTo>
                  <a:pt x="173" y="231"/>
                </a:moveTo>
                <a:cubicBezTo>
                  <a:pt x="171" y="230"/>
                  <a:pt x="174" y="232"/>
                  <a:pt x="173" y="231"/>
                </a:cubicBezTo>
                <a:close/>
                <a:moveTo>
                  <a:pt x="170" y="230"/>
                </a:moveTo>
                <a:cubicBezTo>
                  <a:pt x="171" y="230"/>
                  <a:pt x="172" y="233"/>
                  <a:pt x="171" y="234"/>
                </a:cubicBezTo>
                <a:cubicBezTo>
                  <a:pt x="170" y="235"/>
                  <a:pt x="168" y="231"/>
                  <a:pt x="170" y="230"/>
                </a:cubicBezTo>
                <a:close/>
                <a:moveTo>
                  <a:pt x="167" y="193"/>
                </a:moveTo>
                <a:cubicBezTo>
                  <a:pt x="168" y="192"/>
                  <a:pt x="169" y="194"/>
                  <a:pt x="168" y="195"/>
                </a:cubicBezTo>
                <a:cubicBezTo>
                  <a:pt x="167" y="195"/>
                  <a:pt x="167" y="193"/>
                  <a:pt x="167" y="193"/>
                </a:cubicBezTo>
                <a:close/>
                <a:moveTo>
                  <a:pt x="168" y="274"/>
                </a:moveTo>
                <a:cubicBezTo>
                  <a:pt x="167" y="273"/>
                  <a:pt x="167" y="272"/>
                  <a:pt x="166" y="272"/>
                </a:cubicBezTo>
                <a:cubicBezTo>
                  <a:pt x="167" y="272"/>
                  <a:pt x="168" y="273"/>
                  <a:pt x="168" y="274"/>
                </a:cubicBezTo>
                <a:close/>
                <a:moveTo>
                  <a:pt x="166" y="208"/>
                </a:moveTo>
                <a:cubicBezTo>
                  <a:pt x="166" y="208"/>
                  <a:pt x="166" y="208"/>
                  <a:pt x="166" y="207"/>
                </a:cubicBezTo>
                <a:cubicBezTo>
                  <a:pt x="166" y="206"/>
                  <a:pt x="168" y="208"/>
                  <a:pt x="166" y="208"/>
                </a:cubicBezTo>
                <a:close/>
                <a:moveTo>
                  <a:pt x="167" y="224"/>
                </a:moveTo>
                <a:cubicBezTo>
                  <a:pt x="165" y="222"/>
                  <a:pt x="165" y="218"/>
                  <a:pt x="163" y="214"/>
                </a:cubicBezTo>
                <a:cubicBezTo>
                  <a:pt x="166" y="217"/>
                  <a:pt x="166" y="221"/>
                  <a:pt x="167" y="224"/>
                </a:cubicBezTo>
                <a:close/>
                <a:moveTo>
                  <a:pt x="166" y="338"/>
                </a:moveTo>
                <a:cubicBezTo>
                  <a:pt x="164" y="337"/>
                  <a:pt x="166" y="334"/>
                  <a:pt x="166" y="338"/>
                </a:cubicBezTo>
                <a:close/>
                <a:moveTo>
                  <a:pt x="163" y="266"/>
                </a:moveTo>
                <a:cubicBezTo>
                  <a:pt x="165" y="266"/>
                  <a:pt x="165" y="269"/>
                  <a:pt x="166" y="270"/>
                </a:cubicBezTo>
                <a:cubicBezTo>
                  <a:pt x="164" y="270"/>
                  <a:pt x="164" y="267"/>
                  <a:pt x="163" y="266"/>
                </a:cubicBezTo>
                <a:close/>
                <a:moveTo>
                  <a:pt x="161" y="230"/>
                </a:moveTo>
                <a:cubicBezTo>
                  <a:pt x="159" y="230"/>
                  <a:pt x="160" y="228"/>
                  <a:pt x="161" y="230"/>
                </a:cubicBezTo>
                <a:close/>
                <a:moveTo>
                  <a:pt x="162" y="222"/>
                </a:moveTo>
                <a:cubicBezTo>
                  <a:pt x="162" y="222"/>
                  <a:pt x="164" y="223"/>
                  <a:pt x="164" y="223"/>
                </a:cubicBezTo>
                <a:cubicBezTo>
                  <a:pt x="165" y="223"/>
                  <a:pt x="166" y="224"/>
                  <a:pt x="165" y="226"/>
                </a:cubicBezTo>
                <a:cubicBezTo>
                  <a:pt x="165" y="226"/>
                  <a:pt x="164" y="226"/>
                  <a:pt x="164" y="225"/>
                </a:cubicBezTo>
                <a:cubicBezTo>
                  <a:pt x="164" y="226"/>
                  <a:pt x="163" y="229"/>
                  <a:pt x="162" y="229"/>
                </a:cubicBezTo>
                <a:cubicBezTo>
                  <a:pt x="159" y="229"/>
                  <a:pt x="161" y="222"/>
                  <a:pt x="162" y="222"/>
                </a:cubicBezTo>
                <a:close/>
                <a:moveTo>
                  <a:pt x="162" y="231"/>
                </a:moveTo>
                <a:cubicBezTo>
                  <a:pt x="162" y="231"/>
                  <a:pt x="163" y="232"/>
                  <a:pt x="162" y="232"/>
                </a:cubicBezTo>
                <a:cubicBezTo>
                  <a:pt x="162" y="232"/>
                  <a:pt x="162" y="231"/>
                  <a:pt x="162" y="231"/>
                </a:cubicBezTo>
                <a:close/>
                <a:moveTo>
                  <a:pt x="163" y="344"/>
                </a:moveTo>
                <a:cubicBezTo>
                  <a:pt x="164" y="346"/>
                  <a:pt x="166" y="350"/>
                  <a:pt x="167" y="353"/>
                </a:cubicBezTo>
                <a:cubicBezTo>
                  <a:pt x="165" y="351"/>
                  <a:pt x="164" y="347"/>
                  <a:pt x="163" y="344"/>
                </a:cubicBezTo>
                <a:close/>
                <a:moveTo>
                  <a:pt x="167" y="354"/>
                </a:moveTo>
                <a:cubicBezTo>
                  <a:pt x="167" y="353"/>
                  <a:pt x="168" y="355"/>
                  <a:pt x="168" y="355"/>
                </a:cubicBezTo>
                <a:cubicBezTo>
                  <a:pt x="168" y="355"/>
                  <a:pt x="167" y="355"/>
                  <a:pt x="167" y="354"/>
                </a:cubicBezTo>
                <a:close/>
                <a:moveTo>
                  <a:pt x="170" y="358"/>
                </a:moveTo>
                <a:cubicBezTo>
                  <a:pt x="169" y="358"/>
                  <a:pt x="168" y="356"/>
                  <a:pt x="168" y="356"/>
                </a:cubicBezTo>
                <a:cubicBezTo>
                  <a:pt x="168" y="355"/>
                  <a:pt x="171" y="358"/>
                  <a:pt x="170" y="358"/>
                </a:cubicBezTo>
                <a:close/>
                <a:moveTo>
                  <a:pt x="171" y="267"/>
                </a:moveTo>
                <a:cubicBezTo>
                  <a:pt x="169" y="267"/>
                  <a:pt x="170" y="265"/>
                  <a:pt x="171" y="267"/>
                </a:cubicBezTo>
                <a:close/>
                <a:moveTo>
                  <a:pt x="173" y="269"/>
                </a:moveTo>
                <a:cubicBezTo>
                  <a:pt x="171" y="269"/>
                  <a:pt x="172" y="267"/>
                  <a:pt x="173" y="269"/>
                </a:cubicBezTo>
                <a:close/>
                <a:moveTo>
                  <a:pt x="173" y="268"/>
                </a:moveTo>
                <a:cubicBezTo>
                  <a:pt x="172" y="269"/>
                  <a:pt x="170" y="264"/>
                  <a:pt x="173" y="264"/>
                </a:cubicBezTo>
                <a:cubicBezTo>
                  <a:pt x="175" y="264"/>
                  <a:pt x="175" y="268"/>
                  <a:pt x="173" y="268"/>
                </a:cubicBezTo>
                <a:close/>
                <a:moveTo>
                  <a:pt x="177" y="280"/>
                </a:moveTo>
                <a:cubicBezTo>
                  <a:pt x="175" y="280"/>
                  <a:pt x="175" y="278"/>
                  <a:pt x="174" y="277"/>
                </a:cubicBezTo>
                <a:cubicBezTo>
                  <a:pt x="175" y="277"/>
                  <a:pt x="176" y="279"/>
                  <a:pt x="177" y="280"/>
                </a:cubicBezTo>
                <a:close/>
                <a:moveTo>
                  <a:pt x="179" y="434"/>
                </a:moveTo>
                <a:cubicBezTo>
                  <a:pt x="179" y="433"/>
                  <a:pt x="178" y="432"/>
                  <a:pt x="179" y="431"/>
                </a:cubicBezTo>
                <a:cubicBezTo>
                  <a:pt x="179" y="432"/>
                  <a:pt x="179" y="433"/>
                  <a:pt x="179" y="434"/>
                </a:cubicBezTo>
                <a:close/>
                <a:moveTo>
                  <a:pt x="178" y="387"/>
                </a:moveTo>
                <a:cubicBezTo>
                  <a:pt x="177" y="387"/>
                  <a:pt x="174" y="383"/>
                  <a:pt x="176" y="381"/>
                </a:cubicBezTo>
                <a:cubicBezTo>
                  <a:pt x="176" y="381"/>
                  <a:pt x="178" y="381"/>
                  <a:pt x="178" y="381"/>
                </a:cubicBezTo>
                <a:cubicBezTo>
                  <a:pt x="178" y="380"/>
                  <a:pt x="176" y="378"/>
                  <a:pt x="176" y="377"/>
                </a:cubicBezTo>
                <a:cubicBezTo>
                  <a:pt x="176" y="377"/>
                  <a:pt x="179" y="381"/>
                  <a:pt x="179" y="383"/>
                </a:cubicBezTo>
                <a:cubicBezTo>
                  <a:pt x="179" y="383"/>
                  <a:pt x="178" y="387"/>
                  <a:pt x="178" y="387"/>
                </a:cubicBezTo>
                <a:close/>
                <a:moveTo>
                  <a:pt x="178" y="354"/>
                </a:moveTo>
                <a:cubicBezTo>
                  <a:pt x="179" y="353"/>
                  <a:pt x="180" y="356"/>
                  <a:pt x="179" y="356"/>
                </a:cubicBezTo>
                <a:cubicBezTo>
                  <a:pt x="178" y="356"/>
                  <a:pt x="178" y="354"/>
                  <a:pt x="178" y="354"/>
                </a:cubicBezTo>
                <a:close/>
                <a:moveTo>
                  <a:pt x="181" y="290"/>
                </a:moveTo>
                <a:cubicBezTo>
                  <a:pt x="179" y="287"/>
                  <a:pt x="177" y="285"/>
                  <a:pt x="176" y="284"/>
                </a:cubicBezTo>
                <a:cubicBezTo>
                  <a:pt x="176" y="281"/>
                  <a:pt x="179" y="285"/>
                  <a:pt x="179" y="285"/>
                </a:cubicBezTo>
                <a:cubicBezTo>
                  <a:pt x="180" y="287"/>
                  <a:pt x="180" y="288"/>
                  <a:pt x="181" y="290"/>
                </a:cubicBezTo>
                <a:cubicBezTo>
                  <a:pt x="181" y="290"/>
                  <a:pt x="181" y="291"/>
                  <a:pt x="181" y="291"/>
                </a:cubicBezTo>
                <a:cubicBezTo>
                  <a:pt x="181" y="291"/>
                  <a:pt x="181" y="290"/>
                  <a:pt x="181" y="290"/>
                </a:cubicBezTo>
                <a:close/>
                <a:moveTo>
                  <a:pt x="182" y="217"/>
                </a:moveTo>
                <a:cubicBezTo>
                  <a:pt x="182" y="218"/>
                  <a:pt x="181" y="217"/>
                  <a:pt x="181" y="217"/>
                </a:cubicBezTo>
                <a:cubicBezTo>
                  <a:pt x="179" y="215"/>
                  <a:pt x="183" y="216"/>
                  <a:pt x="182" y="217"/>
                </a:cubicBezTo>
                <a:close/>
                <a:moveTo>
                  <a:pt x="310" y="745"/>
                </a:moveTo>
                <a:cubicBezTo>
                  <a:pt x="309" y="747"/>
                  <a:pt x="304" y="748"/>
                  <a:pt x="302" y="747"/>
                </a:cubicBezTo>
                <a:cubicBezTo>
                  <a:pt x="301" y="747"/>
                  <a:pt x="299" y="748"/>
                  <a:pt x="298" y="747"/>
                </a:cubicBezTo>
                <a:cubicBezTo>
                  <a:pt x="297" y="747"/>
                  <a:pt x="298" y="744"/>
                  <a:pt x="296" y="744"/>
                </a:cubicBezTo>
                <a:cubicBezTo>
                  <a:pt x="300" y="744"/>
                  <a:pt x="295" y="742"/>
                  <a:pt x="295" y="742"/>
                </a:cubicBezTo>
                <a:cubicBezTo>
                  <a:pt x="294" y="739"/>
                  <a:pt x="301" y="738"/>
                  <a:pt x="302" y="738"/>
                </a:cubicBezTo>
                <a:cubicBezTo>
                  <a:pt x="304" y="738"/>
                  <a:pt x="311" y="740"/>
                  <a:pt x="310" y="745"/>
                </a:cubicBezTo>
                <a:close/>
                <a:moveTo>
                  <a:pt x="295" y="179"/>
                </a:moveTo>
                <a:cubicBezTo>
                  <a:pt x="292" y="179"/>
                  <a:pt x="292" y="177"/>
                  <a:pt x="295" y="179"/>
                </a:cubicBezTo>
                <a:close/>
                <a:moveTo>
                  <a:pt x="292" y="164"/>
                </a:moveTo>
                <a:cubicBezTo>
                  <a:pt x="292" y="164"/>
                  <a:pt x="292" y="163"/>
                  <a:pt x="292" y="163"/>
                </a:cubicBezTo>
                <a:cubicBezTo>
                  <a:pt x="292" y="162"/>
                  <a:pt x="294" y="164"/>
                  <a:pt x="292" y="164"/>
                </a:cubicBezTo>
                <a:close/>
                <a:moveTo>
                  <a:pt x="295" y="173"/>
                </a:moveTo>
                <a:cubicBezTo>
                  <a:pt x="294" y="173"/>
                  <a:pt x="294" y="171"/>
                  <a:pt x="295" y="172"/>
                </a:cubicBezTo>
                <a:cubicBezTo>
                  <a:pt x="295" y="172"/>
                  <a:pt x="295" y="173"/>
                  <a:pt x="295" y="173"/>
                </a:cubicBezTo>
                <a:close/>
                <a:moveTo>
                  <a:pt x="293" y="108"/>
                </a:moveTo>
                <a:cubicBezTo>
                  <a:pt x="294" y="106"/>
                  <a:pt x="296" y="110"/>
                  <a:pt x="297" y="112"/>
                </a:cubicBezTo>
                <a:cubicBezTo>
                  <a:pt x="295" y="112"/>
                  <a:pt x="292" y="110"/>
                  <a:pt x="293" y="108"/>
                </a:cubicBezTo>
                <a:close/>
                <a:moveTo>
                  <a:pt x="296" y="183"/>
                </a:moveTo>
                <a:cubicBezTo>
                  <a:pt x="298" y="182"/>
                  <a:pt x="300" y="186"/>
                  <a:pt x="298" y="187"/>
                </a:cubicBezTo>
                <a:cubicBezTo>
                  <a:pt x="296" y="189"/>
                  <a:pt x="294" y="184"/>
                  <a:pt x="296" y="183"/>
                </a:cubicBezTo>
                <a:close/>
                <a:moveTo>
                  <a:pt x="297" y="144"/>
                </a:moveTo>
                <a:cubicBezTo>
                  <a:pt x="299" y="144"/>
                  <a:pt x="298" y="146"/>
                  <a:pt x="297" y="144"/>
                </a:cubicBezTo>
                <a:close/>
                <a:moveTo>
                  <a:pt x="300" y="188"/>
                </a:moveTo>
                <a:cubicBezTo>
                  <a:pt x="299" y="187"/>
                  <a:pt x="301" y="189"/>
                  <a:pt x="300" y="188"/>
                </a:cubicBezTo>
                <a:close/>
                <a:moveTo>
                  <a:pt x="301" y="225"/>
                </a:moveTo>
                <a:cubicBezTo>
                  <a:pt x="301" y="225"/>
                  <a:pt x="300" y="224"/>
                  <a:pt x="300" y="224"/>
                </a:cubicBezTo>
                <a:cubicBezTo>
                  <a:pt x="301" y="224"/>
                  <a:pt x="302" y="225"/>
                  <a:pt x="301" y="225"/>
                </a:cubicBezTo>
                <a:close/>
                <a:moveTo>
                  <a:pt x="300" y="518"/>
                </a:moveTo>
                <a:cubicBezTo>
                  <a:pt x="301" y="519"/>
                  <a:pt x="299" y="517"/>
                  <a:pt x="299" y="517"/>
                </a:cubicBezTo>
                <a:cubicBezTo>
                  <a:pt x="299" y="516"/>
                  <a:pt x="300" y="517"/>
                  <a:pt x="300" y="518"/>
                </a:cubicBezTo>
                <a:close/>
                <a:moveTo>
                  <a:pt x="300" y="733"/>
                </a:moveTo>
                <a:cubicBezTo>
                  <a:pt x="301" y="733"/>
                  <a:pt x="299" y="734"/>
                  <a:pt x="299" y="734"/>
                </a:cubicBezTo>
                <a:cubicBezTo>
                  <a:pt x="298" y="733"/>
                  <a:pt x="300" y="733"/>
                  <a:pt x="300" y="733"/>
                </a:cubicBezTo>
                <a:close/>
                <a:moveTo>
                  <a:pt x="298" y="724"/>
                </a:moveTo>
                <a:cubicBezTo>
                  <a:pt x="298" y="723"/>
                  <a:pt x="300" y="725"/>
                  <a:pt x="298" y="724"/>
                </a:cubicBezTo>
                <a:close/>
                <a:moveTo>
                  <a:pt x="297" y="681"/>
                </a:moveTo>
                <a:cubicBezTo>
                  <a:pt x="297" y="681"/>
                  <a:pt x="297" y="681"/>
                  <a:pt x="297" y="681"/>
                </a:cubicBezTo>
                <a:cubicBezTo>
                  <a:pt x="298" y="681"/>
                  <a:pt x="298" y="682"/>
                  <a:pt x="297" y="681"/>
                </a:cubicBezTo>
                <a:close/>
                <a:moveTo>
                  <a:pt x="303" y="683"/>
                </a:moveTo>
                <a:cubicBezTo>
                  <a:pt x="303" y="683"/>
                  <a:pt x="304" y="682"/>
                  <a:pt x="305" y="683"/>
                </a:cubicBezTo>
                <a:cubicBezTo>
                  <a:pt x="305" y="683"/>
                  <a:pt x="303" y="683"/>
                  <a:pt x="303" y="683"/>
                </a:cubicBezTo>
                <a:close/>
                <a:moveTo>
                  <a:pt x="304" y="731"/>
                </a:moveTo>
                <a:cubicBezTo>
                  <a:pt x="305" y="731"/>
                  <a:pt x="302" y="730"/>
                  <a:pt x="304" y="731"/>
                </a:cubicBezTo>
                <a:close/>
                <a:moveTo>
                  <a:pt x="303" y="675"/>
                </a:moveTo>
                <a:cubicBezTo>
                  <a:pt x="305" y="673"/>
                  <a:pt x="305" y="677"/>
                  <a:pt x="303" y="675"/>
                </a:cubicBezTo>
                <a:close/>
                <a:moveTo>
                  <a:pt x="302" y="671"/>
                </a:moveTo>
                <a:cubicBezTo>
                  <a:pt x="302" y="669"/>
                  <a:pt x="304" y="669"/>
                  <a:pt x="305" y="670"/>
                </a:cubicBezTo>
                <a:cubicBezTo>
                  <a:pt x="306" y="671"/>
                  <a:pt x="302" y="672"/>
                  <a:pt x="302" y="671"/>
                </a:cubicBezTo>
                <a:close/>
                <a:moveTo>
                  <a:pt x="304" y="158"/>
                </a:moveTo>
                <a:cubicBezTo>
                  <a:pt x="304" y="158"/>
                  <a:pt x="303" y="158"/>
                  <a:pt x="304" y="157"/>
                </a:cubicBezTo>
                <a:cubicBezTo>
                  <a:pt x="304" y="157"/>
                  <a:pt x="305" y="158"/>
                  <a:pt x="304" y="158"/>
                </a:cubicBezTo>
                <a:close/>
                <a:moveTo>
                  <a:pt x="304" y="613"/>
                </a:moveTo>
                <a:cubicBezTo>
                  <a:pt x="305" y="615"/>
                  <a:pt x="301" y="614"/>
                  <a:pt x="302" y="612"/>
                </a:cubicBezTo>
                <a:cubicBezTo>
                  <a:pt x="302" y="612"/>
                  <a:pt x="304" y="612"/>
                  <a:pt x="304" y="613"/>
                </a:cubicBezTo>
                <a:close/>
                <a:moveTo>
                  <a:pt x="305" y="735"/>
                </a:moveTo>
                <a:cubicBezTo>
                  <a:pt x="307" y="734"/>
                  <a:pt x="308" y="736"/>
                  <a:pt x="305" y="735"/>
                </a:cubicBezTo>
                <a:close/>
                <a:moveTo>
                  <a:pt x="307" y="737"/>
                </a:moveTo>
                <a:cubicBezTo>
                  <a:pt x="307" y="737"/>
                  <a:pt x="308" y="737"/>
                  <a:pt x="309" y="737"/>
                </a:cubicBezTo>
                <a:cubicBezTo>
                  <a:pt x="308" y="737"/>
                  <a:pt x="308" y="737"/>
                  <a:pt x="307" y="737"/>
                </a:cubicBezTo>
                <a:close/>
                <a:moveTo>
                  <a:pt x="311" y="752"/>
                </a:moveTo>
                <a:cubicBezTo>
                  <a:pt x="311" y="752"/>
                  <a:pt x="311" y="752"/>
                  <a:pt x="311" y="752"/>
                </a:cubicBezTo>
                <a:cubicBezTo>
                  <a:pt x="313" y="752"/>
                  <a:pt x="312" y="753"/>
                  <a:pt x="311" y="752"/>
                </a:cubicBezTo>
                <a:close/>
                <a:moveTo>
                  <a:pt x="314" y="737"/>
                </a:moveTo>
                <a:cubicBezTo>
                  <a:pt x="315" y="736"/>
                  <a:pt x="316" y="737"/>
                  <a:pt x="316" y="738"/>
                </a:cubicBezTo>
                <a:cubicBezTo>
                  <a:pt x="317" y="739"/>
                  <a:pt x="313" y="738"/>
                  <a:pt x="314" y="737"/>
                </a:cubicBezTo>
                <a:close/>
                <a:moveTo>
                  <a:pt x="313" y="737"/>
                </a:moveTo>
                <a:cubicBezTo>
                  <a:pt x="309" y="737"/>
                  <a:pt x="308" y="733"/>
                  <a:pt x="302" y="734"/>
                </a:cubicBezTo>
                <a:cubicBezTo>
                  <a:pt x="303" y="733"/>
                  <a:pt x="305" y="733"/>
                  <a:pt x="306" y="732"/>
                </a:cubicBezTo>
                <a:cubicBezTo>
                  <a:pt x="306" y="732"/>
                  <a:pt x="305" y="731"/>
                  <a:pt x="305" y="732"/>
                </a:cubicBezTo>
                <a:cubicBezTo>
                  <a:pt x="305" y="731"/>
                  <a:pt x="306" y="731"/>
                  <a:pt x="306" y="731"/>
                </a:cubicBezTo>
                <a:cubicBezTo>
                  <a:pt x="307" y="729"/>
                  <a:pt x="304" y="729"/>
                  <a:pt x="306" y="728"/>
                </a:cubicBezTo>
                <a:cubicBezTo>
                  <a:pt x="307" y="727"/>
                  <a:pt x="308" y="728"/>
                  <a:pt x="310" y="728"/>
                </a:cubicBezTo>
                <a:cubicBezTo>
                  <a:pt x="310" y="728"/>
                  <a:pt x="313" y="728"/>
                  <a:pt x="315" y="729"/>
                </a:cubicBezTo>
                <a:cubicBezTo>
                  <a:pt x="319" y="730"/>
                  <a:pt x="318" y="736"/>
                  <a:pt x="313" y="737"/>
                </a:cubicBezTo>
                <a:close/>
                <a:moveTo>
                  <a:pt x="306" y="205"/>
                </a:moveTo>
                <a:cubicBezTo>
                  <a:pt x="307" y="205"/>
                  <a:pt x="306" y="206"/>
                  <a:pt x="306" y="206"/>
                </a:cubicBezTo>
                <a:cubicBezTo>
                  <a:pt x="304" y="205"/>
                  <a:pt x="306" y="204"/>
                  <a:pt x="306" y="205"/>
                </a:cubicBezTo>
                <a:close/>
                <a:moveTo>
                  <a:pt x="305" y="103"/>
                </a:moveTo>
                <a:cubicBezTo>
                  <a:pt x="307" y="102"/>
                  <a:pt x="308" y="105"/>
                  <a:pt x="306" y="104"/>
                </a:cubicBezTo>
                <a:cubicBezTo>
                  <a:pt x="305" y="104"/>
                  <a:pt x="305" y="103"/>
                  <a:pt x="305" y="103"/>
                </a:cubicBezTo>
                <a:close/>
                <a:moveTo>
                  <a:pt x="311" y="167"/>
                </a:moveTo>
                <a:cubicBezTo>
                  <a:pt x="311" y="167"/>
                  <a:pt x="311" y="167"/>
                  <a:pt x="311" y="167"/>
                </a:cubicBezTo>
                <a:cubicBezTo>
                  <a:pt x="311" y="167"/>
                  <a:pt x="311" y="167"/>
                  <a:pt x="312" y="167"/>
                </a:cubicBezTo>
                <a:cubicBezTo>
                  <a:pt x="312" y="167"/>
                  <a:pt x="311" y="167"/>
                  <a:pt x="311" y="167"/>
                </a:cubicBezTo>
                <a:close/>
                <a:moveTo>
                  <a:pt x="310" y="638"/>
                </a:moveTo>
                <a:cubicBezTo>
                  <a:pt x="314" y="639"/>
                  <a:pt x="311" y="641"/>
                  <a:pt x="310" y="638"/>
                </a:cubicBezTo>
                <a:close/>
                <a:moveTo>
                  <a:pt x="311" y="123"/>
                </a:moveTo>
                <a:cubicBezTo>
                  <a:pt x="309" y="123"/>
                  <a:pt x="312" y="124"/>
                  <a:pt x="311" y="123"/>
                </a:cubicBezTo>
                <a:close/>
                <a:moveTo>
                  <a:pt x="310" y="111"/>
                </a:moveTo>
                <a:cubicBezTo>
                  <a:pt x="311" y="111"/>
                  <a:pt x="312" y="112"/>
                  <a:pt x="311" y="112"/>
                </a:cubicBezTo>
                <a:cubicBezTo>
                  <a:pt x="311" y="112"/>
                  <a:pt x="310" y="112"/>
                  <a:pt x="310" y="111"/>
                </a:cubicBezTo>
                <a:close/>
                <a:moveTo>
                  <a:pt x="308" y="612"/>
                </a:moveTo>
                <a:cubicBezTo>
                  <a:pt x="308" y="611"/>
                  <a:pt x="310" y="612"/>
                  <a:pt x="310" y="612"/>
                </a:cubicBezTo>
                <a:cubicBezTo>
                  <a:pt x="311" y="614"/>
                  <a:pt x="308" y="613"/>
                  <a:pt x="308" y="612"/>
                </a:cubicBezTo>
                <a:close/>
                <a:moveTo>
                  <a:pt x="316" y="436"/>
                </a:moveTo>
                <a:cubicBezTo>
                  <a:pt x="317" y="435"/>
                  <a:pt x="318" y="436"/>
                  <a:pt x="318" y="437"/>
                </a:cubicBezTo>
                <a:cubicBezTo>
                  <a:pt x="320" y="439"/>
                  <a:pt x="316" y="436"/>
                  <a:pt x="316" y="436"/>
                </a:cubicBezTo>
                <a:close/>
                <a:moveTo>
                  <a:pt x="317" y="526"/>
                </a:moveTo>
                <a:cubicBezTo>
                  <a:pt x="317" y="526"/>
                  <a:pt x="318" y="527"/>
                  <a:pt x="319" y="528"/>
                </a:cubicBezTo>
                <a:cubicBezTo>
                  <a:pt x="319" y="529"/>
                  <a:pt x="317" y="527"/>
                  <a:pt x="317" y="526"/>
                </a:cubicBezTo>
                <a:close/>
                <a:moveTo>
                  <a:pt x="316" y="682"/>
                </a:moveTo>
                <a:cubicBezTo>
                  <a:pt x="318" y="683"/>
                  <a:pt x="316" y="684"/>
                  <a:pt x="316" y="682"/>
                </a:cubicBezTo>
                <a:close/>
                <a:moveTo>
                  <a:pt x="315" y="197"/>
                </a:moveTo>
                <a:cubicBezTo>
                  <a:pt x="315" y="196"/>
                  <a:pt x="317" y="197"/>
                  <a:pt x="316" y="198"/>
                </a:cubicBezTo>
                <a:cubicBezTo>
                  <a:pt x="316" y="198"/>
                  <a:pt x="315" y="197"/>
                  <a:pt x="315" y="197"/>
                </a:cubicBezTo>
                <a:close/>
                <a:moveTo>
                  <a:pt x="315" y="98"/>
                </a:moveTo>
                <a:cubicBezTo>
                  <a:pt x="313" y="97"/>
                  <a:pt x="318" y="96"/>
                  <a:pt x="317" y="98"/>
                </a:cubicBezTo>
                <a:cubicBezTo>
                  <a:pt x="316" y="98"/>
                  <a:pt x="316" y="98"/>
                  <a:pt x="315" y="98"/>
                </a:cubicBezTo>
                <a:close/>
                <a:moveTo>
                  <a:pt x="314" y="99"/>
                </a:moveTo>
                <a:cubicBezTo>
                  <a:pt x="317" y="99"/>
                  <a:pt x="315" y="102"/>
                  <a:pt x="314" y="99"/>
                </a:cubicBezTo>
                <a:close/>
                <a:moveTo>
                  <a:pt x="314" y="129"/>
                </a:moveTo>
                <a:cubicBezTo>
                  <a:pt x="314" y="129"/>
                  <a:pt x="314" y="129"/>
                  <a:pt x="314" y="129"/>
                </a:cubicBezTo>
                <a:cubicBezTo>
                  <a:pt x="311" y="127"/>
                  <a:pt x="317" y="129"/>
                  <a:pt x="314" y="129"/>
                </a:cubicBezTo>
                <a:close/>
                <a:moveTo>
                  <a:pt x="313" y="166"/>
                </a:moveTo>
                <a:cubicBezTo>
                  <a:pt x="315" y="165"/>
                  <a:pt x="313" y="168"/>
                  <a:pt x="313" y="166"/>
                </a:cubicBezTo>
                <a:cubicBezTo>
                  <a:pt x="312" y="166"/>
                  <a:pt x="313" y="166"/>
                  <a:pt x="313" y="166"/>
                </a:cubicBezTo>
                <a:close/>
                <a:moveTo>
                  <a:pt x="313" y="636"/>
                </a:moveTo>
                <a:cubicBezTo>
                  <a:pt x="313" y="636"/>
                  <a:pt x="314" y="637"/>
                  <a:pt x="314" y="637"/>
                </a:cubicBezTo>
                <a:cubicBezTo>
                  <a:pt x="316" y="639"/>
                  <a:pt x="311" y="637"/>
                  <a:pt x="313" y="636"/>
                </a:cubicBezTo>
                <a:close/>
                <a:moveTo>
                  <a:pt x="316" y="540"/>
                </a:moveTo>
                <a:cubicBezTo>
                  <a:pt x="317" y="539"/>
                  <a:pt x="318" y="540"/>
                  <a:pt x="319" y="541"/>
                </a:cubicBezTo>
                <a:cubicBezTo>
                  <a:pt x="319" y="542"/>
                  <a:pt x="316" y="541"/>
                  <a:pt x="316" y="540"/>
                </a:cubicBezTo>
                <a:close/>
                <a:moveTo>
                  <a:pt x="318" y="161"/>
                </a:moveTo>
                <a:cubicBezTo>
                  <a:pt x="318" y="162"/>
                  <a:pt x="317" y="161"/>
                  <a:pt x="317" y="161"/>
                </a:cubicBezTo>
                <a:cubicBezTo>
                  <a:pt x="315" y="158"/>
                  <a:pt x="320" y="159"/>
                  <a:pt x="318" y="161"/>
                </a:cubicBezTo>
                <a:close/>
                <a:moveTo>
                  <a:pt x="317" y="121"/>
                </a:moveTo>
                <a:cubicBezTo>
                  <a:pt x="319" y="122"/>
                  <a:pt x="316" y="121"/>
                  <a:pt x="317" y="121"/>
                </a:cubicBezTo>
                <a:close/>
                <a:moveTo>
                  <a:pt x="318" y="139"/>
                </a:moveTo>
                <a:cubicBezTo>
                  <a:pt x="319" y="138"/>
                  <a:pt x="320" y="141"/>
                  <a:pt x="319" y="140"/>
                </a:cubicBezTo>
                <a:cubicBezTo>
                  <a:pt x="319" y="140"/>
                  <a:pt x="318" y="140"/>
                  <a:pt x="318" y="139"/>
                </a:cubicBezTo>
                <a:close/>
                <a:moveTo>
                  <a:pt x="318" y="103"/>
                </a:moveTo>
                <a:cubicBezTo>
                  <a:pt x="319" y="103"/>
                  <a:pt x="319" y="104"/>
                  <a:pt x="319" y="104"/>
                </a:cubicBezTo>
                <a:cubicBezTo>
                  <a:pt x="319" y="104"/>
                  <a:pt x="319" y="104"/>
                  <a:pt x="319" y="104"/>
                </a:cubicBezTo>
                <a:cubicBezTo>
                  <a:pt x="319" y="103"/>
                  <a:pt x="318" y="103"/>
                  <a:pt x="318" y="103"/>
                </a:cubicBezTo>
                <a:close/>
                <a:moveTo>
                  <a:pt x="319" y="603"/>
                </a:moveTo>
                <a:cubicBezTo>
                  <a:pt x="320" y="602"/>
                  <a:pt x="321" y="603"/>
                  <a:pt x="321" y="603"/>
                </a:cubicBezTo>
                <a:cubicBezTo>
                  <a:pt x="321" y="605"/>
                  <a:pt x="318" y="603"/>
                  <a:pt x="319" y="603"/>
                </a:cubicBezTo>
                <a:close/>
                <a:moveTo>
                  <a:pt x="322" y="158"/>
                </a:moveTo>
                <a:cubicBezTo>
                  <a:pt x="321" y="159"/>
                  <a:pt x="320" y="157"/>
                  <a:pt x="321" y="157"/>
                </a:cubicBezTo>
                <a:cubicBezTo>
                  <a:pt x="322" y="157"/>
                  <a:pt x="322" y="158"/>
                  <a:pt x="322" y="158"/>
                </a:cubicBezTo>
                <a:close/>
                <a:moveTo>
                  <a:pt x="322" y="131"/>
                </a:moveTo>
                <a:cubicBezTo>
                  <a:pt x="323" y="132"/>
                  <a:pt x="321" y="131"/>
                  <a:pt x="322" y="131"/>
                </a:cubicBezTo>
                <a:close/>
                <a:moveTo>
                  <a:pt x="321" y="762"/>
                </a:moveTo>
                <a:cubicBezTo>
                  <a:pt x="322" y="762"/>
                  <a:pt x="323" y="762"/>
                  <a:pt x="324" y="763"/>
                </a:cubicBezTo>
                <a:cubicBezTo>
                  <a:pt x="325" y="766"/>
                  <a:pt x="316" y="764"/>
                  <a:pt x="321" y="762"/>
                </a:cubicBezTo>
                <a:close/>
                <a:moveTo>
                  <a:pt x="328" y="213"/>
                </a:moveTo>
                <a:cubicBezTo>
                  <a:pt x="328" y="213"/>
                  <a:pt x="327" y="213"/>
                  <a:pt x="327" y="212"/>
                </a:cubicBezTo>
                <a:cubicBezTo>
                  <a:pt x="325" y="210"/>
                  <a:pt x="330" y="211"/>
                  <a:pt x="328" y="213"/>
                </a:cubicBezTo>
                <a:close/>
                <a:moveTo>
                  <a:pt x="326" y="141"/>
                </a:moveTo>
                <a:cubicBezTo>
                  <a:pt x="326" y="141"/>
                  <a:pt x="327" y="142"/>
                  <a:pt x="327" y="142"/>
                </a:cubicBezTo>
                <a:cubicBezTo>
                  <a:pt x="327" y="142"/>
                  <a:pt x="326" y="142"/>
                  <a:pt x="326" y="141"/>
                </a:cubicBezTo>
                <a:close/>
                <a:moveTo>
                  <a:pt x="340" y="128"/>
                </a:moveTo>
                <a:cubicBezTo>
                  <a:pt x="342" y="128"/>
                  <a:pt x="347" y="132"/>
                  <a:pt x="349" y="135"/>
                </a:cubicBezTo>
                <a:cubicBezTo>
                  <a:pt x="349" y="135"/>
                  <a:pt x="351" y="135"/>
                  <a:pt x="350" y="136"/>
                </a:cubicBezTo>
                <a:cubicBezTo>
                  <a:pt x="349" y="137"/>
                  <a:pt x="345" y="134"/>
                  <a:pt x="346" y="135"/>
                </a:cubicBezTo>
                <a:cubicBezTo>
                  <a:pt x="344" y="134"/>
                  <a:pt x="343" y="131"/>
                  <a:pt x="342" y="130"/>
                </a:cubicBezTo>
                <a:cubicBezTo>
                  <a:pt x="338" y="126"/>
                  <a:pt x="333" y="125"/>
                  <a:pt x="330" y="121"/>
                </a:cubicBezTo>
                <a:cubicBezTo>
                  <a:pt x="334" y="121"/>
                  <a:pt x="336" y="126"/>
                  <a:pt x="340" y="128"/>
                </a:cubicBezTo>
                <a:close/>
                <a:moveTo>
                  <a:pt x="331" y="113"/>
                </a:moveTo>
                <a:cubicBezTo>
                  <a:pt x="332" y="112"/>
                  <a:pt x="332" y="114"/>
                  <a:pt x="332" y="114"/>
                </a:cubicBezTo>
                <a:cubicBezTo>
                  <a:pt x="331" y="114"/>
                  <a:pt x="331" y="113"/>
                  <a:pt x="331" y="113"/>
                </a:cubicBezTo>
                <a:close/>
                <a:moveTo>
                  <a:pt x="335" y="82"/>
                </a:moveTo>
                <a:cubicBezTo>
                  <a:pt x="334" y="81"/>
                  <a:pt x="337" y="82"/>
                  <a:pt x="335" y="82"/>
                </a:cubicBezTo>
                <a:close/>
                <a:moveTo>
                  <a:pt x="337" y="101"/>
                </a:moveTo>
                <a:cubicBezTo>
                  <a:pt x="338" y="100"/>
                  <a:pt x="338" y="102"/>
                  <a:pt x="339" y="101"/>
                </a:cubicBezTo>
                <a:cubicBezTo>
                  <a:pt x="339" y="102"/>
                  <a:pt x="337" y="102"/>
                  <a:pt x="337" y="101"/>
                </a:cubicBezTo>
                <a:close/>
                <a:moveTo>
                  <a:pt x="355" y="124"/>
                </a:moveTo>
                <a:cubicBezTo>
                  <a:pt x="354" y="123"/>
                  <a:pt x="352" y="122"/>
                  <a:pt x="351" y="120"/>
                </a:cubicBezTo>
                <a:cubicBezTo>
                  <a:pt x="353" y="121"/>
                  <a:pt x="354" y="122"/>
                  <a:pt x="355" y="124"/>
                </a:cubicBezTo>
                <a:close/>
                <a:moveTo>
                  <a:pt x="353" y="90"/>
                </a:moveTo>
                <a:cubicBezTo>
                  <a:pt x="353" y="90"/>
                  <a:pt x="353" y="90"/>
                  <a:pt x="353" y="90"/>
                </a:cubicBezTo>
                <a:cubicBezTo>
                  <a:pt x="355" y="92"/>
                  <a:pt x="353" y="90"/>
                  <a:pt x="353" y="90"/>
                </a:cubicBezTo>
                <a:close/>
                <a:moveTo>
                  <a:pt x="366" y="123"/>
                </a:moveTo>
                <a:cubicBezTo>
                  <a:pt x="365" y="124"/>
                  <a:pt x="364" y="123"/>
                  <a:pt x="364" y="123"/>
                </a:cubicBezTo>
                <a:cubicBezTo>
                  <a:pt x="361" y="121"/>
                  <a:pt x="367" y="121"/>
                  <a:pt x="366" y="123"/>
                </a:cubicBezTo>
                <a:close/>
                <a:moveTo>
                  <a:pt x="365" y="109"/>
                </a:moveTo>
                <a:cubicBezTo>
                  <a:pt x="365" y="109"/>
                  <a:pt x="365" y="109"/>
                  <a:pt x="365" y="109"/>
                </a:cubicBezTo>
                <a:cubicBezTo>
                  <a:pt x="363" y="108"/>
                  <a:pt x="367" y="109"/>
                  <a:pt x="365" y="109"/>
                </a:cubicBezTo>
                <a:close/>
                <a:moveTo>
                  <a:pt x="364" y="93"/>
                </a:moveTo>
                <a:cubicBezTo>
                  <a:pt x="363" y="94"/>
                  <a:pt x="363" y="93"/>
                  <a:pt x="363" y="93"/>
                </a:cubicBezTo>
                <a:cubicBezTo>
                  <a:pt x="361" y="92"/>
                  <a:pt x="364" y="92"/>
                  <a:pt x="364" y="93"/>
                </a:cubicBezTo>
                <a:close/>
                <a:moveTo>
                  <a:pt x="363" y="131"/>
                </a:moveTo>
                <a:cubicBezTo>
                  <a:pt x="361" y="130"/>
                  <a:pt x="359" y="128"/>
                  <a:pt x="358" y="126"/>
                </a:cubicBezTo>
                <a:cubicBezTo>
                  <a:pt x="360" y="127"/>
                  <a:pt x="361" y="129"/>
                  <a:pt x="363" y="131"/>
                </a:cubicBezTo>
                <a:close/>
                <a:moveTo>
                  <a:pt x="368" y="604"/>
                </a:moveTo>
                <a:cubicBezTo>
                  <a:pt x="365" y="603"/>
                  <a:pt x="367" y="602"/>
                  <a:pt x="368" y="604"/>
                </a:cubicBezTo>
                <a:close/>
                <a:moveTo>
                  <a:pt x="367" y="364"/>
                </a:moveTo>
                <a:cubicBezTo>
                  <a:pt x="369" y="364"/>
                  <a:pt x="370" y="367"/>
                  <a:pt x="371" y="368"/>
                </a:cubicBezTo>
                <a:cubicBezTo>
                  <a:pt x="369" y="368"/>
                  <a:pt x="368" y="365"/>
                  <a:pt x="367" y="364"/>
                </a:cubicBezTo>
                <a:close/>
                <a:moveTo>
                  <a:pt x="367" y="638"/>
                </a:moveTo>
                <a:cubicBezTo>
                  <a:pt x="368" y="637"/>
                  <a:pt x="368" y="639"/>
                  <a:pt x="367" y="638"/>
                </a:cubicBezTo>
                <a:close/>
                <a:moveTo>
                  <a:pt x="373" y="642"/>
                </a:moveTo>
                <a:cubicBezTo>
                  <a:pt x="375" y="643"/>
                  <a:pt x="376" y="644"/>
                  <a:pt x="376" y="646"/>
                </a:cubicBezTo>
                <a:cubicBezTo>
                  <a:pt x="377" y="652"/>
                  <a:pt x="365" y="646"/>
                  <a:pt x="365" y="645"/>
                </a:cubicBezTo>
                <a:cubicBezTo>
                  <a:pt x="365" y="644"/>
                  <a:pt x="372" y="642"/>
                  <a:pt x="373" y="642"/>
                </a:cubicBezTo>
                <a:close/>
                <a:moveTo>
                  <a:pt x="374" y="562"/>
                </a:moveTo>
                <a:cubicBezTo>
                  <a:pt x="375" y="563"/>
                  <a:pt x="372" y="562"/>
                  <a:pt x="373" y="561"/>
                </a:cubicBezTo>
                <a:cubicBezTo>
                  <a:pt x="374" y="561"/>
                  <a:pt x="374" y="562"/>
                  <a:pt x="374" y="562"/>
                </a:cubicBezTo>
                <a:close/>
                <a:moveTo>
                  <a:pt x="374" y="444"/>
                </a:moveTo>
                <a:cubicBezTo>
                  <a:pt x="373" y="445"/>
                  <a:pt x="373" y="442"/>
                  <a:pt x="374" y="444"/>
                </a:cubicBezTo>
                <a:close/>
                <a:moveTo>
                  <a:pt x="372" y="582"/>
                </a:moveTo>
                <a:cubicBezTo>
                  <a:pt x="375" y="582"/>
                  <a:pt x="372" y="584"/>
                  <a:pt x="372" y="582"/>
                </a:cubicBezTo>
                <a:close/>
                <a:moveTo>
                  <a:pt x="371" y="374"/>
                </a:moveTo>
                <a:cubicBezTo>
                  <a:pt x="372" y="373"/>
                  <a:pt x="372" y="375"/>
                  <a:pt x="371" y="374"/>
                </a:cubicBezTo>
                <a:close/>
                <a:moveTo>
                  <a:pt x="365" y="654"/>
                </a:moveTo>
                <a:cubicBezTo>
                  <a:pt x="366" y="652"/>
                  <a:pt x="367" y="655"/>
                  <a:pt x="365" y="654"/>
                </a:cubicBezTo>
                <a:close/>
                <a:moveTo>
                  <a:pt x="366" y="661"/>
                </a:moveTo>
                <a:cubicBezTo>
                  <a:pt x="369" y="661"/>
                  <a:pt x="370" y="659"/>
                  <a:pt x="371" y="661"/>
                </a:cubicBezTo>
                <a:cubicBezTo>
                  <a:pt x="372" y="661"/>
                  <a:pt x="371" y="662"/>
                  <a:pt x="372" y="663"/>
                </a:cubicBezTo>
                <a:cubicBezTo>
                  <a:pt x="375" y="666"/>
                  <a:pt x="386" y="664"/>
                  <a:pt x="386" y="668"/>
                </a:cubicBezTo>
                <a:cubicBezTo>
                  <a:pt x="387" y="671"/>
                  <a:pt x="373" y="665"/>
                  <a:pt x="372" y="664"/>
                </a:cubicBezTo>
                <a:cubicBezTo>
                  <a:pt x="369" y="662"/>
                  <a:pt x="364" y="662"/>
                  <a:pt x="362" y="661"/>
                </a:cubicBezTo>
                <a:cubicBezTo>
                  <a:pt x="362" y="660"/>
                  <a:pt x="361" y="660"/>
                  <a:pt x="361" y="659"/>
                </a:cubicBezTo>
                <a:cubicBezTo>
                  <a:pt x="362" y="657"/>
                  <a:pt x="364" y="661"/>
                  <a:pt x="366" y="661"/>
                </a:cubicBezTo>
                <a:close/>
                <a:moveTo>
                  <a:pt x="377" y="623"/>
                </a:moveTo>
                <a:cubicBezTo>
                  <a:pt x="379" y="623"/>
                  <a:pt x="377" y="625"/>
                  <a:pt x="377" y="623"/>
                </a:cubicBezTo>
                <a:close/>
                <a:moveTo>
                  <a:pt x="385" y="646"/>
                </a:moveTo>
                <a:cubicBezTo>
                  <a:pt x="385" y="645"/>
                  <a:pt x="387" y="645"/>
                  <a:pt x="387" y="646"/>
                </a:cubicBezTo>
                <a:cubicBezTo>
                  <a:pt x="387" y="647"/>
                  <a:pt x="385" y="647"/>
                  <a:pt x="385" y="646"/>
                </a:cubicBezTo>
                <a:close/>
                <a:moveTo>
                  <a:pt x="387" y="661"/>
                </a:moveTo>
                <a:cubicBezTo>
                  <a:pt x="389" y="662"/>
                  <a:pt x="384" y="662"/>
                  <a:pt x="385" y="661"/>
                </a:cubicBezTo>
                <a:cubicBezTo>
                  <a:pt x="385" y="660"/>
                  <a:pt x="387" y="660"/>
                  <a:pt x="387" y="661"/>
                </a:cubicBezTo>
                <a:close/>
                <a:moveTo>
                  <a:pt x="385" y="654"/>
                </a:moveTo>
                <a:cubicBezTo>
                  <a:pt x="388" y="654"/>
                  <a:pt x="385" y="656"/>
                  <a:pt x="385" y="654"/>
                </a:cubicBezTo>
                <a:close/>
                <a:moveTo>
                  <a:pt x="380" y="671"/>
                </a:moveTo>
                <a:cubicBezTo>
                  <a:pt x="382" y="672"/>
                  <a:pt x="380" y="673"/>
                  <a:pt x="380" y="671"/>
                </a:cubicBezTo>
                <a:close/>
                <a:moveTo>
                  <a:pt x="379" y="676"/>
                </a:moveTo>
                <a:cubicBezTo>
                  <a:pt x="379" y="676"/>
                  <a:pt x="380" y="675"/>
                  <a:pt x="380" y="675"/>
                </a:cubicBezTo>
                <a:cubicBezTo>
                  <a:pt x="380" y="676"/>
                  <a:pt x="380" y="677"/>
                  <a:pt x="379" y="676"/>
                </a:cubicBezTo>
                <a:close/>
                <a:moveTo>
                  <a:pt x="378" y="669"/>
                </a:moveTo>
                <a:cubicBezTo>
                  <a:pt x="377" y="669"/>
                  <a:pt x="377" y="666"/>
                  <a:pt x="378" y="668"/>
                </a:cubicBezTo>
                <a:cubicBezTo>
                  <a:pt x="378" y="668"/>
                  <a:pt x="378" y="669"/>
                  <a:pt x="378" y="669"/>
                </a:cubicBezTo>
                <a:close/>
                <a:moveTo>
                  <a:pt x="366" y="677"/>
                </a:moveTo>
                <a:cubicBezTo>
                  <a:pt x="369" y="676"/>
                  <a:pt x="367" y="673"/>
                  <a:pt x="368" y="672"/>
                </a:cubicBezTo>
                <a:cubicBezTo>
                  <a:pt x="370" y="671"/>
                  <a:pt x="373" y="675"/>
                  <a:pt x="372" y="677"/>
                </a:cubicBezTo>
                <a:cubicBezTo>
                  <a:pt x="371" y="678"/>
                  <a:pt x="368" y="676"/>
                  <a:pt x="366" y="677"/>
                </a:cubicBezTo>
                <a:close/>
                <a:moveTo>
                  <a:pt x="369" y="695"/>
                </a:moveTo>
                <a:cubicBezTo>
                  <a:pt x="369" y="694"/>
                  <a:pt x="371" y="694"/>
                  <a:pt x="371" y="695"/>
                </a:cubicBezTo>
                <a:cubicBezTo>
                  <a:pt x="372" y="696"/>
                  <a:pt x="369" y="696"/>
                  <a:pt x="369" y="695"/>
                </a:cubicBezTo>
                <a:close/>
                <a:moveTo>
                  <a:pt x="365" y="733"/>
                </a:moveTo>
                <a:cubicBezTo>
                  <a:pt x="365" y="731"/>
                  <a:pt x="367" y="731"/>
                  <a:pt x="368" y="732"/>
                </a:cubicBezTo>
                <a:cubicBezTo>
                  <a:pt x="369" y="733"/>
                  <a:pt x="365" y="733"/>
                  <a:pt x="365" y="733"/>
                </a:cubicBezTo>
                <a:close/>
                <a:moveTo>
                  <a:pt x="364" y="734"/>
                </a:moveTo>
                <a:cubicBezTo>
                  <a:pt x="365" y="734"/>
                  <a:pt x="366" y="734"/>
                  <a:pt x="366" y="734"/>
                </a:cubicBezTo>
                <a:cubicBezTo>
                  <a:pt x="367" y="736"/>
                  <a:pt x="363" y="735"/>
                  <a:pt x="364" y="734"/>
                </a:cubicBezTo>
                <a:close/>
                <a:moveTo>
                  <a:pt x="363" y="683"/>
                </a:moveTo>
                <a:cubicBezTo>
                  <a:pt x="365" y="682"/>
                  <a:pt x="364" y="684"/>
                  <a:pt x="363" y="683"/>
                </a:cubicBezTo>
                <a:close/>
                <a:moveTo>
                  <a:pt x="361" y="684"/>
                </a:moveTo>
                <a:cubicBezTo>
                  <a:pt x="360" y="685"/>
                  <a:pt x="360" y="682"/>
                  <a:pt x="361" y="684"/>
                </a:cubicBezTo>
                <a:close/>
                <a:moveTo>
                  <a:pt x="360" y="465"/>
                </a:moveTo>
                <a:cubicBezTo>
                  <a:pt x="360" y="465"/>
                  <a:pt x="361" y="466"/>
                  <a:pt x="361" y="466"/>
                </a:cubicBezTo>
                <a:cubicBezTo>
                  <a:pt x="362" y="468"/>
                  <a:pt x="358" y="466"/>
                  <a:pt x="360" y="465"/>
                </a:cubicBezTo>
                <a:close/>
                <a:moveTo>
                  <a:pt x="361" y="695"/>
                </a:moveTo>
                <a:cubicBezTo>
                  <a:pt x="360" y="696"/>
                  <a:pt x="361" y="694"/>
                  <a:pt x="361" y="695"/>
                </a:cubicBezTo>
                <a:close/>
                <a:moveTo>
                  <a:pt x="364" y="650"/>
                </a:moveTo>
                <a:cubicBezTo>
                  <a:pt x="365" y="652"/>
                  <a:pt x="361" y="651"/>
                  <a:pt x="362" y="649"/>
                </a:cubicBezTo>
                <a:cubicBezTo>
                  <a:pt x="363" y="649"/>
                  <a:pt x="364" y="650"/>
                  <a:pt x="364" y="650"/>
                </a:cubicBezTo>
                <a:close/>
                <a:moveTo>
                  <a:pt x="365" y="376"/>
                </a:moveTo>
                <a:cubicBezTo>
                  <a:pt x="363" y="376"/>
                  <a:pt x="364" y="373"/>
                  <a:pt x="365" y="376"/>
                </a:cubicBezTo>
                <a:close/>
                <a:moveTo>
                  <a:pt x="361" y="355"/>
                </a:moveTo>
                <a:cubicBezTo>
                  <a:pt x="362" y="354"/>
                  <a:pt x="363" y="356"/>
                  <a:pt x="363" y="357"/>
                </a:cubicBezTo>
                <a:cubicBezTo>
                  <a:pt x="362" y="356"/>
                  <a:pt x="362" y="356"/>
                  <a:pt x="361" y="355"/>
                </a:cubicBezTo>
                <a:close/>
                <a:moveTo>
                  <a:pt x="356" y="702"/>
                </a:moveTo>
                <a:cubicBezTo>
                  <a:pt x="359" y="702"/>
                  <a:pt x="356" y="704"/>
                  <a:pt x="356" y="702"/>
                </a:cubicBezTo>
                <a:close/>
                <a:moveTo>
                  <a:pt x="356" y="683"/>
                </a:moveTo>
                <a:cubicBezTo>
                  <a:pt x="356" y="682"/>
                  <a:pt x="357" y="683"/>
                  <a:pt x="357" y="683"/>
                </a:cubicBezTo>
                <a:cubicBezTo>
                  <a:pt x="358" y="684"/>
                  <a:pt x="355" y="683"/>
                  <a:pt x="356" y="683"/>
                </a:cubicBezTo>
                <a:close/>
                <a:moveTo>
                  <a:pt x="359" y="708"/>
                </a:moveTo>
                <a:cubicBezTo>
                  <a:pt x="360" y="710"/>
                  <a:pt x="356" y="709"/>
                  <a:pt x="356" y="708"/>
                </a:cubicBezTo>
                <a:cubicBezTo>
                  <a:pt x="356" y="707"/>
                  <a:pt x="359" y="707"/>
                  <a:pt x="359" y="708"/>
                </a:cubicBezTo>
                <a:close/>
                <a:moveTo>
                  <a:pt x="358" y="153"/>
                </a:moveTo>
                <a:cubicBezTo>
                  <a:pt x="356" y="152"/>
                  <a:pt x="359" y="153"/>
                  <a:pt x="358" y="153"/>
                </a:cubicBezTo>
                <a:close/>
                <a:moveTo>
                  <a:pt x="358" y="538"/>
                </a:moveTo>
                <a:cubicBezTo>
                  <a:pt x="358" y="539"/>
                  <a:pt x="357" y="539"/>
                  <a:pt x="357" y="539"/>
                </a:cubicBezTo>
                <a:cubicBezTo>
                  <a:pt x="356" y="538"/>
                  <a:pt x="357" y="537"/>
                  <a:pt x="358" y="538"/>
                </a:cubicBezTo>
                <a:close/>
                <a:moveTo>
                  <a:pt x="359" y="673"/>
                </a:moveTo>
                <a:cubicBezTo>
                  <a:pt x="360" y="674"/>
                  <a:pt x="356" y="674"/>
                  <a:pt x="356" y="673"/>
                </a:cubicBezTo>
                <a:cubicBezTo>
                  <a:pt x="357" y="673"/>
                  <a:pt x="358" y="672"/>
                  <a:pt x="359" y="673"/>
                </a:cubicBezTo>
                <a:close/>
                <a:moveTo>
                  <a:pt x="359" y="678"/>
                </a:moveTo>
                <a:cubicBezTo>
                  <a:pt x="359" y="678"/>
                  <a:pt x="356" y="681"/>
                  <a:pt x="355" y="681"/>
                </a:cubicBezTo>
                <a:cubicBezTo>
                  <a:pt x="354" y="682"/>
                  <a:pt x="349" y="681"/>
                  <a:pt x="349" y="680"/>
                </a:cubicBezTo>
                <a:cubicBezTo>
                  <a:pt x="348" y="680"/>
                  <a:pt x="348" y="677"/>
                  <a:pt x="348" y="675"/>
                </a:cubicBezTo>
                <a:cubicBezTo>
                  <a:pt x="349" y="674"/>
                  <a:pt x="352" y="674"/>
                  <a:pt x="355" y="675"/>
                </a:cubicBezTo>
                <a:cubicBezTo>
                  <a:pt x="356" y="675"/>
                  <a:pt x="359" y="677"/>
                  <a:pt x="359" y="678"/>
                </a:cubicBezTo>
                <a:close/>
                <a:moveTo>
                  <a:pt x="354" y="738"/>
                </a:moveTo>
                <a:cubicBezTo>
                  <a:pt x="355" y="738"/>
                  <a:pt x="356" y="738"/>
                  <a:pt x="356" y="739"/>
                </a:cubicBezTo>
                <a:cubicBezTo>
                  <a:pt x="357" y="741"/>
                  <a:pt x="353" y="739"/>
                  <a:pt x="354" y="738"/>
                </a:cubicBezTo>
                <a:close/>
                <a:moveTo>
                  <a:pt x="354" y="757"/>
                </a:moveTo>
                <a:cubicBezTo>
                  <a:pt x="354" y="757"/>
                  <a:pt x="356" y="757"/>
                  <a:pt x="356" y="757"/>
                </a:cubicBezTo>
                <a:cubicBezTo>
                  <a:pt x="357" y="759"/>
                  <a:pt x="353" y="759"/>
                  <a:pt x="354" y="757"/>
                </a:cubicBezTo>
                <a:close/>
                <a:moveTo>
                  <a:pt x="349" y="683"/>
                </a:moveTo>
                <a:cubicBezTo>
                  <a:pt x="350" y="681"/>
                  <a:pt x="354" y="683"/>
                  <a:pt x="354" y="685"/>
                </a:cubicBezTo>
                <a:cubicBezTo>
                  <a:pt x="355" y="688"/>
                  <a:pt x="347" y="685"/>
                  <a:pt x="349" y="683"/>
                </a:cubicBezTo>
                <a:close/>
                <a:moveTo>
                  <a:pt x="348" y="704"/>
                </a:moveTo>
                <a:cubicBezTo>
                  <a:pt x="350" y="703"/>
                  <a:pt x="349" y="705"/>
                  <a:pt x="348" y="704"/>
                </a:cubicBezTo>
                <a:close/>
                <a:moveTo>
                  <a:pt x="352" y="646"/>
                </a:moveTo>
                <a:cubicBezTo>
                  <a:pt x="355" y="644"/>
                  <a:pt x="355" y="648"/>
                  <a:pt x="352" y="646"/>
                </a:cubicBezTo>
                <a:close/>
                <a:moveTo>
                  <a:pt x="354" y="388"/>
                </a:moveTo>
                <a:cubicBezTo>
                  <a:pt x="354" y="388"/>
                  <a:pt x="355" y="389"/>
                  <a:pt x="355" y="389"/>
                </a:cubicBezTo>
                <a:cubicBezTo>
                  <a:pt x="355" y="390"/>
                  <a:pt x="354" y="389"/>
                  <a:pt x="354" y="388"/>
                </a:cubicBezTo>
                <a:close/>
                <a:moveTo>
                  <a:pt x="354" y="626"/>
                </a:moveTo>
                <a:cubicBezTo>
                  <a:pt x="354" y="629"/>
                  <a:pt x="352" y="631"/>
                  <a:pt x="350" y="630"/>
                </a:cubicBezTo>
                <a:cubicBezTo>
                  <a:pt x="350" y="630"/>
                  <a:pt x="349" y="629"/>
                  <a:pt x="349" y="629"/>
                </a:cubicBezTo>
                <a:cubicBezTo>
                  <a:pt x="348" y="630"/>
                  <a:pt x="348" y="632"/>
                  <a:pt x="346" y="632"/>
                </a:cubicBezTo>
                <a:cubicBezTo>
                  <a:pt x="343" y="632"/>
                  <a:pt x="342" y="629"/>
                  <a:pt x="341" y="626"/>
                </a:cubicBezTo>
                <a:cubicBezTo>
                  <a:pt x="341" y="626"/>
                  <a:pt x="340" y="625"/>
                  <a:pt x="339" y="624"/>
                </a:cubicBezTo>
                <a:cubicBezTo>
                  <a:pt x="340" y="625"/>
                  <a:pt x="339" y="621"/>
                  <a:pt x="340" y="621"/>
                </a:cubicBezTo>
                <a:cubicBezTo>
                  <a:pt x="340" y="621"/>
                  <a:pt x="341" y="621"/>
                  <a:pt x="341" y="621"/>
                </a:cubicBezTo>
                <a:cubicBezTo>
                  <a:pt x="342" y="621"/>
                  <a:pt x="341" y="619"/>
                  <a:pt x="342" y="619"/>
                </a:cubicBezTo>
                <a:cubicBezTo>
                  <a:pt x="348" y="618"/>
                  <a:pt x="354" y="623"/>
                  <a:pt x="354" y="626"/>
                </a:cubicBezTo>
                <a:close/>
                <a:moveTo>
                  <a:pt x="346" y="657"/>
                </a:moveTo>
                <a:cubicBezTo>
                  <a:pt x="347" y="656"/>
                  <a:pt x="348" y="658"/>
                  <a:pt x="346" y="657"/>
                </a:cubicBezTo>
                <a:close/>
                <a:moveTo>
                  <a:pt x="341" y="652"/>
                </a:moveTo>
                <a:cubicBezTo>
                  <a:pt x="342" y="652"/>
                  <a:pt x="344" y="653"/>
                  <a:pt x="344" y="653"/>
                </a:cubicBezTo>
                <a:cubicBezTo>
                  <a:pt x="344" y="655"/>
                  <a:pt x="340" y="654"/>
                  <a:pt x="341" y="652"/>
                </a:cubicBezTo>
                <a:close/>
                <a:moveTo>
                  <a:pt x="332" y="599"/>
                </a:moveTo>
                <a:cubicBezTo>
                  <a:pt x="331" y="600"/>
                  <a:pt x="329" y="598"/>
                  <a:pt x="328" y="598"/>
                </a:cubicBezTo>
                <a:cubicBezTo>
                  <a:pt x="330" y="597"/>
                  <a:pt x="331" y="599"/>
                  <a:pt x="332" y="599"/>
                </a:cubicBezTo>
                <a:close/>
                <a:moveTo>
                  <a:pt x="328" y="470"/>
                </a:moveTo>
                <a:cubicBezTo>
                  <a:pt x="328" y="470"/>
                  <a:pt x="329" y="470"/>
                  <a:pt x="329" y="471"/>
                </a:cubicBezTo>
                <a:cubicBezTo>
                  <a:pt x="330" y="473"/>
                  <a:pt x="326" y="471"/>
                  <a:pt x="328" y="470"/>
                </a:cubicBezTo>
                <a:close/>
                <a:moveTo>
                  <a:pt x="331" y="572"/>
                </a:moveTo>
                <a:cubicBezTo>
                  <a:pt x="331" y="573"/>
                  <a:pt x="331" y="573"/>
                  <a:pt x="331" y="573"/>
                </a:cubicBezTo>
                <a:cubicBezTo>
                  <a:pt x="331" y="573"/>
                  <a:pt x="331" y="573"/>
                  <a:pt x="331" y="573"/>
                </a:cubicBezTo>
                <a:cubicBezTo>
                  <a:pt x="331" y="572"/>
                  <a:pt x="331" y="572"/>
                  <a:pt x="331" y="572"/>
                </a:cubicBezTo>
                <a:close/>
                <a:moveTo>
                  <a:pt x="334" y="652"/>
                </a:moveTo>
                <a:cubicBezTo>
                  <a:pt x="335" y="654"/>
                  <a:pt x="331" y="654"/>
                  <a:pt x="331" y="652"/>
                </a:cubicBezTo>
                <a:cubicBezTo>
                  <a:pt x="332" y="651"/>
                  <a:pt x="333" y="652"/>
                  <a:pt x="334" y="652"/>
                </a:cubicBezTo>
                <a:close/>
                <a:moveTo>
                  <a:pt x="334" y="375"/>
                </a:moveTo>
                <a:cubicBezTo>
                  <a:pt x="333" y="374"/>
                  <a:pt x="334" y="377"/>
                  <a:pt x="334" y="375"/>
                </a:cubicBezTo>
                <a:close/>
                <a:moveTo>
                  <a:pt x="331" y="609"/>
                </a:moveTo>
                <a:cubicBezTo>
                  <a:pt x="332" y="609"/>
                  <a:pt x="332" y="611"/>
                  <a:pt x="331" y="609"/>
                </a:cubicBezTo>
                <a:close/>
                <a:moveTo>
                  <a:pt x="331" y="720"/>
                </a:moveTo>
                <a:cubicBezTo>
                  <a:pt x="336" y="719"/>
                  <a:pt x="336" y="723"/>
                  <a:pt x="331" y="720"/>
                </a:cubicBezTo>
                <a:close/>
                <a:moveTo>
                  <a:pt x="332" y="660"/>
                </a:moveTo>
                <a:cubicBezTo>
                  <a:pt x="333" y="659"/>
                  <a:pt x="335" y="661"/>
                  <a:pt x="337" y="662"/>
                </a:cubicBezTo>
                <a:cubicBezTo>
                  <a:pt x="335" y="663"/>
                  <a:pt x="333" y="661"/>
                  <a:pt x="332" y="660"/>
                </a:cubicBezTo>
                <a:close/>
                <a:moveTo>
                  <a:pt x="334" y="653"/>
                </a:moveTo>
                <a:cubicBezTo>
                  <a:pt x="334" y="651"/>
                  <a:pt x="339" y="651"/>
                  <a:pt x="339" y="653"/>
                </a:cubicBezTo>
                <a:cubicBezTo>
                  <a:pt x="340" y="657"/>
                  <a:pt x="334" y="655"/>
                  <a:pt x="334" y="653"/>
                </a:cubicBezTo>
                <a:close/>
                <a:moveTo>
                  <a:pt x="337" y="184"/>
                </a:moveTo>
                <a:cubicBezTo>
                  <a:pt x="338" y="185"/>
                  <a:pt x="336" y="183"/>
                  <a:pt x="337" y="184"/>
                </a:cubicBezTo>
                <a:close/>
                <a:moveTo>
                  <a:pt x="338" y="594"/>
                </a:moveTo>
                <a:cubicBezTo>
                  <a:pt x="339" y="594"/>
                  <a:pt x="337" y="594"/>
                  <a:pt x="337" y="594"/>
                </a:cubicBezTo>
                <a:cubicBezTo>
                  <a:pt x="337" y="593"/>
                  <a:pt x="338" y="593"/>
                  <a:pt x="338" y="594"/>
                </a:cubicBezTo>
                <a:close/>
                <a:moveTo>
                  <a:pt x="337" y="603"/>
                </a:moveTo>
                <a:cubicBezTo>
                  <a:pt x="338" y="605"/>
                  <a:pt x="334" y="603"/>
                  <a:pt x="335" y="602"/>
                </a:cubicBezTo>
                <a:cubicBezTo>
                  <a:pt x="336" y="601"/>
                  <a:pt x="337" y="602"/>
                  <a:pt x="337" y="603"/>
                </a:cubicBezTo>
                <a:close/>
                <a:moveTo>
                  <a:pt x="342" y="350"/>
                </a:moveTo>
                <a:cubicBezTo>
                  <a:pt x="343" y="353"/>
                  <a:pt x="337" y="349"/>
                  <a:pt x="339" y="348"/>
                </a:cubicBezTo>
                <a:cubicBezTo>
                  <a:pt x="340" y="347"/>
                  <a:pt x="342" y="350"/>
                  <a:pt x="342" y="350"/>
                </a:cubicBezTo>
                <a:close/>
                <a:moveTo>
                  <a:pt x="339" y="147"/>
                </a:moveTo>
                <a:cubicBezTo>
                  <a:pt x="340" y="146"/>
                  <a:pt x="343" y="150"/>
                  <a:pt x="340" y="149"/>
                </a:cubicBezTo>
                <a:cubicBezTo>
                  <a:pt x="340" y="148"/>
                  <a:pt x="339" y="148"/>
                  <a:pt x="339" y="147"/>
                </a:cubicBezTo>
                <a:close/>
                <a:moveTo>
                  <a:pt x="340" y="607"/>
                </a:moveTo>
                <a:cubicBezTo>
                  <a:pt x="343" y="607"/>
                  <a:pt x="340" y="609"/>
                  <a:pt x="340" y="607"/>
                </a:cubicBezTo>
                <a:close/>
                <a:moveTo>
                  <a:pt x="339" y="475"/>
                </a:moveTo>
                <a:cubicBezTo>
                  <a:pt x="340" y="474"/>
                  <a:pt x="341" y="475"/>
                  <a:pt x="341" y="475"/>
                </a:cubicBezTo>
                <a:cubicBezTo>
                  <a:pt x="342" y="477"/>
                  <a:pt x="339" y="476"/>
                  <a:pt x="339" y="475"/>
                </a:cubicBezTo>
                <a:close/>
                <a:moveTo>
                  <a:pt x="339" y="735"/>
                </a:moveTo>
                <a:cubicBezTo>
                  <a:pt x="340" y="735"/>
                  <a:pt x="340" y="736"/>
                  <a:pt x="339" y="735"/>
                </a:cubicBezTo>
                <a:cubicBezTo>
                  <a:pt x="339" y="735"/>
                  <a:pt x="339" y="735"/>
                  <a:pt x="339" y="735"/>
                </a:cubicBezTo>
                <a:close/>
                <a:moveTo>
                  <a:pt x="344" y="348"/>
                </a:moveTo>
                <a:cubicBezTo>
                  <a:pt x="344" y="348"/>
                  <a:pt x="343" y="346"/>
                  <a:pt x="344" y="347"/>
                </a:cubicBezTo>
                <a:cubicBezTo>
                  <a:pt x="344" y="347"/>
                  <a:pt x="345" y="348"/>
                  <a:pt x="344" y="348"/>
                </a:cubicBezTo>
                <a:close/>
                <a:moveTo>
                  <a:pt x="346" y="610"/>
                </a:moveTo>
                <a:cubicBezTo>
                  <a:pt x="345" y="612"/>
                  <a:pt x="344" y="609"/>
                  <a:pt x="342" y="609"/>
                </a:cubicBezTo>
                <a:cubicBezTo>
                  <a:pt x="344" y="608"/>
                  <a:pt x="345" y="610"/>
                  <a:pt x="346" y="610"/>
                </a:cubicBezTo>
                <a:close/>
                <a:moveTo>
                  <a:pt x="344" y="176"/>
                </a:moveTo>
                <a:cubicBezTo>
                  <a:pt x="343" y="176"/>
                  <a:pt x="343" y="176"/>
                  <a:pt x="342" y="175"/>
                </a:cubicBezTo>
                <a:cubicBezTo>
                  <a:pt x="341" y="174"/>
                  <a:pt x="344" y="174"/>
                  <a:pt x="344" y="176"/>
                </a:cubicBezTo>
                <a:close/>
                <a:moveTo>
                  <a:pt x="347" y="192"/>
                </a:moveTo>
                <a:cubicBezTo>
                  <a:pt x="347" y="192"/>
                  <a:pt x="347" y="192"/>
                  <a:pt x="347" y="192"/>
                </a:cubicBezTo>
                <a:cubicBezTo>
                  <a:pt x="347" y="192"/>
                  <a:pt x="347" y="192"/>
                  <a:pt x="347" y="192"/>
                </a:cubicBezTo>
                <a:close/>
                <a:moveTo>
                  <a:pt x="348" y="594"/>
                </a:moveTo>
                <a:cubicBezTo>
                  <a:pt x="348" y="593"/>
                  <a:pt x="349" y="594"/>
                  <a:pt x="349" y="594"/>
                </a:cubicBezTo>
                <a:cubicBezTo>
                  <a:pt x="350" y="596"/>
                  <a:pt x="347" y="595"/>
                  <a:pt x="348" y="594"/>
                </a:cubicBezTo>
                <a:close/>
                <a:moveTo>
                  <a:pt x="348" y="564"/>
                </a:moveTo>
                <a:cubicBezTo>
                  <a:pt x="349" y="563"/>
                  <a:pt x="351" y="564"/>
                  <a:pt x="351" y="565"/>
                </a:cubicBezTo>
                <a:cubicBezTo>
                  <a:pt x="352" y="569"/>
                  <a:pt x="347" y="566"/>
                  <a:pt x="348" y="564"/>
                </a:cubicBezTo>
                <a:close/>
                <a:moveTo>
                  <a:pt x="349" y="471"/>
                </a:moveTo>
                <a:cubicBezTo>
                  <a:pt x="350" y="472"/>
                  <a:pt x="349" y="470"/>
                  <a:pt x="349" y="471"/>
                </a:cubicBezTo>
                <a:close/>
                <a:moveTo>
                  <a:pt x="348" y="85"/>
                </a:moveTo>
                <a:cubicBezTo>
                  <a:pt x="349" y="85"/>
                  <a:pt x="350" y="87"/>
                  <a:pt x="351" y="87"/>
                </a:cubicBezTo>
                <a:cubicBezTo>
                  <a:pt x="350" y="87"/>
                  <a:pt x="349" y="86"/>
                  <a:pt x="348" y="85"/>
                </a:cubicBezTo>
                <a:close/>
                <a:moveTo>
                  <a:pt x="330" y="414"/>
                </a:moveTo>
                <a:cubicBezTo>
                  <a:pt x="331" y="414"/>
                  <a:pt x="331" y="415"/>
                  <a:pt x="330" y="416"/>
                </a:cubicBezTo>
                <a:cubicBezTo>
                  <a:pt x="325" y="416"/>
                  <a:pt x="329" y="409"/>
                  <a:pt x="330" y="414"/>
                </a:cubicBezTo>
                <a:close/>
                <a:moveTo>
                  <a:pt x="328" y="177"/>
                </a:moveTo>
                <a:cubicBezTo>
                  <a:pt x="328" y="176"/>
                  <a:pt x="329" y="178"/>
                  <a:pt x="328" y="177"/>
                </a:cubicBezTo>
                <a:close/>
                <a:moveTo>
                  <a:pt x="328" y="658"/>
                </a:moveTo>
                <a:cubicBezTo>
                  <a:pt x="327" y="658"/>
                  <a:pt x="326" y="657"/>
                  <a:pt x="326" y="657"/>
                </a:cubicBezTo>
                <a:cubicBezTo>
                  <a:pt x="327" y="657"/>
                  <a:pt x="327" y="657"/>
                  <a:pt x="328" y="658"/>
                </a:cubicBezTo>
                <a:close/>
                <a:moveTo>
                  <a:pt x="326" y="743"/>
                </a:moveTo>
                <a:cubicBezTo>
                  <a:pt x="325" y="744"/>
                  <a:pt x="324" y="742"/>
                  <a:pt x="326" y="743"/>
                </a:cubicBezTo>
                <a:close/>
                <a:moveTo>
                  <a:pt x="325" y="755"/>
                </a:moveTo>
                <a:cubicBezTo>
                  <a:pt x="325" y="755"/>
                  <a:pt x="326" y="755"/>
                  <a:pt x="326" y="756"/>
                </a:cubicBezTo>
                <a:cubicBezTo>
                  <a:pt x="326" y="758"/>
                  <a:pt x="324" y="753"/>
                  <a:pt x="325" y="755"/>
                </a:cubicBezTo>
                <a:close/>
                <a:moveTo>
                  <a:pt x="325" y="738"/>
                </a:moveTo>
                <a:cubicBezTo>
                  <a:pt x="325" y="737"/>
                  <a:pt x="327" y="737"/>
                  <a:pt x="327" y="738"/>
                </a:cubicBezTo>
                <a:cubicBezTo>
                  <a:pt x="328" y="739"/>
                  <a:pt x="326" y="738"/>
                  <a:pt x="325" y="738"/>
                </a:cubicBezTo>
                <a:close/>
                <a:moveTo>
                  <a:pt x="325" y="124"/>
                </a:moveTo>
                <a:cubicBezTo>
                  <a:pt x="325" y="124"/>
                  <a:pt x="325" y="124"/>
                  <a:pt x="325" y="124"/>
                </a:cubicBezTo>
                <a:cubicBezTo>
                  <a:pt x="323" y="123"/>
                  <a:pt x="328" y="123"/>
                  <a:pt x="325" y="124"/>
                </a:cubicBezTo>
                <a:close/>
                <a:moveTo>
                  <a:pt x="326" y="382"/>
                </a:moveTo>
                <a:cubicBezTo>
                  <a:pt x="326" y="383"/>
                  <a:pt x="325" y="381"/>
                  <a:pt x="326" y="382"/>
                </a:cubicBezTo>
                <a:close/>
                <a:moveTo>
                  <a:pt x="326" y="596"/>
                </a:moveTo>
                <a:cubicBezTo>
                  <a:pt x="327" y="597"/>
                  <a:pt x="323" y="595"/>
                  <a:pt x="324" y="595"/>
                </a:cubicBezTo>
                <a:cubicBezTo>
                  <a:pt x="325" y="594"/>
                  <a:pt x="326" y="596"/>
                  <a:pt x="326" y="596"/>
                </a:cubicBezTo>
                <a:close/>
                <a:moveTo>
                  <a:pt x="326" y="759"/>
                </a:moveTo>
                <a:cubicBezTo>
                  <a:pt x="327" y="760"/>
                  <a:pt x="323" y="760"/>
                  <a:pt x="324" y="758"/>
                </a:cubicBezTo>
                <a:cubicBezTo>
                  <a:pt x="324" y="758"/>
                  <a:pt x="326" y="758"/>
                  <a:pt x="326" y="759"/>
                </a:cubicBezTo>
                <a:close/>
                <a:moveTo>
                  <a:pt x="321" y="769"/>
                </a:moveTo>
                <a:cubicBezTo>
                  <a:pt x="321" y="768"/>
                  <a:pt x="323" y="769"/>
                  <a:pt x="323" y="769"/>
                </a:cubicBezTo>
                <a:cubicBezTo>
                  <a:pt x="323" y="770"/>
                  <a:pt x="322" y="769"/>
                  <a:pt x="321" y="769"/>
                </a:cubicBezTo>
                <a:close/>
                <a:moveTo>
                  <a:pt x="323" y="770"/>
                </a:moveTo>
                <a:cubicBezTo>
                  <a:pt x="324" y="768"/>
                  <a:pt x="330" y="767"/>
                  <a:pt x="330" y="770"/>
                </a:cubicBezTo>
                <a:cubicBezTo>
                  <a:pt x="330" y="773"/>
                  <a:pt x="323" y="772"/>
                  <a:pt x="323" y="770"/>
                </a:cubicBezTo>
                <a:close/>
                <a:moveTo>
                  <a:pt x="336" y="777"/>
                </a:moveTo>
                <a:cubicBezTo>
                  <a:pt x="337" y="778"/>
                  <a:pt x="335" y="776"/>
                  <a:pt x="336" y="777"/>
                </a:cubicBezTo>
                <a:close/>
                <a:moveTo>
                  <a:pt x="326" y="757"/>
                </a:moveTo>
                <a:cubicBezTo>
                  <a:pt x="327" y="757"/>
                  <a:pt x="326" y="754"/>
                  <a:pt x="326" y="755"/>
                </a:cubicBezTo>
                <a:cubicBezTo>
                  <a:pt x="326" y="753"/>
                  <a:pt x="333" y="752"/>
                  <a:pt x="335" y="754"/>
                </a:cubicBezTo>
                <a:cubicBezTo>
                  <a:pt x="335" y="754"/>
                  <a:pt x="336" y="757"/>
                  <a:pt x="337" y="757"/>
                </a:cubicBezTo>
                <a:cubicBezTo>
                  <a:pt x="336" y="758"/>
                  <a:pt x="328" y="759"/>
                  <a:pt x="326" y="757"/>
                </a:cubicBezTo>
                <a:close/>
                <a:moveTo>
                  <a:pt x="335" y="748"/>
                </a:moveTo>
                <a:cubicBezTo>
                  <a:pt x="335" y="747"/>
                  <a:pt x="337" y="747"/>
                  <a:pt x="337" y="748"/>
                </a:cubicBezTo>
                <a:cubicBezTo>
                  <a:pt x="338" y="749"/>
                  <a:pt x="336" y="749"/>
                  <a:pt x="335" y="748"/>
                </a:cubicBezTo>
                <a:close/>
                <a:moveTo>
                  <a:pt x="328" y="744"/>
                </a:moveTo>
                <a:cubicBezTo>
                  <a:pt x="328" y="743"/>
                  <a:pt x="329" y="742"/>
                  <a:pt x="329" y="741"/>
                </a:cubicBezTo>
                <a:cubicBezTo>
                  <a:pt x="329" y="742"/>
                  <a:pt x="332" y="740"/>
                  <a:pt x="332" y="740"/>
                </a:cubicBezTo>
                <a:cubicBezTo>
                  <a:pt x="334" y="740"/>
                  <a:pt x="339" y="741"/>
                  <a:pt x="337" y="745"/>
                </a:cubicBezTo>
                <a:cubicBezTo>
                  <a:pt x="336" y="748"/>
                  <a:pt x="329" y="746"/>
                  <a:pt x="328" y="744"/>
                </a:cubicBezTo>
                <a:close/>
                <a:moveTo>
                  <a:pt x="339" y="774"/>
                </a:moveTo>
                <a:cubicBezTo>
                  <a:pt x="339" y="773"/>
                  <a:pt x="337" y="773"/>
                  <a:pt x="337" y="772"/>
                </a:cubicBezTo>
                <a:cubicBezTo>
                  <a:pt x="338" y="770"/>
                  <a:pt x="344" y="770"/>
                  <a:pt x="344" y="772"/>
                </a:cubicBezTo>
                <a:cubicBezTo>
                  <a:pt x="345" y="775"/>
                  <a:pt x="339" y="775"/>
                  <a:pt x="339" y="774"/>
                </a:cubicBezTo>
                <a:close/>
                <a:moveTo>
                  <a:pt x="353" y="716"/>
                </a:moveTo>
                <a:cubicBezTo>
                  <a:pt x="351" y="716"/>
                  <a:pt x="346" y="715"/>
                  <a:pt x="345" y="713"/>
                </a:cubicBezTo>
                <a:cubicBezTo>
                  <a:pt x="348" y="714"/>
                  <a:pt x="350" y="715"/>
                  <a:pt x="353" y="716"/>
                </a:cubicBezTo>
                <a:close/>
                <a:moveTo>
                  <a:pt x="345" y="744"/>
                </a:moveTo>
                <a:cubicBezTo>
                  <a:pt x="345" y="743"/>
                  <a:pt x="348" y="743"/>
                  <a:pt x="348" y="744"/>
                </a:cubicBezTo>
                <a:cubicBezTo>
                  <a:pt x="349" y="745"/>
                  <a:pt x="345" y="744"/>
                  <a:pt x="345" y="744"/>
                </a:cubicBezTo>
                <a:close/>
                <a:moveTo>
                  <a:pt x="345" y="734"/>
                </a:moveTo>
                <a:cubicBezTo>
                  <a:pt x="346" y="733"/>
                  <a:pt x="349" y="733"/>
                  <a:pt x="349" y="735"/>
                </a:cubicBezTo>
                <a:cubicBezTo>
                  <a:pt x="350" y="737"/>
                  <a:pt x="345" y="735"/>
                  <a:pt x="345" y="734"/>
                </a:cubicBezTo>
                <a:close/>
                <a:moveTo>
                  <a:pt x="349" y="764"/>
                </a:moveTo>
                <a:cubicBezTo>
                  <a:pt x="349" y="763"/>
                  <a:pt x="350" y="763"/>
                  <a:pt x="350" y="764"/>
                </a:cubicBezTo>
                <a:cubicBezTo>
                  <a:pt x="351" y="764"/>
                  <a:pt x="349" y="765"/>
                  <a:pt x="349" y="764"/>
                </a:cubicBezTo>
                <a:close/>
                <a:moveTo>
                  <a:pt x="350" y="725"/>
                </a:moveTo>
                <a:cubicBezTo>
                  <a:pt x="350" y="724"/>
                  <a:pt x="353" y="724"/>
                  <a:pt x="354" y="725"/>
                </a:cubicBezTo>
                <a:cubicBezTo>
                  <a:pt x="355" y="727"/>
                  <a:pt x="350" y="727"/>
                  <a:pt x="350" y="725"/>
                </a:cubicBezTo>
                <a:close/>
                <a:moveTo>
                  <a:pt x="353" y="770"/>
                </a:moveTo>
                <a:cubicBezTo>
                  <a:pt x="353" y="769"/>
                  <a:pt x="358" y="767"/>
                  <a:pt x="359" y="769"/>
                </a:cubicBezTo>
                <a:cubicBezTo>
                  <a:pt x="359" y="772"/>
                  <a:pt x="354" y="771"/>
                  <a:pt x="353" y="770"/>
                </a:cubicBezTo>
                <a:close/>
                <a:moveTo>
                  <a:pt x="359" y="772"/>
                </a:moveTo>
                <a:cubicBezTo>
                  <a:pt x="359" y="772"/>
                  <a:pt x="359" y="771"/>
                  <a:pt x="360" y="771"/>
                </a:cubicBezTo>
                <a:cubicBezTo>
                  <a:pt x="360" y="771"/>
                  <a:pt x="359" y="772"/>
                  <a:pt x="359" y="772"/>
                </a:cubicBezTo>
                <a:close/>
                <a:moveTo>
                  <a:pt x="360" y="723"/>
                </a:moveTo>
                <a:cubicBezTo>
                  <a:pt x="360" y="723"/>
                  <a:pt x="360" y="723"/>
                  <a:pt x="360" y="723"/>
                </a:cubicBezTo>
                <a:cubicBezTo>
                  <a:pt x="360" y="723"/>
                  <a:pt x="359" y="722"/>
                  <a:pt x="360" y="723"/>
                </a:cubicBezTo>
                <a:close/>
                <a:moveTo>
                  <a:pt x="361" y="721"/>
                </a:moveTo>
                <a:cubicBezTo>
                  <a:pt x="363" y="719"/>
                  <a:pt x="365" y="722"/>
                  <a:pt x="361" y="721"/>
                </a:cubicBezTo>
                <a:close/>
                <a:moveTo>
                  <a:pt x="356" y="717"/>
                </a:moveTo>
                <a:cubicBezTo>
                  <a:pt x="358" y="718"/>
                  <a:pt x="362" y="717"/>
                  <a:pt x="364" y="719"/>
                </a:cubicBezTo>
                <a:cubicBezTo>
                  <a:pt x="367" y="721"/>
                  <a:pt x="356" y="719"/>
                  <a:pt x="356" y="717"/>
                </a:cubicBezTo>
                <a:close/>
                <a:moveTo>
                  <a:pt x="365" y="760"/>
                </a:moveTo>
                <a:cubicBezTo>
                  <a:pt x="364" y="760"/>
                  <a:pt x="365" y="759"/>
                  <a:pt x="366" y="760"/>
                </a:cubicBezTo>
                <a:cubicBezTo>
                  <a:pt x="366" y="760"/>
                  <a:pt x="365" y="760"/>
                  <a:pt x="365" y="760"/>
                </a:cubicBezTo>
                <a:close/>
                <a:moveTo>
                  <a:pt x="368" y="740"/>
                </a:moveTo>
                <a:cubicBezTo>
                  <a:pt x="368" y="740"/>
                  <a:pt x="369" y="739"/>
                  <a:pt x="369" y="740"/>
                </a:cubicBezTo>
                <a:cubicBezTo>
                  <a:pt x="370" y="741"/>
                  <a:pt x="368" y="741"/>
                  <a:pt x="368" y="740"/>
                </a:cubicBezTo>
                <a:close/>
                <a:moveTo>
                  <a:pt x="364" y="737"/>
                </a:moveTo>
                <a:cubicBezTo>
                  <a:pt x="364" y="735"/>
                  <a:pt x="369" y="735"/>
                  <a:pt x="369" y="737"/>
                </a:cubicBezTo>
                <a:cubicBezTo>
                  <a:pt x="371" y="739"/>
                  <a:pt x="364" y="738"/>
                  <a:pt x="364" y="737"/>
                </a:cubicBezTo>
                <a:close/>
                <a:moveTo>
                  <a:pt x="370" y="740"/>
                </a:moveTo>
                <a:cubicBezTo>
                  <a:pt x="370" y="739"/>
                  <a:pt x="372" y="739"/>
                  <a:pt x="373" y="740"/>
                </a:cubicBezTo>
                <a:cubicBezTo>
                  <a:pt x="374" y="741"/>
                  <a:pt x="370" y="741"/>
                  <a:pt x="370" y="740"/>
                </a:cubicBezTo>
                <a:close/>
                <a:moveTo>
                  <a:pt x="371" y="748"/>
                </a:moveTo>
                <a:cubicBezTo>
                  <a:pt x="371" y="748"/>
                  <a:pt x="372" y="747"/>
                  <a:pt x="373" y="748"/>
                </a:cubicBezTo>
                <a:cubicBezTo>
                  <a:pt x="374" y="750"/>
                  <a:pt x="371" y="749"/>
                  <a:pt x="371" y="748"/>
                </a:cubicBezTo>
                <a:close/>
                <a:moveTo>
                  <a:pt x="373" y="754"/>
                </a:moveTo>
                <a:cubicBezTo>
                  <a:pt x="373" y="753"/>
                  <a:pt x="375" y="755"/>
                  <a:pt x="373" y="754"/>
                </a:cubicBezTo>
                <a:close/>
                <a:moveTo>
                  <a:pt x="375" y="726"/>
                </a:moveTo>
                <a:cubicBezTo>
                  <a:pt x="376" y="725"/>
                  <a:pt x="376" y="728"/>
                  <a:pt x="375" y="726"/>
                </a:cubicBezTo>
                <a:close/>
                <a:moveTo>
                  <a:pt x="375" y="708"/>
                </a:moveTo>
                <a:cubicBezTo>
                  <a:pt x="378" y="708"/>
                  <a:pt x="375" y="710"/>
                  <a:pt x="375" y="708"/>
                </a:cubicBezTo>
                <a:close/>
                <a:moveTo>
                  <a:pt x="376" y="704"/>
                </a:moveTo>
                <a:cubicBezTo>
                  <a:pt x="377" y="703"/>
                  <a:pt x="380" y="704"/>
                  <a:pt x="380" y="706"/>
                </a:cubicBezTo>
                <a:cubicBezTo>
                  <a:pt x="381" y="709"/>
                  <a:pt x="375" y="706"/>
                  <a:pt x="376" y="704"/>
                </a:cubicBezTo>
                <a:close/>
                <a:moveTo>
                  <a:pt x="380" y="746"/>
                </a:moveTo>
                <a:cubicBezTo>
                  <a:pt x="380" y="747"/>
                  <a:pt x="378" y="746"/>
                  <a:pt x="379" y="746"/>
                </a:cubicBezTo>
                <a:cubicBezTo>
                  <a:pt x="380" y="745"/>
                  <a:pt x="380" y="746"/>
                  <a:pt x="380" y="746"/>
                </a:cubicBezTo>
                <a:close/>
                <a:moveTo>
                  <a:pt x="378" y="716"/>
                </a:moveTo>
                <a:cubicBezTo>
                  <a:pt x="378" y="716"/>
                  <a:pt x="378" y="715"/>
                  <a:pt x="379" y="715"/>
                </a:cubicBezTo>
                <a:cubicBezTo>
                  <a:pt x="382" y="714"/>
                  <a:pt x="380" y="718"/>
                  <a:pt x="378" y="716"/>
                </a:cubicBezTo>
                <a:close/>
                <a:moveTo>
                  <a:pt x="380" y="749"/>
                </a:moveTo>
                <a:cubicBezTo>
                  <a:pt x="380" y="749"/>
                  <a:pt x="381" y="748"/>
                  <a:pt x="382" y="748"/>
                </a:cubicBezTo>
                <a:cubicBezTo>
                  <a:pt x="383" y="749"/>
                  <a:pt x="380" y="750"/>
                  <a:pt x="380" y="749"/>
                </a:cubicBezTo>
                <a:close/>
                <a:moveTo>
                  <a:pt x="381" y="734"/>
                </a:moveTo>
                <a:cubicBezTo>
                  <a:pt x="382" y="734"/>
                  <a:pt x="383" y="734"/>
                  <a:pt x="383" y="735"/>
                </a:cubicBezTo>
                <a:cubicBezTo>
                  <a:pt x="384" y="738"/>
                  <a:pt x="378" y="736"/>
                  <a:pt x="381" y="734"/>
                </a:cubicBezTo>
                <a:close/>
                <a:moveTo>
                  <a:pt x="384" y="754"/>
                </a:moveTo>
                <a:cubicBezTo>
                  <a:pt x="384" y="754"/>
                  <a:pt x="384" y="754"/>
                  <a:pt x="385" y="754"/>
                </a:cubicBezTo>
                <a:cubicBezTo>
                  <a:pt x="385" y="755"/>
                  <a:pt x="384" y="755"/>
                  <a:pt x="384" y="754"/>
                </a:cubicBezTo>
                <a:close/>
                <a:moveTo>
                  <a:pt x="386" y="712"/>
                </a:moveTo>
                <a:cubicBezTo>
                  <a:pt x="386" y="712"/>
                  <a:pt x="386" y="712"/>
                  <a:pt x="386" y="712"/>
                </a:cubicBezTo>
                <a:cubicBezTo>
                  <a:pt x="388" y="712"/>
                  <a:pt x="387" y="713"/>
                  <a:pt x="386" y="712"/>
                </a:cubicBezTo>
                <a:close/>
                <a:moveTo>
                  <a:pt x="387" y="722"/>
                </a:moveTo>
                <a:cubicBezTo>
                  <a:pt x="387" y="722"/>
                  <a:pt x="390" y="721"/>
                  <a:pt x="390" y="723"/>
                </a:cubicBezTo>
                <a:cubicBezTo>
                  <a:pt x="390" y="724"/>
                  <a:pt x="388" y="723"/>
                  <a:pt x="387" y="722"/>
                </a:cubicBezTo>
                <a:close/>
                <a:moveTo>
                  <a:pt x="389" y="709"/>
                </a:moveTo>
                <a:cubicBezTo>
                  <a:pt x="387" y="709"/>
                  <a:pt x="387" y="707"/>
                  <a:pt x="389" y="709"/>
                </a:cubicBezTo>
                <a:close/>
                <a:moveTo>
                  <a:pt x="391" y="719"/>
                </a:moveTo>
                <a:cubicBezTo>
                  <a:pt x="391" y="719"/>
                  <a:pt x="391" y="720"/>
                  <a:pt x="391" y="720"/>
                </a:cubicBezTo>
                <a:cubicBezTo>
                  <a:pt x="390" y="720"/>
                  <a:pt x="391" y="719"/>
                  <a:pt x="391" y="719"/>
                </a:cubicBezTo>
                <a:close/>
                <a:moveTo>
                  <a:pt x="391" y="736"/>
                </a:moveTo>
                <a:cubicBezTo>
                  <a:pt x="389" y="735"/>
                  <a:pt x="393" y="737"/>
                  <a:pt x="391" y="736"/>
                </a:cubicBezTo>
                <a:close/>
                <a:moveTo>
                  <a:pt x="390" y="565"/>
                </a:moveTo>
                <a:cubicBezTo>
                  <a:pt x="391" y="567"/>
                  <a:pt x="389" y="563"/>
                  <a:pt x="390" y="565"/>
                </a:cubicBezTo>
                <a:close/>
                <a:moveTo>
                  <a:pt x="390" y="396"/>
                </a:moveTo>
                <a:cubicBezTo>
                  <a:pt x="389" y="395"/>
                  <a:pt x="391" y="397"/>
                  <a:pt x="390" y="396"/>
                </a:cubicBezTo>
                <a:close/>
                <a:moveTo>
                  <a:pt x="398" y="675"/>
                </a:moveTo>
                <a:cubicBezTo>
                  <a:pt x="398" y="675"/>
                  <a:pt x="397" y="676"/>
                  <a:pt x="397" y="677"/>
                </a:cubicBezTo>
                <a:cubicBezTo>
                  <a:pt x="397" y="679"/>
                  <a:pt x="403" y="680"/>
                  <a:pt x="405" y="682"/>
                </a:cubicBezTo>
                <a:cubicBezTo>
                  <a:pt x="408" y="684"/>
                  <a:pt x="411" y="686"/>
                  <a:pt x="413" y="688"/>
                </a:cubicBezTo>
                <a:cubicBezTo>
                  <a:pt x="407" y="687"/>
                  <a:pt x="401" y="679"/>
                  <a:pt x="396" y="677"/>
                </a:cubicBezTo>
                <a:cubicBezTo>
                  <a:pt x="392" y="676"/>
                  <a:pt x="389" y="677"/>
                  <a:pt x="390" y="671"/>
                </a:cubicBezTo>
                <a:cubicBezTo>
                  <a:pt x="392" y="673"/>
                  <a:pt x="397" y="671"/>
                  <a:pt x="398" y="675"/>
                </a:cubicBezTo>
                <a:close/>
                <a:moveTo>
                  <a:pt x="391" y="523"/>
                </a:moveTo>
                <a:cubicBezTo>
                  <a:pt x="392" y="523"/>
                  <a:pt x="392" y="524"/>
                  <a:pt x="393" y="525"/>
                </a:cubicBezTo>
                <a:cubicBezTo>
                  <a:pt x="392" y="525"/>
                  <a:pt x="391" y="523"/>
                  <a:pt x="391" y="523"/>
                </a:cubicBezTo>
                <a:close/>
                <a:moveTo>
                  <a:pt x="402" y="645"/>
                </a:moveTo>
                <a:cubicBezTo>
                  <a:pt x="402" y="646"/>
                  <a:pt x="397" y="644"/>
                  <a:pt x="398" y="644"/>
                </a:cubicBezTo>
                <a:cubicBezTo>
                  <a:pt x="399" y="643"/>
                  <a:pt x="401" y="645"/>
                  <a:pt x="402" y="645"/>
                </a:cubicBezTo>
                <a:close/>
                <a:moveTo>
                  <a:pt x="401" y="387"/>
                </a:moveTo>
                <a:cubicBezTo>
                  <a:pt x="402" y="388"/>
                  <a:pt x="400" y="385"/>
                  <a:pt x="401" y="387"/>
                </a:cubicBezTo>
                <a:close/>
                <a:moveTo>
                  <a:pt x="408" y="130"/>
                </a:moveTo>
                <a:cubicBezTo>
                  <a:pt x="407" y="131"/>
                  <a:pt x="406" y="130"/>
                  <a:pt x="406" y="129"/>
                </a:cubicBezTo>
                <a:cubicBezTo>
                  <a:pt x="407" y="129"/>
                  <a:pt x="407" y="130"/>
                  <a:pt x="408" y="130"/>
                </a:cubicBezTo>
                <a:close/>
                <a:moveTo>
                  <a:pt x="406" y="94"/>
                </a:moveTo>
                <a:cubicBezTo>
                  <a:pt x="407" y="94"/>
                  <a:pt x="407" y="94"/>
                  <a:pt x="408" y="95"/>
                </a:cubicBezTo>
                <a:cubicBezTo>
                  <a:pt x="407" y="95"/>
                  <a:pt x="406" y="95"/>
                  <a:pt x="406" y="94"/>
                </a:cubicBezTo>
                <a:close/>
                <a:moveTo>
                  <a:pt x="412" y="602"/>
                </a:moveTo>
                <a:cubicBezTo>
                  <a:pt x="413" y="605"/>
                  <a:pt x="408" y="603"/>
                  <a:pt x="407" y="602"/>
                </a:cubicBezTo>
                <a:cubicBezTo>
                  <a:pt x="407" y="599"/>
                  <a:pt x="412" y="600"/>
                  <a:pt x="412" y="602"/>
                </a:cubicBezTo>
                <a:close/>
                <a:moveTo>
                  <a:pt x="409" y="131"/>
                </a:moveTo>
                <a:cubicBezTo>
                  <a:pt x="409" y="132"/>
                  <a:pt x="408" y="130"/>
                  <a:pt x="409" y="131"/>
                </a:cubicBezTo>
                <a:close/>
                <a:moveTo>
                  <a:pt x="421" y="663"/>
                </a:moveTo>
                <a:cubicBezTo>
                  <a:pt x="423" y="664"/>
                  <a:pt x="437" y="669"/>
                  <a:pt x="438" y="671"/>
                </a:cubicBezTo>
                <a:cubicBezTo>
                  <a:pt x="438" y="673"/>
                  <a:pt x="434" y="671"/>
                  <a:pt x="433" y="670"/>
                </a:cubicBezTo>
                <a:cubicBezTo>
                  <a:pt x="431" y="669"/>
                  <a:pt x="417" y="663"/>
                  <a:pt x="417" y="661"/>
                </a:cubicBezTo>
                <a:cubicBezTo>
                  <a:pt x="416" y="659"/>
                  <a:pt x="421" y="663"/>
                  <a:pt x="421" y="663"/>
                </a:cubicBezTo>
                <a:close/>
                <a:moveTo>
                  <a:pt x="420" y="624"/>
                </a:moveTo>
                <a:cubicBezTo>
                  <a:pt x="420" y="623"/>
                  <a:pt x="421" y="624"/>
                  <a:pt x="421" y="625"/>
                </a:cubicBezTo>
                <a:cubicBezTo>
                  <a:pt x="421" y="626"/>
                  <a:pt x="419" y="624"/>
                  <a:pt x="420" y="624"/>
                </a:cubicBezTo>
                <a:close/>
                <a:moveTo>
                  <a:pt x="422" y="659"/>
                </a:moveTo>
                <a:cubicBezTo>
                  <a:pt x="422" y="659"/>
                  <a:pt x="423" y="659"/>
                  <a:pt x="423" y="659"/>
                </a:cubicBezTo>
                <a:cubicBezTo>
                  <a:pt x="423" y="661"/>
                  <a:pt x="421" y="659"/>
                  <a:pt x="422" y="659"/>
                </a:cubicBezTo>
                <a:close/>
                <a:moveTo>
                  <a:pt x="435" y="515"/>
                </a:moveTo>
                <a:cubicBezTo>
                  <a:pt x="435" y="516"/>
                  <a:pt x="435" y="517"/>
                  <a:pt x="436" y="518"/>
                </a:cubicBezTo>
                <a:cubicBezTo>
                  <a:pt x="437" y="521"/>
                  <a:pt x="441" y="526"/>
                  <a:pt x="445" y="530"/>
                </a:cubicBezTo>
                <a:cubicBezTo>
                  <a:pt x="448" y="533"/>
                  <a:pt x="451" y="534"/>
                  <a:pt x="453" y="537"/>
                </a:cubicBezTo>
                <a:cubicBezTo>
                  <a:pt x="453" y="537"/>
                  <a:pt x="453" y="538"/>
                  <a:pt x="453" y="539"/>
                </a:cubicBezTo>
                <a:cubicBezTo>
                  <a:pt x="452" y="539"/>
                  <a:pt x="447" y="534"/>
                  <a:pt x="446" y="532"/>
                </a:cubicBezTo>
                <a:cubicBezTo>
                  <a:pt x="444" y="530"/>
                  <a:pt x="442" y="528"/>
                  <a:pt x="440" y="526"/>
                </a:cubicBezTo>
                <a:cubicBezTo>
                  <a:pt x="438" y="524"/>
                  <a:pt x="437" y="519"/>
                  <a:pt x="434" y="518"/>
                </a:cubicBezTo>
                <a:cubicBezTo>
                  <a:pt x="434" y="518"/>
                  <a:pt x="432" y="519"/>
                  <a:pt x="431" y="519"/>
                </a:cubicBezTo>
                <a:cubicBezTo>
                  <a:pt x="427" y="517"/>
                  <a:pt x="431" y="510"/>
                  <a:pt x="435" y="515"/>
                </a:cubicBezTo>
                <a:close/>
                <a:moveTo>
                  <a:pt x="434" y="370"/>
                </a:moveTo>
                <a:cubicBezTo>
                  <a:pt x="435" y="370"/>
                  <a:pt x="436" y="372"/>
                  <a:pt x="436" y="373"/>
                </a:cubicBezTo>
                <a:cubicBezTo>
                  <a:pt x="435" y="373"/>
                  <a:pt x="435" y="371"/>
                  <a:pt x="434" y="370"/>
                </a:cubicBezTo>
                <a:close/>
                <a:moveTo>
                  <a:pt x="437" y="135"/>
                </a:moveTo>
                <a:cubicBezTo>
                  <a:pt x="437" y="135"/>
                  <a:pt x="438" y="135"/>
                  <a:pt x="438" y="136"/>
                </a:cubicBezTo>
                <a:cubicBezTo>
                  <a:pt x="438" y="136"/>
                  <a:pt x="437" y="136"/>
                  <a:pt x="437" y="135"/>
                </a:cubicBezTo>
                <a:close/>
                <a:moveTo>
                  <a:pt x="448" y="408"/>
                </a:moveTo>
                <a:cubicBezTo>
                  <a:pt x="449" y="411"/>
                  <a:pt x="445" y="407"/>
                  <a:pt x="446" y="406"/>
                </a:cubicBezTo>
                <a:cubicBezTo>
                  <a:pt x="447" y="406"/>
                  <a:pt x="448" y="408"/>
                  <a:pt x="448" y="408"/>
                </a:cubicBezTo>
                <a:close/>
                <a:moveTo>
                  <a:pt x="448" y="167"/>
                </a:moveTo>
                <a:cubicBezTo>
                  <a:pt x="449" y="168"/>
                  <a:pt x="446" y="166"/>
                  <a:pt x="448" y="167"/>
                </a:cubicBezTo>
                <a:close/>
                <a:moveTo>
                  <a:pt x="447" y="435"/>
                </a:moveTo>
                <a:cubicBezTo>
                  <a:pt x="448" y="435"/>
                  <a:pt x="449" y="436"/>
                  <a:pt x="449" y="438"/>
                </a:cubicBezTo>
                <a:cubicBezTo>
                  <a:pt x="449" y="439"/>
                  <a:pt x="448" y="440"/>
                  <a:pt x="447" y="440"/>
                </a:cubicBezTo>
                <a:cubicBezTo>
                  <a:pt x="442" y="441"/>
                  <a:pt x="444" y="433"/>
                  <a:pt x="447" y="435"/>
                </a:cubicBezTo>
                <a:close/>
                <a:moveTo>
                  <a:pt x="446" y="515"/>
                </a:moveTo>
                <a:cubicBezTo>
                  <a:pt x="446" y="514"/>
                  <a:pt x="446" y="515"/>
                  <a:pt x="446" y="515"/>
                </a:cubicBezTo>
                <a:close/>
                <a:moveTo>
                  <a:pt x="445" y="441"/>
                </a:moveTo>
                <a:cubicBezTo>
                  <a:pt x="445" y="443"/>
                  <a:pt x="444" y="439"/>
                  <a:pt x="445" y="441"/>
                </a:cubicBezTo>
                <a:close/>
                <a:moveTo>
                  <a:pt x="445" y="494"/>
                </a:moveTo>
                <a:cubicBezTo>
                  <a:pt x="445" y="494"/>
                  <a:pt x="444" y="495"/>
                  <a:pt x="444" y="495"/>
                </a:cubicBezTo>
                <a:cubicBezTo>
                  <a:pt x="443" y="494"/>
                  <a:pt x="444" y="493"/>
                  <a:pt x="445" y="494"/>
                </a:cubicBezTo>
                <a:close/>
                <a:moveTo>
                  <a:pt x="452" y="150"/>
                </a:moveTo>
                <a:cubicBezTo>
                  <a:pt x="452" y="150"/>
                  <a:pt x="452" y="150"/>
                  <a:pt x="452" y="150"/>
                </a:cubicBezTo>
                <a:cubicBezTo>
                  <a:pt x="452" y="150"/>
                  <a:pt x="452" y="150"/>
                  <a:pt x="452" y="150"/>
                </a:cubicBezTo>
                <a:cubicBezTo>
                  <a:pt x="452" y="150"/>
                  <a:pt x="452" y="150"/>
                  <a:pt x="452" y="150"/>
                </a:cubicBezTo>
                <a:close/>
                <a:moveTo>
                  <a:pt x="456" y="548"/>
                </a:moveTo>
                <a:cubicBezTo>
                  <a:pt x="455" y="548"/>
                  <a:pt x="454" y="546"/>
                  <a:pt x="454" y="546"/>
                </a:cubicBezTo>
                <a:cubicBezTo>
                  <a:pt x="455" y="546"/>
                  <a:pt x="455" y="547"/>
                  <a:pt x="456" y="548"/>
                </a:cubicBezTo>
                <a:close/>
                <a:moveTo>
                  <a:pt x="454" y="436"/>
                </a:moveTo>
                <a:cubicBezTo>
                  <a:pt x="454" y="436"/>
                  <a:pt x="454" y="436"/>
                  <a:pt x="454" y="436"/>
                </a:cubicBezTo>
                <a:cubicBezTo>
                  <a:pt x="455" y="437"/>
                  <a:pt x="454" y="436"/>
                  <a:pt x="454" y="436"/>
                </a:cubicBezTo>
                <a:close/>
                <a:moveTo>
                  <a:pt x="459" y="622"/>
                </a:moveTo>
                <a:cubicBezTo>
                  <a:pt x="459" y="623"/>
                  <a:pt x="459" y="624"/>
                  <a:pt x="457" y="623"/>
                </a:cubicBezTo>
                <a:cubicBezTo>
                  <a:pt x="455" y="622"/>
                  <a:pt x="448" y="615"/>
                  <a:pt x="448" y="614"/>
                </a:cubicBezTo>
                <a:cubicBezTo>
                  <a:pt x="450" y="613"/>
                  <a:pt x="451" y="617"/>
                  <a:pt x="452" y="617"/>
                </a:cubicBezTo>
                <a:cubicBezTo>
                  <a:pt x="454" y="619"/>
                  <a:pt x="459" y="619"/>
                  <a:pt x="459" y="622"/>
                </a:cubicBezTo>
                <a:close/>
                <a:moveTo>
                  <a:pt x="458" y="565"/>
                </a:moveTo>
                <a:cubicBezTo>
                  <a:pt x="456" y="564"/>
                  <a:pt x="457" y="563"/>
                  <a:pt x="458" y="565"/>
                </a:cubicBezTo>
                <a:close/>
                <a:moveTo>
                  <a:pt x="459" y="565"/>
                </a:moveTo>
                <a:cubicBezTo>
                  <a:pt x="460" y="565"/>
                  <a:pt x="458" y="567"/>
                  <a:pt x="459" y="565"/>
                </a:cubicBezTo>
                <a:close/>
                <a:moveTo>
                  <a:pt x="459" y="642"/>
                </a:moveTo>
                <a:cubicBezTo>
                  <a:pt x="459" y="642"/>
                  <a:pt x="458" y="641"/>
                  <a:pt x="458" y="641"/>
                </a:cubicBezTo>
                <a:cubicBezTo>
                  <a:pt x="458" y="640"/>
                  <a:pt x="459" y="641"/>
                  <a:pt x="459" y="642"/>
                </a:cubicBezTo>
                <a:close/>
                <a:moveTo>
                  <a:pt x="454" y="648"/>
                </a:moveTo>
                <a:cubicBezTo>
                  <a:pt x="455" y="648"/>
                  <a:pt x="457" y="649"/>
                  <a:pt x="457" y="649"/>
                </a:cubicBezTo>
                <a:cubicBezTo>
                  <a:pt x="458" y="652"/>
                  <a:pt x="453" y="650"/>
                  <a:pt x="454" y="648"/>
                </a:cubicBezTo>
                <a:close/>
                <a:moveTo>
                  <a:pt x="454" y="659"/>
                </a:moveTo>
                <a:cubicBezTo>
                  <a:pt x="454" y="659"/>
                  <a:pt x="455" y="658"/>
                  <a:pt x="456" y="659"/>
                </a:cubicBezTo>
                <a:cubicBezTo>
                  <a:pt x="457" y="659"/>
                  <a:pt x="455" y="660"/>
                  <a:pt x="454" y="659"/>
                </a:cubicBezTo>
                <a:close/>
                <a:moveTo>
                  <a:pt x="452" y="632"/>
                </a:moveTo>
                <a:cubicBezTo>
                  <a:pt x="452" y="632"/>
                  <a:pt x="453" y="632"/>
                  <a:pt x="453" y="633"/>
                </a:cubicBezTo>
                <a:cubicBezTo>
                  <a:pt x="454" y="635"/>
                  <a:pt x="450" y="634"/>
                  <a:pt x="452" y="632"/>
                </a:cubicBezTo>
                <a:close/>
                <a:moveTo>
                  <a:pt x="449" y="622"/>
                </a:moveTo>
                <a:cubicBezTo>
                  <a:pt x="449" y="622"/>
                  <a:pt x="450" y="622"/>
                  <a:pt x="450" y="623"/>
                </a:cubicBezTo>
                <a:cubicBezTo>
                  <a:pt x="451" y="624"/>
                  <a:pt x="449" y="623"/>
                  <a:pt x="449" y="622"/>
                </a:cubicBezTo>
                <a:close/>
                <a:moveTo>
                  <a:pt x="446" y="640"/>
                </a:moveTo>
                <a:cubicBezTo>
                  <a:pt x="446" y="640"/>
                  <a:pt x="444" y="639"/>
                  <a:pt x="444" y="639"/>
                </a:cubicBezTo>
                <a:cubicBezTo>
                  <a:pt x="445" y="639"/>
                  <a:pt x="446" y="640"/>
                  <a:pt x="446" y="640"/>
                </a:cubicBezTo>
                <a:close/>
                <a:moveTo>
                  <a:pt x="445" y="602"/>
                </a:moveTo>
                <a:cubicBezTo>
                  <a:pt x="447" y="601"/>
                  <a:pt x="447" y="603"/>
                  <a:pt x="445" y="602"/>
                </a:cubicBezTo>
                <a:close/>
                <a:moveTo>
                  <a:pt x="444" y="571"/>
                </a:moveTo>
                <a:cubicBezTo>
                  <a:pt x="446" y="569"/>
                  <a:pt x="449" y="573"/>
                  <a:pt x="449" y="574"/>
                </a:cubicBezTo>
                <a:cubicBezTo>
                  <a:pt x="449" y="579"/>
                  <a:pt x="441" y="574"/>
                  <a:pt x="444" y="571"/>
                </a:cubicBezTo>
                <a:close/>
                <a:moveTo>
                  <a:pt x="429" y="648"/>
                </a:moveTo>
                <a:cubicBezTo>
                  <a:pt x="432" y="648"/>
                  <a:pt x="434" y="647"/>
                  <a:pt x="436" y="649"/>
                </a:cubicBezTo>
                <a:cubicBezTo>
                  <a:pt x="437" y="650"/>
                  <a:pt x="437" y="652"/>
                  <a:pt x="437" y="652"/>
                </a:cubicBezTo>
                <a:cubicBezTo>
                  <a:pt x="438" y="654"/>
                  <a:pt x="441" y="652"/>
                  <a:pt x="442" y="654"/>
                </a:cubicBezTo>
                <a:cubicBezTo>
                  <a:pt x="443" y="657"/>
                  <a:pt x="439" y="658"/>
                  <a:pt x="439" y="658"/>
                </a:cubicBezTo>
                <a:cubicBezTo>
                  <a:pt x="436" y="659"/>
                  <a:pt x="435" y="653"/>
                  <a:pt x="431" y="654"/>
                </a:cubicBezTo>
                <a:cubicBezTo>
                  <a:pt x="430" y="654"/>
                  <a:pt x="429" y="655"/>
                  <a:pt x="428" y="654"/>
                </a:cubicBezTo>
                <a:cubicBezTo>
                  <a:pt x="432" y="653"/>
                  <a:pt x="424" y="648"/>
                  <a:pt x="429" y="648"/>
                </a:cubicBezTo>
                <a:close/>
                <a:moveTo>
                  <a:pt x="428" y="646"/>
                </a:moveTo>
                <a:cubicBezTo>
                  <a:pt x="428" y="646"/>
                  <a:pt x="428" y="646"/>
                  <a:pt x="428" y="646"/>
                </a:cubicBezTo>
                <a:cubicBezTo>
                  <a:pt x="430" y="647"/>
                  <a:pt x="426" y="646"/>
                  <a:pt x="428" y="646"/>
                </a:cubicBezTo>
                <a:close/>
                <a:moveTo>
                  <a:pt x="426" y="638"/>
                </a:moveTo>
                <a:cubicBezTo>
                  <a:pt x="427" y="637"/>
                  <a:pt x="427" y="638"/>
                  <a:pt x="427" y="638"/>
                </a:cubicBezTo>
                <a:cubicBezTo>
                  <a:pt x="428" y="639"/>
                  <a:pt x="426" y="639"/>
                  <a:pt x="426" y="638"/>
                </a:cubicBezTo>
                <a:close/>
                <a:moveTo>
                  <a:pt x="429" y="628"/>
                </a:moveTo>
                <a:cubicBezTo>
                  <a:pt x="429" y="627"/>
                  <a:pt x="431" y="628"/>
                  <a:pt x="432" y="627"/>
                </a:cubicBezTo>
                <a:cubicBezTo>
                  <a:pt x="433" y="625"/>
                  <a:pt x="437" y="628"/>
                  <a:pt x="437" y="630"/>
                </a:cubicBezTo>
                <a:cubicBezTo>
                  <a:pt x="437" y="634"/>
                  <a:pt x="435" y="632"/>
                  <a:pt x="433" y="633"/>
                </a:cubicBezTo>
                <a:cubicBezTo>
                  <a:pt x="434" y="633"/>
                  <a:pt x="432" y="634"/>
                  <a:pt x="432" y="634"/>
                </a:cubicBezTo>
                <a:cubicBezTo>
                  <a:pt x="430" y="633"/>
                  <a:pt x="428" y="630"/>
                  <a:pt x="429" y="628"/>
                </a:cubicBezTo>
                <a:close/>
                <a:moveTo>
                  <a:pt x="429" y="579"/>
                </a:moveTo>
                <a:cubicBezTo>
                  <a:pt x="430" y="579"/>
                  <a:pt x="429" y="581"/>
                  <a:pt x="429" y="580"/>
                </a:cubicBezTo>
                <a:cubicBezTo>
                  <a:pt x="429" y="580"/>
                  <a:pt x="429" y="579"/>
                  <a:pt x="429" y="579"/>
                </a:cubicBezTo>
                <a:close/>
                <a:moveTo>
                  <a:pt x="430" y="612"/>
                </a:moveTo>
                <a:cubicBezTo>
                  <a:pt x="431" y="612"/>
                  <a:pt x="431" y="613"/>
                  <a:pt x="432" y="613"/>
                </a:cubicBezTo>
                <a:cubicBezTo>
                  <a:pt x="431" y="614"/>
                  <a:pt x="430" y="613"/>
                  <a:pt x="430" y="612"/>
                </a:cubicBezTo>
                <a:close/>
                <a:moveTo>
                  <a:pt x="433" y="549"/>
                </a:moveTo>
                <a:cubicBezTo>
                  <a:pt x="434" y="549"/>
                  <a:pt x="434" y="549"/>
                  <a:pt x="434" y="550"/>
                </a:cubicBezTo>
                <a:cubicBezTo>
                  <a:pt x="435" y="551"/>
                  <a:pt x="432" y="549"/>
                  <a:pt x="433" y="549"/>
                </a:cubicBezTo>
                <a:close/>
                <a:moveTo>
                  <a:pt x="443" y="617"/>
                </a:moveTo>
                <a:cubicBezTo>
                  <a:pt x="442" y="618"/>
                  <a:pt x="443" y="618"/>
                  <a:pt x="443" y="618"/>
                </a:cubicBezTo>
                <a:cubicBezTo>
                  <a:pt x="444" y="619"/>
                  <a:pt x="442" y="618"/>
                  <a:pt x="443" y="617"/>
                </a:cubicBezTo>
                <a:close/>
                <a:moveTo>
                  <a:pt x="443" y="632"/>
                </a:moveTo>
                <a:cubicBezTo>
                  <a:pt x="443" y="632"/>
                  <a:pt x="443" y="632"/>
                  <a:pt x="443" y="632"/>
                </a:cubicBezTo>
                <a:cubicBezTo>
                  <a:pt x="442" y="632"/>
                  <a:pt x="443" y="632"/>
                  <a:pt x="443" y="632"/>
                </a:cubicBezTo>
                <a:close/>
                <a:moveTo>
                  <a:pt x="442" y="613"/>
                </a:moveTo>
                <a:cubicBezTo>
                  <a:pt x="442" y="612"/>
                  <a:pt x="443" y="613"/>
                  <a:pt x="443" y="613"/>
                </a:cubicBezTo>
                <a:cubicBezTo>
                  <a:pt x="443" y="615"/>
                  <a:pt x="441" y="613"/>
                  <a:pt x="442" y="613"/>
                </a:cubicBezTo>
                <a:close/>
                <a:moveTo>
                  <a:pt x="443" y="582"/>
                </a:moveTo>
                <a:cubicBezTo>
                  <a:pt x="443" y="583"/>
                  <a:pt x="443" y="583"/>
                  <a:pt x="443" y="583"/>
                </a:cubicBezTo>
                <a:cubicBezTo>
                  <a:pt x="443" y="585"/>
                  <a:pt x="442" y="581"/>
                  <a:pt x="443" y="582"/>
                </a:cubicBezTo>
                <a:close/>
                <a:moveTo>
                  <a:pt x="441" y="554"/>
                </a:moveTo>
                <a:cubicBezTo>
                  <a:pt x="442" y="553"/>
                  <a:pt x="447" y="555"/>
                  <a:pt x="446" y="558"/>
                </a:cubicBezTo>
                <a:cubicBezTo>
                  <a:pt x="445" y="558"/>
                  <a:pt x="440" y="556"/>
                  <a:pt x="441" y="554"/>
                </a:cubicBezTo>
                <a:close/>
                <a:moveTo>
                  <a:pt x="441" y="609"/>
                </a:moveTo>
                <a:cubicBezTo>
                  <a:pt x="442" y="610"/>
                  <a:pt x="440" y="608"/>
                  <a:pt x="441" y="609"/>
                </a:cubicBezTo>
                <a:close/>
                <a:moveTo>
                  <a:pt x="440" y="534"/>
                </a:moveTo>
                <a:cubicBezTo>
                  <a:pt x="441" y="534"/>
                  <a:pt x="441" y="535"/>
                  <a:pt x="441" y="535"/>
                </a:cubicBezTo>
                <a:cubicBezTo>
                  <a:pt x="441" y="536"/>
                  <a:pt x="440" y="535"/>
                  <a:pt x="440" y="534"/>
                </a:cubicBezTo>
                <a:close/>
                <a:moveTo>
                  <a:pt x="442" y="648"/>
                </a:moveTo>
                <a:cubicBezTo>
                  <a:pt x="442" y="651"/>
                  <a:pt x="437" y="649"/>
                  <a:pt x="438" y="646"/>
                </a:cubicBezTo>
                <a:cubicBezTo>
                  <a:pt x="438" y="645"/>
                  <a:pt x="442" y="646"/>
                  <a:pt x="442" y="648"/>
                </a:cubicBezTo>
                <a:close/>
                <a:moveTo>
                  <a:pt x="435" y="615"/>
                </a:moveTo>
                <a:cubicBezTo>
                  <a:pt x="437" y="617"/>
                  <a:pt x="438" y="618"/>
                  <a:pt x="440" y="619"/>
                </a:cubicBezTo>
                <a:cubicBezTo>
                  <a:pt x="439" y="620"/>
                  <a:pt x="436" y="617"/>
                  <a:pt x="435" y="615"/>
                </a:cubicBezTo>
                <a:close/>
                <a:moveTo>
                  <a:pt x="437" y="603"/>
                </a:moveTo>
                <a:cubicBezTo>
                  <a:pt x="436" y="604"/>
                  <a:pt x="436" y="602"/>
                  <a:pt x="437" y="603"/>
                </a:cubicBezTo>
                <a:close/>
                <a:moveTo>
                  <a:pt x="436" y="529"/>
                </a:moveTo>
                <a:cubicBezTo>
                  <a:pt x="438" y="528"/>
                  <a:pt x="438" y="531"/>
                  <a:pt x="439" y="532"/>
                </a:cubicBezTo>
                <a:cubicBezTo>
                  <a:pt x="438" y="531"/>
                  <a:pt x="437" y="529"/>
                  <a:pt x="436" y="529"/>
                </a:cubicBezTo>
                <a:close/>
                <a:moveTo>
                  <a:pt x="435" y="525"/>
                </a:moveTo>
                <a:cubicBezTo>
                  <a:pt x="435" y="526"/>
                  <a:pt x="435" y="527"/>
                  <a:pt x="436" y="527"/>
                </a:cubicBezTo>
                <a:cubicBezTo>
                  <a:pt x="435" y="528"/>
                  <a:pt x="434" y="526"/>
                  <a:pt x="435" y="525"/>
                </a:cubicBezTo>
                <a:close/>
                <a:moveTo>
                  <a:pt x="432" y="638"/>
                </a:moveTo>
                <a:cubicBezTo>
                  <a:pt x="432" y="637"/>
                  <a:pt x="436" y="638"/>
                  <a:pt x="436" y="639"/>
                </a:cubicBezTo>
                <a:cubicBezTo>
                  <a:pt x="437" y="642"/>
                  <a:pt x="432" y="639"/>
                  <a:pt x="432" y="638"/>
                </a:cubicBezTo>
                <a:close/>
                <a:moveTo>
                  <a:pt x="435" y="641"/>
                </a:moveTo>
                <a:cubicBezTo>
                  <a:pt x="435" y="641"/>
                  <a:pt x="436" y="641"/>
                  <a:pt x="436" y="642"/>
                </a:cubicBezTo>
                <a:cubicBezTo>
                  <a:pt x="437" y="643"/>
                  <a:pt x="434" y="643"/>
                  <a:pt x="435" y="641"/>
                </a:cubicBezTo>
                <a:close/>
                <a:moveTo>
                  <a:pt x="444" y="668"/>
                </a:moveTo>
                <a:cubicBezTo>
                  <a:pt x="444" y="669"/>
                  <a:pt x="443" y="670"/>
                  <a:pt x="442" y="668"/>
                </a:cubicBezTo>
                <a:cubicBezTo>
                  <a:pt x="442" y="668"/>
                  <a:pt x="444" y="666"/>
                  <a:pt x="444" y="668"/>
                </a:cubicBezTo>
                <a:close/>
                <a:moveTo>
                  <a:pt x="449" y="565"/>
                </a:moveTo>
                <a:cubicBezTo>
                  <a:pt x="450" y="564"/>
                  <a:pt x="451" y="565"/>
                  <a:pt x="451" y="566"/>
                </a:cubicBezTo>
                <a:cubicBezTo>
                  <a:pt x="453" y="568"/>
                  <a:pt x="448" y="567"/>
                  <a:pt x="449" y="565"/>
                </a:cubicBezTo>
                <a:close/>
                <a:moveTo>
                  <a:pt x="455" y="614"/>
                </a:moveTo>
                <a:cubicBezTo>
                  <a:pt x="456" y="615"/>
                  <a:pt x="454" y="614"/>
                  <a:pt x="454" y="614"/>
                </a:cubicBezTo>
                <a:cubicBezTo>
                  <a:pt x="454" y="613"/>
                  <a:pt x="455" y="613"/>
                  <a:pt x="455" y="614"/>
                </a:cubicBezTo>
                <a:close/>
                <a:moveTo>
                  <a:pt x="452" y="555"/>
                </a:moveTo>
                <a:cubicBezTo>
                  <a:pt x="453" y="554"/>
                  <a:pt x="454" y="555"/>
                  <a:pt x="454" y="556"/>
                </a:cubicBezTo>
                <a:cubicBezTo>
                  <a:pt x="456" y="559"/>
                  <a:pt x="450" y="556"/>
                  <a:pt x="452" y="555"/>
                </a:cubicBezTo>
                <a:close/>
                <a:moveTo>
                  <a:pt x="451" y="548"/>
                </a:moveTo>
                <a:cubicBezTo>
                  <a:pt x="453" y="547"/>
                  <a:pt x="455" y="549"/>
                  <a:pt x="455" y="550"/>
                </a:cubicBezTo>
                <a:cubicBezTo>
                  <a:pt x="455" y="553"/>
                  <a:pt x="450" y="550"/>
                  <a:pt x="451" y="548"/>
                </a:cubicBezTo>
                <a:close/>
                <a:moveTo>
                  <a:pt x="454" y="498"/>
                </a:moveTo>
                <a:cubicBezTo>
                  <a:pt x="454" y="498"/>
                  <a:pt x="454" y="499"/>
                  <a:pt x="454" y="499"/>
                </a:cubicBezTo>
                <a:cubicBezTo>
                  <a:pt x="453" y="499"/>
                  <a:pt x="452" y="496"/>
                  <a:pt x="454" y="498"/>
                </a:cubicBezTo>
                <a:close/>
                <a:moveTo>
                  <a:pt x="454" y="414"/>
                </a:moveTo>
                <a:cubicBezTo>
                  <a:pt x="454" y="416"/>
                  <a:pt x="453" y="412"/>
                  <a:pt x="454" y="414"/>
                </a:cubicBezTo>
                <a:close/>
                <a:moveTo>
                  <a:pt x="452" y="462"/>
                </a:moveTo>
                <a:cubicBezTo>
                  <a:pt x="454" y="463"/>
                  <a:pt x="452" y="464"/>
                  <a:pt x="452" y="462"/>
                </a:cubicBezTo>
                <a:close/>
                <a:moveTo>
                  <a:pt x="453" y="501"/>
                </a:moveTo>
                <a:cubicBezTo>
                  <a:pt x="452" y="500"/>
                  <a:pt x="453" y="502"/>
                  <a:pt x="453" y="501"/>
                </a:cubicBezTo>
                <a:close/>
                <a:moveTo>
                  <a:pt x="429" y="475"/>
                </a:moveTo>
                <a:cubicBezTo>
                  <a:pt x="429" y="474"/>
                  <a:pt x="430" y="475"/>
                  <a:pt x="430" y="476"/>
                </a:cubicBezTo>
                <a:cubicBezTo>
                  <a:pt x="431" y="478"/>
                  <a:pt x="427" y="476"/>
                  <a:pt x="429" y="475"/>
                </a:cubicBezTo>
                <a:close/>
                <a:moveTo>
                  <a:pt x="429" y="611"/>
                </a:moveTo>
                <a:cubicBezTo>
                  <a:pt x="429" y="612"/>
                  <a:pt x="426" y="610"/>
                  <a:pt x="427" y="610"/>
                </a:cubicBezTo>
                <a:cubicBezTo>
                  <a:pt x="427" y="609"/>
                  <a:pt x="428" y="610"/>
                  <a:pt x="429" y="611"/>
                </a:cubicBezTo>
                <a:close/>
                <a:moveTo>
                  <a:pt x="427" y="634"/>
                </a:moveTo>
                <a:cubicBezTo>
                  <a:pt x="428" y="633"/>
                  <a:pt x="429" y="634"/>
                  <a:pt x="429" y="634"/>
                </a:cubicBezTo>
                <a:cubicBezTo>
                  <a:pt x="431" y="637"/>
                  <a:pt x="425" y="636"/>
                  <a:pt x="427" y="634"/>
                </a:cubicBezTo>
                <a:close/>
                <a:moveTo>
                  <a:pt x="425" y="607"/>
                </a:moveTo>
                <a:cubicBezTo>
                  <a:pt x="426" y="606"/>
                  <a:pt x="426" y="607"/>
                  <a:pt x="426" y="607"/>
                </a:cubicBezTo>
                <a:cubicBezTo>
                  <a:pt x="427" y="609"/>
                  <a:pt x="424" y="607"/>
                  <a:pt x="425" y="607"/>
                </a:cubicBezTo>
                <a:close/>
                <a:moveTo>
                  <a:pt x="426" y="620"/>
                </a:moveTo>
                <a:cubicBezTo>
                  <a:pt x="426" y="622"/>
                  <a:pt x="423" y="620"/>
                  <a:pt x="423" y="619"/>
                </a:cubicBezTo>
                <a:cubicBezTo>
                  <a:pt x="423" y="618"/>
                  <a:pt x="426" y="619"/>
                  <a:pt x="426" y="620"/>
                </a:cubicBezTo>
                <a:close/>
                <a:moveTo>
                  <a:pt x="420" y="690"/>
                </a:moveTo>
                <a:cubicBezTo>
                  <a:pt x="420" y="689"/>
                  <a:pt x="411" y="686"/>
                  <a:pt x="416" y="684"/>
                </a:cubicBezTo>
                <a:cubicBezTo>
                  <a:pt x="417" y="683"/>
                  <a:pt x="420" y="684"/>
                  <a:pt x="420" y="685"/>
                </a:cubicBezTo>
                <a:cubicBezTo>
                  <a:pt x="421" y="687"/>
                  <a:pt x="418" y="688"/>
                  <a:pt x="423" y="689"/>
                </a:cubicBezTo>
                <a:cubicBezTo>
                  <a:pt x="421" y="689"/>
                  <a:pt x="420" y="689"/>
                  <a:pt x="420" y="690"/>
                </a:cubicBezTo>
                <a:close/>
                <a:moveTo>
                  <a:pt x="418" y="700"/>
                </a:moveTo>
                <a:cubicBezTo>
                  <a:pt x="417" y="701"/>
                  <a:pt x="418" y="702"/>
                  <a:pt x="417" y="702"/>
                </a:cubicBezTo>
                <a:cubicBezTo>
                  <a:pt x="416" y="703"/>
                  <a:pt x="406" y="701"/>
                  <a:pt x="406" y="698"/>
                </a:cubicBezTo>
                <a:cubicBezTo>
                  <a:pt x="406" y="697"/>
                  <a:pt x="408" y="696"/>
                  <a:pt x="406" y="695"/>
                </a:cubicBezTo>
                <a:cubicBezTo>
                  <a:pt x="405" y="694"/>
                  <a:pt x="416" y="695"/>
                  <a:pt x="419" y="696"/>
                </a:cubicBezTo>
                <a:cubicBezTo>
                  <a:pt x="417" y="696"/>
                  <a:pt x="420" y="699"/>
                  <a:pt x="420" y="699"/>
                </a:cubicBezTo>
                <a:cubicBezTo>
                  <a:pt x="420" y="700"/>
                  <a:pt x="419" y="699"/>
                  <a:pt x="418" y="700"/>
                </a:cubicBezTo>
                <a:close/>
                <a:moveTo>
                  <a:pt x="420" y="714"/>
                </a:moveTo>
                <a:cubicBezTo>
                  <a:pt x="422" y="716"/>
                  <a:pt x="416" y="715"/>
                  <a:pt x="418" y="714"/>
                </a:cubicBezTo>
                <a:cubicBezTo>
                  <a:pt x="418" y="714"/>
                  <a:pt x="419" y="714"/>
                  <a:pt x="420" y="714"/>
                </a:cubicBezTo>
                <a:close/>
                <a:moveTo>
                  <a:pt x="410" y="719"/>
                </a:moveTo>
                <a:cubicBezTo>
                  <a:pt x="410" y="718"/>
                  <a:pt x="411" y="718"/>
                  <a:pt x="411" y="719"/>
                </a:cubicBezTo>
                <a:cubicBezTo>
                  <a:pt x="412" y="720"/>
                  <a:pt x="410" y="719"/>
                  <a:pt x="410" y="719"/>
                </a:cubicBezTo>
                <a:close/>
                <a:moveTo>
                  <a:pt x="403" y="686"/>
                </a:moveTo>
                <a:cubicBezTo>
                  <a:pt x="403" y="685"/>
                  <a:pt x="408" y="686"/>
                  <a:pt x="408" y="687"/>
                </a:cubicBezTo>
                <a:cubicBezTo>
                  <a:pt x="409" y="690"/>
                  <a:pt x="403" y="687"/>
                  <a:pt x="403" y="686"/>
                </a:cubicBezTo>
                <a:close/>
                <a:moveTo>
                  <a:pt x="406" y="697"/>
                </a:moveTo>
                <a:cubicBezTo>
                  <a:pt x="404" y="698"/>
                  <a:pt x="402" y="697"/>
                  <a:pt x="403" y="695"/>
                </a:cubicBezTo>
                <a:cubicBezTo>
                  <a:pt x="404" y="696"/>
                  <a:pt x="405" y="697"/>
                  <a:pt x="406" y="697"/>
                </a:cubicBezTo>
                <a:close/>
                <a:moveTo>
                  <a:pt x="414" y="652"/>
                </a:moveTo>
                <a:cubicBezTo>
                  <a:pt x="415" y="651"/>
                  <a:pt x="417" y="653"/>
                  <a:pt x="417" y="653"/>
                </a:cubicBezTo>
                <a:cubicBezTo>
                  <a:pt x="418" y="656"/>
                  <a:pt x="412" y="653"/>
                  <a:pt x="414" y="652"/>
                </a:cubicBezTo>
                <a:close/>
                <a:moveTo>
                  <a:pt x="418" y="679"/>
                </a:moveTo>
                <a:cubicBezTo>
                  <a:pt x="418" y="679"/>
                  <a:pt x="415" y="680"/>
                  <a:pt x="415" y="678"/>
                </a:cubicBezTo>
                <a:cubicBezTo>
                  <a:pt x="414" y="677"/>
                  <a:pt x="418" y="676"/>
                  <a:pt x="418" y="679"/>
                </a:cubicBezTo>
                <a:close/>
                <a:moveTo>
                  <a:pt x="414" y="669"/>
                </a:moveTo>
                <a:cubicBezTo>
                  <a:pt x="413" y="667"/>
                  <a:pt x="415" y="670"/>
                  <a:pt x="414" y="669"/>
                </a:cubicBezTo>
                <a:close/>
                <a:moveTo>
                  <a:pt x="411" y="641"/>
                </a:moveTo>
                <a:cubicBezTo>
                  <a:pt x="412" y="639"/>
                  <a:pt x="414" y="640"/>
                  <a:pt x="414" y="641"/>
                </a:cubicBezTo>
                <a:cubicBezTo>
                  <a:pt x="415" y="643"/>
                  <a:pt x="411" y="642"/>
                  <a:pt x="411" y="641"/>
                </a:cubicBezTo>
                <a:close/>
                <a:moveTo>
                  <a:pt x="420" y="682"/>
                </a:moveTo>
                <a:cubicBezTo>
                  <a:pt x="419" y="681"/>
                  <a:pt x="420" y="682"/>
                  <a:pt x="421" y="682"/>
                </a:cubicBezTo>
                <a:cubicBezTo>
                  <a:pt x="421" y="683"/>
                  <a:pt x="420" y="683"/>
                  <a:pt x="420" y="682"/>
                </a:cubicBezTo>
                <a:close/>
                <a:moveTo>
                  <a:pt x="422" y="683"/>
                </a:moveTo>
                <a:cubicBezTo>
                  <a:pt x="423" y="683"/>
                  <a:pt x="424" y="684"/>
                  <a:pt x="425" y="684"/>
                </a:cubicBezTo>
                <a:cubicBezTo>
                  <a:pt x="424" y="685"/>
                  <a:pt x="422" y="684"/>
                  <a:pt x="422" y="683"/>
                </a:cubicBezTo>
                <a:close/>
                <a:moveTo>
                  <a:pt x="425" y="673"/>
                </a:moveTo>
                <a:cubicBezTo>
                  <a:pt x="426" y="672"/>
                  <a:pt x="427" y="673"/>
                  <a:pt x="428" y="673"/>
                </a:cubicBezTo>
                <a:cubicBezTo>
                  <a:pt x="429" y="676"/>
                  <a:pt x="424" y="674"/>
                  <a:pt x="425" y="673"/>
                </a:cubicBezTo>
                <a:close/>
                <a:moveTo>
                  <a:pt x="426" y="681"/>
                </a:moveTo>
                <a:cubicBezTo>
                  <a:pt x="427" y="680"/>
                  <a:pt x="427" y="683"/>
                  <a:pt x="426" y="681"/>
                </a:cubicBezTo>
                <a:close/>
                <a:moveTo>
                  <a:pt x="427" y="693"/>
                </a:moveTo>
                <a:cubicBezTo>
                  <a:pt x="427" y="693"/>
                  <a:pt x="427" y="694"/>
                  <a:pt x="427" y="694"/>
                </a:cubicBezTo>
                <a:cubicBezTo>
                  <a:pt x="424" y="696"/>
                  <a:pt x="425" y="691"/>
                  <a:pt x="427" y="693"/>
                </a:cubicBezTo>
                <a:close/>
                <a:moveTo>
                  <a:pt x="426" y="685"/>
                </a:moveTo>
                <a:cubicBezTo>
                  <a:pt x="427" y="686"/>
                  <a:pt x="429" y="686"/>
                  <a:pt x="430" y="687"/>
                </a:cubicBezTo>
                <a:cubicBezTo>
                  <a:pt x="428" y="686"/>
                  <a:pt x="426" y="686"/>
                  <a:pt x="426" y="685"/>
                </a:cubicBezTo>
                <a:close/>
                <a:moveTo>
                  <a:pt x="416" y="649"/>
                </a:moveTo>
                <a:cubicBezTo>
                  <a:pt x="420" y="650"/>
                  <a:pt x="417" y="652"/>
                  <a:pt x="416" y="649"/>
                </a:cubicBezTo>
                <a:close/>
                <a:moveTo>
                  <a:pt x="418" y="563"/>
                </a:moveTo>
                <a:cubicBezTo>
                  <a:pt x="417" y="563"/>
                  <a:pt x="417" y="562"/>
                  <a:pt x="416" y="562"/>
                </a:cubicBezTo>
                <a:cubicBezTo>
                  <a:pt x="417" y="561"/>
                  <a:pt x="418" y="562"/>
                  <a:pt x="418" y="563"/>
                </a:cubicBezTo>
                <a:close/>
                <a:moveTo>
                  <a:pt x="414" y="556"/>
                </a:moveTo>
                <a:cubicBezTo>
                  <a:pt x="415" y="555"/>
                  <a:pt x="417" y="556"/>
                  <a:pt x="417" y="557"/>
                </a:cubicBezTo>
                <a:cubicBezTo>
                  <a:pt x="417" y="558"/>
                  <a:pt x="414" y="557"/>
                  <a:pt x="414" y="556"/>
                </a:cubicBezTo>
                <a:close/>
                <a:moveTo>
                  <a:pt x="415" y="631"/>
                </a:moveTo>
                <a:cubicBezTo>
                  <a:pt x="416" y="633"/>
                  <a:pt x="415" y="635"/>
                  <a:pt x="414" y="635"/>
                </a:cubicBezTo>
                <a:cubicBezTo>
                  <a:pt x="414" y="635"/>
                  <a:pt x="410" y="636"/>
                  <a:pt x="409" y="635"/>
                </a:cubicBezTo>
                <a:cubicBezTo>
                  <a:pt x="408" y="634"/>
                  <a:pt x="411" y="632"/>
                  <a:pt x="410" y="631"/>
                </a:cubicBezTo>
                <a:cubicBezTo>
                  <a:pt x="409" y="631"/>
                  <a:pt x="407" y="632"/>
                  <a:pt x="407" y="631"/>
                </a:cubicBezTo>
                <a:cubicBezTo>
                  <a:pt x="405" y="627"/>
                  <a:pt x="414" y="627"/>
                  <a:pt x="415" y="631"/>
                </a:cubicBezTo>
                <a:close/>
                <a:moveTo>
                  <a:pt x="410" y="640"/>
                </a:moveTo>
                <a:cubicBezTo>
                  <a:pt x="410" y="642"/>
                  <a:pt x="408" y="641"/>
                  <a:pt x="408" y="639"/>
                </a:cubicBezTo>
                <a:cubicBezTo>
                  <a:pt x="408" y="638"/>
                  <a:pt x="411" y="637"/>
                  <a:pt x="410" y="640"/>
                </a:cubicBezTo>
                <a:close/>
                <a:moveTo>
                  <a:pt x="408" y="660"/>
                </a:moveTo>
                <a:cubicBezTo>
                  <a:pt x="407" y="661"/>
                  <a:pt x="407" y="658"/>
                  <a:pt x="408" y="659"/>
                </a:cubicBezTo>
                <a:cubicBezTo>
                  <a:pt x="408" y="660"/>
                  <a:pt x="408" y="660"/>
                  <a:pt x="408" y="660"/>
                </a:cubicBezTo>
                <a:close/>
                <a:moveTo>
                  <a:pt x="407" y="611"/>
                </a:moveTo>
                <a:cubicBezTo>
                  <a:pt x="408" y="611"/>
                  <a:pt x="408" y="611"/>
                  <a:pt x="408" y="611"/>
                </a:cubicBezTo>
                <a:cubicBezTo>
                  <a:pt x="409" y="613"/>
                  <a:pt x="406" y="612"/>
                  <a:pt x="407" y="611"/>
                </a:cubicBezTo>
                <a:close/>
                <a:moveTo>
                  <a:pt x="408" y="568"/>
                </a:moveTo>
                <a:cubicBezTo>
                  <a:pt x="407" y="567"/>
                  <a:pt x="409" y="569"/>
                  <a:pt x="408" y="568"/>
                </a:cubicBezTo>
                <a:close/>
                <a:moveTo>
                  <a:pt x="408" y="164"/>
                </a:moveTo>
                <a:cubicBezTo>
                  <a:pt x="406" y="164"/>
                  <a:pt x="406" y="162"/>
                  <a:pt x="405" y="162"/>
                </a:cubicBezTo>
                <a:cubicBezTo>
                  <a:pt x="406" y="161"/>
                  <a:pt x="407" y="163"/>
                  <a:pt x="408" y="164"/>
                </a:cubicBezTo>
                <a:close/>
                <a:moveTo>
                  <a:pt x="405" y="462"/>
                </a:moveTo>
                <a:cubicBezTo>
                  <a:pt x="407" y="463"/>
                  <a:pt x="405" y="464"/>
                  <a:pt x="405" y="462"/>
                </a:cubicBezTo>
                <a:close/>
                <a:moveTo>
                  <a:pt x="404" y="93"/>
                </a:moveTo>
                <a:cubicBezTo>
                  <a:pt x="405" y="93"/>
                  <a:pt x="405" y="93"/>
                  <a:pt x="406" y="94"/>
                </a:cubicBezTo>
                <a:cubicBezTo>
                  <a:pt x="405" y="94"/>
                  <a:pt x="404" y="94"/>
                  <a:pt x="404" y="93"/>
                </a:cubicBezTo>
                <a:close/>
                <a:moveTo>
                  <a:pt x="404" y="393"/>
                </a:moveTo>
                <a:cubicBezTo>
                  <a:pt x="403" y="393"/>
                  <a:pt x="404" y="392"/>
                  <a:pt x="403" y="391"/>
                </a:cubicBezTo>
                <a:cubicBezTo>
                  <a:pt x="403" y="391"/>
                  <a:pt x="404" y="392"/>
                  <a:pt x="404" y="393"/>
                </a:cubicBezTo>
                <a:close/>
                <a:moveTo>
                  <a:pt x="408" y="622"/>
                </a:moveTo>
                <a:cubicBezTo>
                  <a:pt x="408" y="626"/>
                  <a:pt x="401" y="622"/>
                  <a:pt x="402" y="620"/>
                </a:cubicBezTo>
                <a:cubicBezTo>
                  <a:pt x="403" y="617"/>
                  <a:pt x="408" y="620"/>
                  <a:pt x="408" y="622"/>
                </a:cubicBezTo>
                <a:close/>
                <a:moveTo>
                  <a:pt x="406" y="655"/>
                </a:moveTo>
                <a:cubicBezTo>
                  <a:pt x="407" y="657"/>
                  <a:pt x="403" y="656"/>
                  <a:pt x="403" y="655"/>
                </a:cubicBezTo>
                <a:cubicBezTo>
                  <a:pt x="403" y="654"/>
                  <a:pt x="405" y="655"/>
                  <a:pt x="406" y="655"/>
                </a:cubicBezTo>
                <a:close/>
                <a:moveTo>
                  <a:pt x="403" y="640"/>
                </a:moveTo>
                <a:cubicBezTo>
                  <a:pt x="402" y="641"/>
                  <a:pt x="402" y="639"/>
                  <a:pt x="403" y="639"/>
                </a:cubicBezTo>
                <a:cubicBezTo>
                  <a:pt x="403" y="640"/>
                  <a:pt x="403" y="640"/>
                  <a:pt x="403" y="640"/>
                </a:cubicBezTo>
                <a:close/>
                <a:moveTo>
                  <a:pt x="402" y="649"/>
                </a:moveTo>
                <a:cubicBezTo>
                  <a:pt x="402" y="651"/>
                  <a:pt x="398" y="649"/>
                  <a:pt x="399" y="648"/>
                </a:cubicBezTo>
                <a:cubicBezTo>
                  <a:pt x="400" y="647"/>
                  <a:pt x="402" y="649"/>
                  <a:pt x="402" y="649"/>
                </a:cubicBezTo>
                <a:close/>
                <a:moveTo>
                  <a:pt x="402" y="492"/>
                </a:moveTo>
                <a:cubicBezTo>
                  <a:pt x="403" y="493"/>
                  <a:pt x="401" y="490"/>
                  <a:pt x="402" y="492"/>
                </a:cubicBezTo>
                <a:close/>
                <a:moveTo>
                  <a:pt x="397" y="651"/>
                </a:moveTo>
                <a:cubicBezTo>
                  <a:pt x="397" y="650"/>
                  <a:pt x="398" y="651"/>
                  <a:pt x="398" y="651"/>
                </a:cubicBezTo>
                <a:cubicBezTo>
                  <a:pt x="399" y="652"/>
                  <a:pt x="397" y="651"/>
                  <a:pt x="397" y="651"/>
                </a:cubicBezTo>
                <a:close/>
                <a:moveTo>
                  <a:pt x="396" y="629"/>
                </a:moveTo>
                <a:cubicBezTo>
                  <a:pt x="397" y="628"/>
                  <a:pt x="398" y="630"/>
                  <a:pt x="398" y="630"/>
                </a:cubicBezTo>
                <a:cubicBezTo>
                  <a:pt x="398" y="631"/>
                  <a:pt x="397" y="629"/>
                  <a:pt x="396" y="629"/>
                </a:cubicBezTo>
                <a:close/>
                <a:moveTo>
                  <a:pt x="402" y="683"/>
                </a:moveTo>
                <a:cubicBezTo>
                  <a:pt x="401" y="683"/>
                  <a:pt x="401" y="683"/>
                  <a:pt x="400" y="682"/>
                </a:cubicBezTo>
                <a:cubicBezTo>
                  <a:pt x="400" y="682"/>
                  <a:pt x="402" y="683"/>
                  <a:pt x="402" y="683"/>
                </a:cubicBezTo>
                <a:close/>
                <a:moveTo>
                  <a:pt x="399" y="681"/>
                </a:moveTo>
                <a:cubicBezTo>
                  <a:pt x="400" y="682"/>
                  <a:pt x="397" y="681"/>
                  <a:pt x="399" y="681"/>
                </a:cubicBezTo>
                <a:close/>
                <a:moveTo>
                  <a:pt x="394" y="689"/>
                </a:moveTo>
                <a:cubicBezTo>
                  <a:pt x="394" y="688"/>
                  <a:pt x="396" y="689"/>
                  <a:pt x="396" y="689"/>
                </a:cubicBezTo>
                <a:cubicBezTo>
                  <a:pt x="397" y="690"/>
                  <a:pt x="395" y="689"/>
                  <a:pt x="394" y="689"/>
                </a:cubicBezTo>
                <a:close/>
                <a:moveTo>
                  <a:pt x="393" y="724"/>
                </a:moveTo>
                <a:cubicBezTo>
                  <a:pt x="394" y="724"/>
                  <a:pt x="390" y="723"/>
                  <a:pt x="393" y="724"/>
                </a:cubicBezTo>
                <a:close/>
                <a:moveTo>
                  <a:pt x="391" y="742"/>
                </a:moveTo>
                <a:cubicBezTo>
                  <a:pt x="391" y="740"/>
                  <a:pt x="392" y="742"/>
                  <a:pt x="393" y="742"/>
                </a:cubicBezTo>
                <a:cubicBezTo>
                  <a:pt x="394" y="743"/>
                  <a:pt x="391" y="742"/>
                  <a:pt x="391" y="742"/>
                </a:cubicBezTo>
                <a:close/>
                <a:moveTo>
                  <a:pt x="399" y="697"/>
                </a:moveTo>
                <a:cubicBezTo>
                  <a:pt x="399" y="701"/>
                  <a:pt x="393" y="699"/>
                  <a:pt x="393" y="697"/>
                </a:cubicBezTo>
                <a:cubicBezTo>
                  <a:pt x="393" y="695"/>
                  <a:pt x="399" y="695"/>
                  <a:pt x="399" y="697"/>
                </a:cubicBezTo>
                <a:close/>
                <a:moveTo>
                  <a:pt x="394" y="717"/>
                </a:moveTo>
                <a:cubicBezTo>
                  <a:pt x="394" y="717"/>
                  <a:pt x="394" y="716"/>
                  <a:pt x="394" y="717"/>
                </a:cubicBezTo>
                <a:cubicBezTo>
                  <a:pt x="394" y="717"/>
                  <a:pt x="394" y="717"/>
                  <a:pt x="394" y="717"/>
                </a:cubicBezTo>
                <a:close/>
                <a:moveTo>
                  <a:pt x="394" y="727"/>
                </a:moveTo>
                <a:cubicBezTo>
                  <a:pt x="393" y="727"/>
                  <a:pt x="394" y="726"/>
                  <a:pt x="394" y="726"/>
                </a:cubicBezTo>
                <a:cubicBezTo>
                  <a:pt x="395" y="726"/>
                  <a:pt x="394" y="728"/>
                  <a:pt x="394" y="727"/>
                </a:cubicBezTo>
                <a:close/>
                <a:moveTo>
                  <a:pt x="395" y="745"/>
                </a:moveTo>
                <a:cubicBezTo>
                  <a:pt x="396" y="746"/>
                  <a:pt x="393" y="745"/>
                  <a:pt x="395" y="745"/>
                </a:cubicBezTo>
                <a:close/>
                <a:moveTo>
                  <a:pt x="396" y="726"/>
                </a:moveTo>
                <a:cubicBezTo>
                  <a:pt x="396" y="726"/>
                  <a:pt x="397" y="726"/>
                  <a:pt x="397" y="726"/>
                </a:cubicBezTo>
                <a:cubicBezTo>
                  <a:pt x="397" y="729"/>
                  <a:pt x="395" y="723"/>
                  <a:pt x="396" y="726"/>
                </a:cubicBezTo>
                <a:close/>
                <a:moveTo>
                  <a:pt x="404" y="726"/>
                </a:moveTo>
                <a:cubicBezTo>
                  <a:pt x="404" y="725"/>
                  <a:pt x="405" y="725"/>
                  <a:pt x="405" y="726"/>
                </a:cubicBezTo>
                <a:cubicBezTo>
                  <a:pt x="406" y="727"/>
                  <a:pt x="404" y="726"/>
                  <a:pt x="404" y="726"/>
                </a:cubicBezTo>
                <a:close/>
                <a:moveTo>
                  <a:pt x="399" y="722"/>
                </a:moveTo>
                <a:cubicBezTo>
                  <a:pt x="404" y="727"/>
                  <a:pt x="392" y="723"/>
                  <a:pt x="394" y="719"/>
                </a:cubicBezTo>
                <a:cubicBezTo>
                  <a:pt x="394" y="719"/>
                  <a:pt x="395" y="719"/>
                  <a:pt x="396" y="719"/>
                </a:cubicBezTo>
                <a:cubicBezTo>
                  <a:pt x="396" y="719"/>
                  <a:pt x="396" y="716"/>
                  <a:pt x="396" y="715"/>
                </a:cubicBezTo>
                <a:cubicBezTo>
                  <a:pt x="396" y="715"/>
                  <a:pt x="399" y="714"/>
                  <a:pt x="400" y="714"/>
                </a:cubicBezTo>
                <a:cubicBezTo>
                  <a:pt x="404" y="713"/>
                  <a:pt x="405" y="717"/>
                  <a:pt x="408" y="718"/>
                </a:cubicBezTo>
                <a:cubicBezTo>
                  <a:pt x="406" y="720"/>
                  <a:pt x="403" y="723"/>
                  <a:pt x="399" y="722"/>
                </a:cubicBezTo>
                <a:close/>
                <a:moveTo>
                  <a:pt x="409" y="735"/>
                </a:moveTo>
                <a:cubicBezTo>
                  <a:pt x="408" y="733"/>
                  <a:pt x="410" y="736"/>
                  <a:pt x="409" y="735"/>
                </a:cubicBezTo>
                <a:close/>
                <a:moveTo>
                  <a:pt x="415" y="738"/>
                </a:moveTo>
                <a:cubicBezTo>
                  <a:pt x="415" y="739"/>
                  <a:pt x="413" y="737"/>
                  <a:pt x="415" y="738"/>
                </a:cubicBezTo>
                <a:close/>
                <a:moveTo>
                  <a:pt x="408" y="727"/>
                </a:moveTo>
                <a:cubicBezTo>
                  <a:pt x="408" y="724"/>
                  <a:pt x="415" y="723"/>
                  <a:pt x="415" y="727"/>
                </a:cubicBezTo>
                <a:cubicBezTo>
                  <a:pt x="416" y="731"/>
                  <a:pt x="408" y="729"/>
                  <a:pt x="408" y="727"/>
                </a:cubicBezTo>
                <a:close/>
                <a:moveTo>
                  <a:pt x="417" y="733"/>
                </a:moveTo>
                <a:cubicBezTo>
                  <a:pt x="415" y="733"/>
                  <a:pt x="417" y="731"/>
                  <a:pt x="417" y="733"/>
                </a:cubicBezTo>
                <a:close/>
                <a:moveTo>
                  <a:pt x="419" y="726"/>
                </a:moveTo>
                <a:cubicBezTo>
                  <a:pt x="419" y="727"/>
                  <a:pt x="419" y="727"/>
                  <a:pt x="418" y="727"/>
                </a:cubicBezTo>
                <a:cubicBezTo>
                  <a:pt x="418" y="727"/>
                  <a:pt x="418" y="726"/>
                  <a:pt x="418" y="726"/>
                </a:cubicBezTo>
                <a:cubicBezTo>
                  <a:pt x="415" y="724"/>
                  <a:pt x="411" y="721"/>
                  <a:pt x="411" y="721"/>
                </a:cubicBezTo>
                <a:cubicBezTo>
                  <a:pt x="412" y="720"/>
                  <a:pt x="418" y="725"/>
                  <a:pt x="421" y="726"/>
                </a:cubicBezTo>
                <a:cubicBezTo>
                  <a:pt x="421" y="726"/>
                  <a:pt x="420" y="726"/>
                  <a:pt x="419" y="726"/>
                </a:cubicBezTo>
                <a:close/>
                <a:moveTo>
                  <a:pt x="420" y="705"/>
                </a:moveTo>
                <a:cubicBezTo>
                  <a:pt x="420" y="704"/>
                  <a:pt x="423" y="707"/>
                  <a:pt x="423" y="707"/>
                </a:cubicBezTo>
                <a:cubicBezTo>
                  <a:pt x="423" y="710"/>
                  <a:pt x="417" y="706"/>
                  <a:pt x="420" y="705"/>
                </a:cubicBezTo>
                <a:close/>
                <a:moveTo>
                  <a:pt x="422" y="709"/>
                </a:moveTo>
                <a:cubicBezTo>
                  <a:pt x="420" y="708"/>
                  <a:pt x="423" y="710"/>
                  <a:pt x="422" y="709"/>
                </a:cubicBezTo>
                <a:close/>
                <a:moveTo>
                  <a:pt x="422" y="712"/>
                </a:moveTo>
                <a:cubicBezTo>
                  <a:pt x="422" y="711"/>
                  <a:pt x="423" y="711"/>
                  <a:pt x="423" y="711"/>
                </a:cubicBezTo>
                <a:cubicBezTo>
                  <a:pt x="423" y="710"/>
                  <a:pt x="423" y="708"/>
                  <a:pt x="425" y="711"/>
                </a:cubicBezTo>
                <a:cubicBezTo>
                  <a:pt x="425" y="711"/>
                  <a:pt x="425" y="711"/>
                  <a:pt x="425" y="711"/>
                </a:cubicBezTo>
                <a:cubicBezTo>
                  <a:pt x="424" y="712"/>
                  <a:pt x="424" y="712"/>
                  <a:pt x="424" y="712"/>
                </a:cubicBezTo>
                <a:cubicBezTo>
                  <a:pt x="424" y="712"/>
                  <a:pt x="424" y="712"/>
                  <a:pt x="424" y="712"/>
                </a:cubicBezTo>
                <a:cubicBezTo>
                  <a:pt x="425" y="715"/>
                  <a:pt x="420" y="713"/>
                  <a:pt x="422" y="712"/>
                </a:cubicBezTo>
                <a:close/>
                <a:moveTo>
                  <a:pt x="425" y="708"/>
                </a:moveTo>
                <a:cubicBezTo>
                  <a:pt x="425" y="707"/>
                  <a:pt x="426" y="707"/>
                  <a:pt x="426" y="708"/>
                </a:cubicBezTo>
                <a:cubicBezTo>
                  <a:pt x="427" y="709"/>
                  <a:pt x="424" y="709"/>
                  <a:pt x="425" y="708"/>
                </a:cubicBezTo>
                <a:close/>
                <a:moveTo>
                  <a:pt x="426" y="712"/>
                </a:moveTo>
                <a:cubicBezTo>
                  <a:pt x="428" y="712"/>
                  <a:pt x="428" y="714"/>
                  <a:pt x="426" y="712"/>
                </a:cubicBezTo>
                <a:close/>
                <a:moveTo>
                  <a:pt x="422" y="722"/>
                </a:moveTo>
                <a:cubicBezTo>
                  <a:pt x="422" y="721"/>
                  <a:pt x="424" y="722"/>
                  <a:pt x="424" y="722"/>
                </a:cubicBezTo>
                <a:cubicBezTo>
                  <a:pt x="425" y="724"/>
                  <a:pt x="421" y="723"/>
                  <a:pt x="422" y="722"/>
                </a:cubicBezTo>
                <a:close/>
                <a:moveTo>
                  <a:pt x="429" y="731"/>
                </a:moveTo>
                <a:cubicBezTo>
                  <a:pt x="425" y="733"/>
                  <a:pt x="428" y="726"/>
                  <a:pt x="428" y="730"/>
                </a:cubicBezTo>
                <a:cubicBezTo>
                  <a:pt x="428" y="730"/>
                  <a:pt x="429" y="731"/>
                  <a:pt x="429" y="731"/>
                </a:cubicBezTo>
                <a:close/>
                <a:moveTo>
                  <a:pt x="428" y="722"/>
                </a:moveTo>
                <a:cubicBezTo>
                  <a:pt x="428" y="721"/>
                  <a:pt x="430" y="723"/>
                  <a:pt x="429" y="723"/>
                </a:cubicBezTo>
                <a:cubicBezTo>
                  <a:pt x="429" y="724"/>
                  <a:pt x="427" y="723"/>
                  <a:pt x="428" y="722"/>
                </a:cubicBezTo>
                <a:cubicBezTo>
                  <a:pt x="427" y="723"/>
                  <a:pt x="424" y="722"/>
                  <a:pt x="424" y="720"/>
                </a:cubicBezTo>
                <a:cubicBezTo>
                  <a:pt x="424" y="720"/>
                  <a:pt x="426" y="718"/>
                  <a:pt x="425" y="718"/>
                </a:cubicBezTo>
                <a:cubicBezTo>
                  <a:pt x="426" y="718"/>
                  <a:pt x="429" y="721"/>
                  <a:pt x="428" y="722"/>
                </a:cubicBezTo>
                <a:close/>
                <a:moveTo>
                  <a:pt x="427" y="702"/>
                </a:moveTo>
                <a:cubicBezTo>
                  <a:pt x="427" y="702"/>
                  <a:pt x="428" y="702"/>
                  <a:pt x="428" y="702"/>
                </a:cubicBezTo>
                <a:cubicBezTo>
                  <a:pt x="428" y="704"/>
                  <a:pt x="426" y="702"/>
                  <a:pt x="427" y="702"/>
                </a:cubicBezTo>
                <a:close/>
                <a:moveTo>
                  <a:pt x="424" y="697"/>
                </a:moveTo>
                <a:cubicBezTo>
                  <a:pt x="425" y="697"/>
                  <a:pt x="429" y="698"/>
                  <a:pt x="430" y="699"/>
                </a:cubicBezTo>
                <a:cubicBezTo>
                  <a:pt x="430" y="700"/>
                  <a:pt x="425" y="699"/>
                  <a:pt x="424" y="697"/>
                </a:cubicBezTo>
                <a:close/>
                <a:moveTo>
                  <a:pt x="430" y="690"/>
                </a:moveTo>
                <a:cubicBezTo>
                  <a:pt x="430" y="690"/>
                  <a:pt x="431" y="690"/>
                  <a:pt x="431" y="690"/>
                </a:cubicBezTo>
                <a:cubicBezTo>
                  <a:pt x="432" y="691"/>
                  <a:pt x="429" y="691"/>
                  <a:pt x="430" y="690"/>
                </a:cubicBezTo>
                <a:close/>
                <a:moveTo>
                  <a:pt x="435" y="698"/>
                </a:moveTo>
                <a:cubicBezTo>
                  <a:pt x="435" y="698"/>
                  <a:pt x="436" y="698"/>
                  <a:pt x="436" y="698"/>
                </a:cubicBezTo>
                <a:cubicBezTo>
                  <a:pt x="436" y="699"/>
                  <a:pt x="435" y="699"/>
                  <a:pt x="435" y="698"/>
                </a:cubicBezTo>
                <a:close/>
                <a:moveTo>
                  <a:pt x="437" y="693"/>
                </a:moveTo>
                <a:cubicBezTo>
                  <a:pt x="435" y="692"/>
                  <a:pt x="438" y="694"/>
                  <a:pt x="437" y="693"/>
                </a:cubicBezTo>
                <a:close/>
                <a:moveTo>
                  <a:pt x="438" y="696"/>
                </a:moveTo>
                <a:cubicBezTo>
                  <a:pt x="439" y="697"/>
                  <a:pt x="437" y="694"/>
                  <a:pt x="438" y="696"/>
                </a:cubicBezTo>
                <a:close/>
                <a:moveTo>
                  <a:pt x="432" y="689"/>
                </a:moveTo>
                <a:cubicBezTo>
                  <a:pt x="429" y="687"/>
                  <a:pt x="433" y="688"/>
                  <a:pt x="434" y="689"/>
                </a:cubicBezTo>
                <a:cubicBezTo>
                  <a:pt x="437" y="690"/>
                  <a:pt x="443" y="691"/>
                  <a:pt x="443" y="693"/>
                </a:cubicBezTo>
                <a:cubicBezTo>
                  <a:pt x="440" y="691"/>
                  <a:pt x="436" y="691"/>
                  <a:pt x="432" y="689"/>
                </a:cubicBezTo>
                <a:close/>
                <a:moveTo>
                  <a:pt x="439" y="682"/>
                </a:moveTo>
                <a:cubicBezTo>
                  <a:pt x="439" y="682"/>
                  <a:pt x="439" y="682"/>
                  <a:pt x="439" y="682"/>
                </a:cubicBezTo>
                <a:cubicBezTo>
                  <a:pt x="438" y="684"/>
                  <a:pt x="437" y="680"/>
                  <a:pt x="439" y="682"/>
                </a:cubicBezTo>
                <a:close/>
                <a:moveTo>
                  <a:pt x="446" y="681"/>
                </a:moveTo>
                <a:cubicBezTo>
                  <a:pt x="446" y="681"/>
                  <a:pt x="447" y="681"/>
                  <a:pt x="447" y="681"/>
                </a:cubicBezTo>
                <a:cubicBezTo>
                  <a:pt x="447" y="682"/>
                  <a:pt x="445" y="682"/>
                  <a:pt x="446" y="681"/>
                </a:cubicBezTo>
                <a:close/>
                <a:moveTo>
                  <a:pt x="442" y="678"/>
                </a:moveTo>
                <a:cubicBezTo>
                  <a:pt x="440" y="677"/>
                  <a:pt x="440" y="675"/>
                  <a:pt x="440" y="674"/>
                </a:cubicBezTo>
                <a:cubicBezTo>
                  <a:pt x="439" y="674"/>
                  <a:pt x="436" y="675"/>
                  <a:pt x="437" y="673"/>
                </a:cubicBezTo>
                <a:cubicBezTo>
                  <a:pt x="438" y="672"/>
                  <a:pt x="438" y="674"/>
                  <a:pt x="439" y="673"/>
                </a:cubicBezTo>
                <a:cubicBezTo>
                  <a:pt x="441" y="673"/>
                  <a:pt x="441" y="672"/>
                  <a:pt x="442" y="672"/>
                </a:cubicBezTo>
                <a:cubicBezTo>
                  <a:pt x="444" y="671"/>
                  <a:pt x="447" y="673"/>
                  <a:pt x="447" y="675"/>
                </a:cubicBezTo>
                <a:cubicBezTo>
                  <a:pt x="447" y="678"/>
                  <a:pt x="445" y="679"/>
                  <a:pt x="442" y="678"/>
                </a:cubicBezTo>
                <a:close/>
                <a:moveTo>
                  <a:pt x="445" y="642"/>
                </a:moveTo>
                <a:cubicBezTo>
                  <a:pt x="446" y="641"/>
                  <a:pt x="447" y="641"/>
                  <a:pt x="447" y="642"/>
                </a:cubicBezTo>
                <a:cubicBezTo>
                  <a:pt x="448" y="643"/>
                  <a:pt x="445" y="642"/>
                  <a:pt x="445" y="642"/>
                </a:cubicBezTo>
                <a:close/>
                <a:moveTo>
                  <a:pt x="447" y="580"/>
                </a:moveTo>
                <a:cubicBezTo>
                  <a:pt x="448" y="579"/>
                  <a:pt x="449" y="581"/>
                  <a:pt x="449" y="581"/>
                </a:cubicBezTo>
                <a:cubicBezTo>
                  <a:pt x="450" y="583"/>
                  <a:pt x="446" y="581"/>
                  <a:pt x="447" y="580"/>
                </a:cubicBezTo>
                <a:close/>
                <a:moveTo>
                  <a:pt x="448" y="651"/>
                </a:moveTo>
                <a:cubicBezTo>
                  <a:pt x="448" y="651"/>
                  <a:pt x="447" y="651"/>
                  <a:pt x="447" y="651"/>
                </a:cubicBezTo>
                <a:cubicBezTo>
                  <a:pt x="448" y="651"/>
                  <a:pt x="448" y="651"/>
                  <a:pt x="448" y="651"/>
                </a:cubicBezTo>
                <a:cubicBezTo>
                  <a:pt x="448" y="651"/>
                  <a:pt x="448" y="651"/>
                  <a:pt x="448" y="651"/>
                </a:cubicBezTo>
                <a:close/>
                <a:moveTo>
                  <a:pt x="448" y="640"/>
                </a:moveTo>
                <a:cubicBezTo>
                  <a:pt x="448" y="640"/>
                  <a:pt x="449" y="640"/>
                  <a:pt x="450" y="641"/>
                </a:cubicBezTo>
                <a:cubicBezTo>
                  <a:pt x="450" y="642"/>
                  <a:pt x="448" y="641"/>
                  <a:pt x="448" y="640"/>
                </a:cubicBezTo>
                <a:close/>
                <a:moveTo>
                  <a:pt x="450" y="636"/>
                </a:moveTo>
                <a:cubicBezTo>
                  <a:pt x="451" y="636"/>
                  <a:pt x="451" y="636"/>
                  <a:pt x="451" y="636"/>
                </a:cubicBezTo>
                <a:cubicBezTo>
                  <a:pt x="452" y="638"/>
                  <a:pt x="449" y="636"/>
                  <a:pt x="450" y="636"/>
                </a:cubicBezTo>
                <a:close/>
                <a:moveTo>
                  <a:pt x="451" y="642"/>
                </a:moveTo>
                <a:cubicBezTo>
                  <a:pt x="452" y="641"/>
                  <a:pt x="453" y="642"/>
                  <a:pt x="454" y="643"/>
                </a:cubicBezTo>
                <a:cubicBezTo>
                  <a:pt x="456" y="646"/>
                  <a:pt x="448" y="644"/>
                  <a:pt x="451" y="642"/>
                </a:cubicBezTo>
                <a:close/>
                <a:moveTo>
                  <a:pt x="451" y="666"/>
                </a:moveTo>
                <a:cubicBezTo>
                  <a:pt x="452" y="665"/>
                  <a:pt x="452" y="666"/>
                  <a:pt x="453" y="666"/>
                </a:cubicBezTo>
                <a:cubicBezTo>
                  <a:pt x="454" y="668"/>
                  <a:pt x="450" y="666"/>
                  <a:pt x="451" y="666"/>
                </a:cubicBezTo>
                <a:close/>
                <a:moveTo>
                  <a:pt x="453" y="682"/>
                </a:moveTo>
                <a:cubicBezTo>
                  <a:pt x="453" y="682"/>
                  <a:pt x="453" y="682"/>
                  <a:pt x="453" y="681"/>
                </a:cubicBezTo>
                <a:cubicBezTo>
                  <a:pt x="454" y="681"/>
                  <a:pt x="454" y="683"/>
                  <a:pt x="453" y="682"/>
                </a:cubicBezTo>
                <a:close/>
                <a:moveTo>
                  <a:pt x="456" y="685"/>
                </a:moveTo>
                <a:cubicBezTo>
                  <a:pt x="456" y="684"/>
                  <a:pt x="457" y="685"/>
                  <a:pt x="458" y="685"/>
                </a:cubicBezTo>
                <a:cubicBezTo>
                  <a:pt x="459" y="686"/>
                  <a:pt x="456" y="686"/>
                  <a:pt x="456" y="685"/>
                </a:cubicBezTo>
                <a:close/>
                <a:moveTo>
                  <a:pt x="458" y="702"/>
                </a:moveTo>
                <a:cubicBezTo>
                  <a:pt x="458" y="701"/>
                  <a:pt x="459" y="701"/>
                  <a:pt x="459" y="702"/>
                </a:cubicBezTo>
                <a:cubicBezTo>
                  <a:pt x="460" y="704"/>
                  <a:pt x="456" y="703"/>
                  <a:pt x="458" y="702"/>
                </a:cubicBezTo>
                <a:close/>
                <a:moveTo>
                  <a:pt x="460" y="691"/>
                </a:moveTo>
                <a:cubicBezTo>
                  <a:pt x="460" y="689"/>
                  <a:pt x="464" y="690"/>
                  <a:pt x="464" y="690"/>
                </a:cubicBezTo>
                <a:cubicBezTo>
                  <a:pt x="466" y="692"/>
                  <a:pt x="460" y="691"/>
                  <a:pt x="460" y="691"/>
                </a:cubicBezTo>
                <a:close/>
                <a:moveTo>
                  <a:pt x="466" y="690"/>
                </a:moveTo>
                <a:cubicBezTo>
                  <a:pt x="465" y="692"/>
                  <a:pt x="465" y="689"/>
                  <a:pt x="466" y="690"/>
                </a:cubicBezTo>
                <a:close/>
                <a:moveTo>
                  <a:pt x="459" y="679"/>
                </a:moveTo>
                <a:cubicBezTo>
                  <a:pt x="459" y="678"/>
                  <a:pt x="459" y="677"/>
                  <a:pt x="459" y="677"/>
                </a:cubicBezTo>
                <a:cubicBezTo>
                  <a:pt x="457" y="676"/>
                  <a:pt x="456" y="677"/>
                  <a:pt x="454" y="677"/>
                </a:cubicBezTo>
                <a:cubicBezTo>
                  <a:pt x="460" y="675"/>
                  <a:pt x="449" y="672"/>
                  <a:pt x="453" y="669"/>
                </a:cubicBezTo>
                <a:cubicBezTo>
                  <a:pt x="454" y="668"/>
                  <a:pt x="457" y="670"/>
                  <a:pt x="457" y="667"/>
                </a:cubicBezTo>
                <a:cubicBezTo>
                  <a:pt x="457" y="671"/>
                  <a:pt x="461" y="666"/>
                  <a:pt x="465" y="667"/>
                </a:cubicBezTo>
                <a:cubicBezTo>
                  <a:pt x="467" y="668"/>
                  <a:pt x="469" y="671"/>
                  <a:pt x="469" y="673"/>
                </a:cubicBezTo>
                <a:cubicBezTo>
                  <a:pt x="469" y="673"/>
                  <a:pt x="462" y="681"/>
                  <a:pt x="459" y="679"/>
                </a:cubicBezTo>
                <a:close/>
                <a:moveTo>
                  <a:pt x="460" y="633"/>
                </a:moveTo>
                <a:cubicBezTo>
                  <a:pt x="461" y="633"/>
                  <a:pt x="458" y="632"/>
                  <a:pt x="460" y="633"/>
                </a:cubicBezTo>
                <a:close/>
                <a:moveTo>
                  <a:pt x="460" y="643"/>
                </a:moveTo>
                <a:cubicBezTo>
                  <a:pt x="459" y="644"/>
                  <a:pt x="459" y="641"/>
                  <a:pt x="460" y="643"/>
                </a:cubicBezTo>
                <a:close/>
                <a:moveTo>
                  <a:pt x="471" y="641"/>
                </a:moveTo>
                <a:cubicBezTo>
                  <a:pt x="467" y="642"/>
                  <a:pt x="468" y="638"/>
                  <a:pt x="471" y="641"/>
                </a:cubicBezTo>
                <a:close/>
                <a:moveTo>
                  <a:pt x="469" y="656"/>
                </a:moveTo>
                <a:cubicBezTo>
                  <a:pt x="470" y="656"/>
                  <a:pt x="467" y="655"/>
                  <a:pt x="469" y="656"/>
                </a:cubicBezTo>
                <a:close/>
                <a:moveTo>
                  <a:pt x="467" y="622"/>
                </a:moveTo>
                <a:cubicBezTo>
                  <a:pt x="467" y="621"/>
                  <a:pt x="468" y="622"/>
                  <a:pt x="468" y="622"/>
                </a:cubicBezTo>
                <a:cubicBezTo>
                  <a:pt x="469" y="624"/>
                  <a:pt x="466" y="622"/>
                  <a:pt x="467" y="622"/>
                </a:cubicBezTo>
                <a:close/>
                <a:moveTo>
                  <a:pt x="466" y="598"/>
                </a:moveTo>
                <a:cubicBezTo>
                  <a:pt x="467" y="598"/>
                  <a:pt x="467" y="599"/>
                  <a:pt x="467" y="599"/>
                </a:cubicBezTo>
                <a:cubicBezTo>
                  <a:pt x="468" y="601"/>
                  <a:pt x="465" y="599"/>
                  <a:pt x="466" y="598"/>
                </a:cubicBezTo>
                <a:close/>
                <a:moveTo>
                  <a:pt x="470" y="684"/>
                </a:moveTo>
                <a:cubicBezTo>
                  <a:pt x="472" y="686"/>
                  <a:pt x="466" y="685"/>
                  <a:pt x="467" y="683"/>
                </a:cubicBezTo>
                <a:cubicBezTo>
                  <a:pt x="468" y="682"/>
                  <a:pt x="470" y="683"/>
                  <a:pt x="470" y="684"/>
                </a:cubicBezTo>
                <a:close/>
                <a:moveTo>
                  <a:pt x="469" y="666"/>
                </a:moveTo>
                <a:cubicBezTo>
                  <a:pt x="469" y="665"/>
                  <a:pt x="470" y="665"/>
                  <a:pt x="470" y="666"/>
                </a:cubicBezTo>
                <a:cubicBezTo>
                  <a:pt x="471" y="667"/>
                  <a:pt x="469" y="666"/>
                  <a:pt x="469" y="666"/>
                </a:cubicBezTo>
                <a:close/>
                <a:moveTo>
                  <a:pt x="470" y="689"/>
                </a:moveTo>
                <a:cubicBezTo>
                  <a:pt x="475" y="693"/>
                  <a:pt x="467" y="695"/>
                  <a:pt x="467" y="690"/>
                </a:cubicBezTo>
                <a:cubicBezTo>
                  <a:pt x="467" y="690"/>
                  <a:pt x="468" y="687"/>
                  <a:pt x="468" y="687"/>
                </a:cubicBezTo>
                <a:cubicBezTo>
                  <a:pt x="472" y="685"/>
                  <a:pt x="474" y="691"/>
                  <a:pt x="470" y="689"/>
                </a:cubicBezTo>
                <a:close/>
                <a:moveTo>
                  <a:pt x="472" y="667"/>
                </a:moveTo>
                <a:cubicBezTo>
                  <a:pt x="472" y="667"/>
                  <a:pt x="473" y="668"/>
                  <a:pt x="473" y="668"/>
                </a:cubicBezTo>
                <a:cubicBezTo>
                  <a:pt x="475" y="670"/>
                  <a:pt x="470" y="668"/>
                  <a:pt x="472" y="667"/>
                </a:cubicBezTo>
                <a:close/>
                <a:moveTo>
                  <a:pt x="474" y="664"/>
                </a:moveTo>
                <a:cubicBezTo>
                  <a:pt x="474" y="664"/>
                  <a:pt x="475" y="664"/>
                  <a:pt x="475" y="665"/>
                </a:cubicBezTo>
                <a:cubicBezTo>
                  <a:pt x="476" y="667"/>
                  <a:pt x="472" y="665"/>
                  <a:pt x="474" y="664"/>
                </a:cubicBezTo>
                <a:close/>
                <a:moveTo>
                  <a:pt x="476" y="687"/>
                </a:moveTo>
                <a:cubicBezTo>
                  <a:pt x="475" y="687"/>
                  <a:pt x="475" y="684"/>
                  <a:pt x="476" y="685"/>
                </a:cubicBezTo>
                <a:cubicBezTo>
                  <a:pt x="476" y="685"/>
                  <a:pt x="476" y="686"/>
                  <a:pt x="476" y="687"/>
                </a:cubicBezTo>
                <a:close/>
                <a:moveTo>
                  <a:pt x="476" y="673"/>
                </a:moveTo>
                <a:cubicBezTo>
                  <a:pt x="476" y="673"/>
                  <a:pt x="477" y="672"/>
                  <a:pt x="477" y="673"/>
                </a:cubicBezTo>
                <a:cubicBezTo>
                  <a:pt x="478" y="674"/>
                  <a:pt x="476" y="674"/>
                  <a:pt x="476" y="673"/>
                </a:cubicBezTo>
                <a:close/>
                <a:moveTo>
                  <a:pt x="481" y="671"/>
                </a:moveTo>
                <a:cubicBezTo>
                  <a:pt x="477" y="671"/>
                  <a:pt x="479" y="668"/>
                  <a:pt x="481" y="671"/>
                </a:cubicBezTo>
                <a:close/>
                <a:moveTo>
                  <a:pt x="482" y="658"/>
                </a:moveTo>
                <a:cubicBezTo>
                  <a:pt x="477" y="657"/>
                  <a:pt x="479" y="654"/>
                  <a:pt x="482" y="658"/>
                </a:cubicBezTo>
                <a:close/>
                <a:moveTo>
                  <a:pt x="480" y="668"/>
                </a:moveTo>
                <a:cubicBezTo>
                  <a:pt x="481" y="667"/>
                  <a:pt x="481" y="669"/>
                  <a:pt x="480" y="668"/>
                </a:cubicBezTo>
                <a:close/>
                <a:moveTo>
                  <a:pt x="487" y="691"/>
                </a:moveTo>
                <a:cubicBezTo>
                  <a:pt x="488" y="690"/>
                  <a:pt x="489" y="692"/>
                  <a:pt x="489" y="692"/>
                </a:cubicBezTo>
                <a:cubicBezTo>
                  <a:pt x="490" y="695"/>
                  <a:pt x="486" y="693"/>
                  <a:pt x="487" y="691"/>
                </a:cubicBezTo>
                <a:close/>
                <a:moveTo>
                  <a:pt x="493" y="686"/>
                </a:moveTo>
                <a:cubicBezTo>
                  <a:pt x="493" y="686"/>
                  <a:pt x="493" y="686"/>
                  <a:pt x="493" y="686"/>
                </a:cubicBezTo>
                <a:cubicBezTo>
                  <a:pt x="493" y="686"/>
                  <a:pt x="493" y="686"/>
                  <a:pt x="493" y="686"/>
                </a:cubicBezTo>
                <a:cubicBezTo>
                  <a:pt x="493" y="686"/>
                  <a:pt x="493" y="686"/>
                  <a:pt x="493" y="686"/>
                </a:cubicBezTo>
                <a:close/>
                <a:moveTo>
                  <a:pt x="495" y="682"/>
                </a:moveTo>
                <a:cubicBezTo>
                  <a:pt x="497" y="683"/>
                  <a:pt x="494" y="681"/>
                  <a:pt x="495" y="682"/>
                </a:cubicBezTo>
                <a:close/>
                <a:moveTo>
                  <a:pt x="497" y="681"/>
                </a:moveTo>
                <a:cubicBezTo>
                  <a:pt x="497" y="681"/>
                  <a:pt x="497" y="681"/>
                  <a:pt x="497" y="681"/>
                </a:cubicBezTo>
                <a:cubicBezTo>
                  <a:pt x="496" y="680"/>
                  <a:pt x="497" y="681"/>
                  <a:pt x="497" y="681"/>
                </a:cubicBezTo>
                <a:close/>
                <a:moveTo>
                  <a:pt x="496" y="673"/>
                </a:moveTo>
                <a:cubicBezTo>
                  <a:pt x="497" y="674"/>
                  <a:pt x="494" y="674"/>
                  <a:pt x="495" y="673"/>
                </a:cubicBezTo>
                <a:cubicBezTo>
                  <a:pt x="495" y="673"/>
                  <a:pt x="496" y="672"/>
                  <a:pt x="496" y="673"/>
                </a:cubicBezTo>
                <a:close/>
                <a:moveTo>
                  <a:pt x="494" y="670"/>
                </a:moveTo>
                <a:cubicBezTo>
                  <a:pt x="494" y="670"/>
                  <a:pt x="495" y="669"/>
                  <a:pt x="495" y="670"/>
                </a:cubicBezTo>
                <a:cubicBezTo>
                  <a:pt x="496" y="671"/>
                  <a:pt x="492" y="670"/>
                  <a:pt x="494" y="670"/>
                </a:cubicBezTo>
                <a:close/>
                <a:moveTo>
                  <a:pt x="492" y="681"/>
                </a:moveTo>
                <a:cubicBezTo>
                  <a:pt x="492" y="682"/>
                  <a:pt x="494" y="684"/>
                  <a:pt x="494" y="685"/>
                </a:cubicBezTo>
                <a:cubicBezTo>
                  <a:pt x="493" y="685"/>
                  <a:pt x="489" y="685"/>
                  <a:pt x="492" y="682"/>
                </a:cubicBezTo>
                <a:cubicBezTo>
                  <a:pt x="488" y="683"/>
                  <a:pt x="489" y="680"/>
                  <a:pt x="492" y="681"/>
                </a:cubicBezTo>
                <a:close/>
                <a:moveTo>
                  <a:pt x="488" y="684"/>
                </a:moveTo>
                <a:cubicBezTo>
                  <a:pt x="488" y="684"/>
                  <a:pt x="490" y="685"/>
                  <a:pt x="490" y="685"/>
                </a:cubicBezTo>
                <a:cubicBezTo>
                  <a:pt x="491" y="687"/>
                  <a:pt x="486" y="686"/>
                  <a:pt x="488" y="684"/>
                </a:cubicBezTo>
                <a:close/>
                <a:moveTo>
                  <a:pt x="485" y="687"/>
                </a:moveTo>
                <a:cubicBezTo>
                  <a:pt x="485" y="686"/>
                  <a:pt x="486" y="685"/>
                  <a:pt x="487" y="687"/>
                </a:cubicBezTo>
                <a:cubicBezTo>
                  <a:pt x="489" y="688"/>
                  <a:pt x="485" y="688"/>
                  <a:pt x="485" y="687"/>
                </a:cubicBezTo>
                <a:close/>
                <a:moveTo>
                  <a:pt x="485" y="684"/>
                </a:moveTo>
                <a:cubicBezTo>
                  <a:pt x="485" y="683"/>
                  <a:pt x="486" y="683"/>
                  <a:pt x="486" y="683"/>
                </a:cubicBezTo>
                <a:cubicBezTo>
                  <a:pt x="487" y="685"/>
                  <a:pt x="485" y="684"/>
                  <a:pt x="485" y="684"/>
                </a:cubicBezTo>
                <a:close/>
                <a:moveTo>
                  <a:pt x="485" y="683"/>
                </a:moveTo>
                <a:cubicBezTo>
                  <a:pt x="480" y="684"/>
                  <a:pt x="485" y="678"/>
                  <a:pt x="487" y="680"/>
                </a:cubicBezTo>
                <a:cubicBezTo>
                  <a:pt x="487" y="680"/>
                  <a:pt x="485" y="683"/>
                  <a:pt x="485" y="683"/>
                </a:cubicBezTo>
                <a:close/>
                <a:moveTo>
                  <a:pt x="484" y="665"/>
                </a:moveTo>
                <a:cubicBezTo>
                  <a:pt x="484" y="665"/>
                  <a:pt x="485" y="666"/>
                  <a:pt x="485" y="666"/>
                </a:cubicBezTo>
                <a:cubicBezTo>
                  <a:pt x="486" y="667"/>
                  <a:pt x="483" y="666"/>
                  <a:pt x="484" y="665"/>
                </a:cubicBezTo>
                <a:close/>
                <a:moveTo>
                  <a:pt x="486" y="676"/>
                </a:moveTo>
                <a:cubicBezTo>
                  <a:pt x="485" y="676"/>
                  <a:pt x="483" y="672"/>
                  <a:pt x="481" y="672"/>
                </a:cubicBezTo>
                <a:cubicBezTo>
                  <a:pt x="484" y="671"/>
                  <a:pt x="487" y="675"/>
                  <a:pt x="486" y="676"/>
                </a:cubicBezTo>
                <a:close/>
                <a:moveTo>
                  <a:pt x="484" y="651"/>
                </a:moveTo>
                <a:cubicBezTo>
                  <a:pt x="482" y="653"/>
                  <a:pt x="480" y="649"/>
                  <a:pt x="479" y="648"/>
                </a:cubicBezTo>
                <a:cubicBezTo>
                  <a:pt x="480" y="648"/>
                  <a:pt x="485" y="650"/>
                  <a:pt x="484" y="651"/>
                </a:cubicBezTo>
                <a:close/>
                <a:moveTo>
                  <a:pt x="482" y="644"/>
                </a:moveTo>
                <a:cubicBezTo>
                  <a:pt x="484" y="644"/>
                  <a:pt x="483" y="646"/>
                  <a:pt x="482" y="644"/>
                </a:cubicBezTo>
                <a:close/>
                <a:moveTo>
                  <a:pt x="482" y="639"/>
                </a:moveTo>
                <a:cubicBezTo>
                  <a:pt x="483" y="642"/>
                  <a:pt x="477" y="641"/>
                  <a:pt x="478" y="639"/>
                </a:cubicBezTo>
                <a:cubicBezTo>
                  <a:pt x="479" y="637"/>
                  <a:pt x="482" y="638"/>
                  <a:pt x="482" y="639"/>
                </a:cubicBezTo>
                <a:close/>
                <a:moveTo>
                  <a:pt x="481" y="637"/>
                </a:moveTo>
                <a:cubicBezTo>
                  <a:pt x="480" y="636"/>
                  <a:pt x="481" y="635"/>
                  <a:pt x="481" y="637"/>
                </a:cubicBezTo>
                <a:close/>
                <a:moveTo>
                  <a:pt x="482" y="621"/>
                </a:moveTo>
                <a:cubicBezTo>
                  <a:pt x="481" y="622"/>
                  <a:pt x="481" y="621"/>
                  <a:pt x="480" y="621"/>
                </a:cubicBezTo>
                <a:cubicBezTo>
                  <a:pt x="481" y="620"/>
                  <a:pt x="481" y="621"/>
                  <a:pt x="482" y="621"/>
                </a:cubicBezTo>
                <a:close/>
                <a:moveTo>
                  <a:pt x="480" y="622"/>
                </a:moveTo>
                <a:cubicBezTo>
                  <a:pt x="481" y="622"/>
                  <a:pt x="480" y="623"/>
                  <a:pt x="479" y="622"/>
                </a:cubicBezTo>
                <a:cubicBezTo>
                  <a:pt x="479" y="622"/>
                  <a:pt x="480" y="621"/>
                  <a:pt x="480" y="622"/>
                </a:cubicBezTo>
                <a:close/>
                <a:moveTo>
                  <a:pt x="479" y="615"/>
                </a:moveTo>
                <a:cubicBezTo>
                  <a:pt x="480" y="616"/>
                  <a:pt x="477" y="615"/>
                  <a:pt x="477" y="615"/>
                </a:cubicBezTo>
                <a:cubicBezTo>
                  <a:pt x="477" y="614"/>
                  <a:pt x="479" y="614"/>
                  <a:pt x="479" y="615"/>
                </a:cubicBezTo>
                <a:close/>
                <a:moveTo>
                  <a:pt x="477" y="640"/>
                </a:moveTo>
                <a:cubicBezTo>
                  <a:pt x="478" y="641"/>
                  <a:pt x="476" y="638"/>
                  <a:pt x="477" y="640"/>
                </a:cubicBezTo>
                <a:close/>
                <a:moveTo>
                  <a:pt x="477" y="654"/>
                </a:moveTo>
                <a:cubicBezTo>
                  <a:pt x="478" y="655"/>
                  <a:pt x="476" y="654"/>
                  <a:pt x="476" y="654"/>
                </a:cubicBezTo>
                <a:cubicBezTo>
                  <a:pt x="475" y="653"/>
                  <a:pt x="477" y="654"/>
                  <a:pt x="477" y="654"/>
                </a:cubicBezTo>
                <a:close/>
                <a:moveTo>
                  <a:pt x="476" y="611"/>
                </a:moveTo>
                <a:cubicBezTo>
                  <a:pt x="477" y="612"/>
                  <a:pt x="475" y="609"/>
                  <a:pt x="476" y="611"/>
                </a:cubicBezTo>
                <a:close/>
                <a:moveTo>
                  <a:pt x="476" y="642"/>
                </a:moveTo>
                <a:cubicBezTo>
                  <a:pt x="475" y="643"/>
                  <a:pt x="475" y="640"/>
                  <a:pt x="476" y="642"/>
                </a:cubicBezTo>
                <a:close/>
                <a:moveTo>
                  <a:pt x="474" y="617"/>
                </a:moveTo>
                <a:cubicBezTo>
                  <a:pt x="475" y="617"/>
                  <a:pt x="474" y="618"/>
                  <a:pt x="473" y="617"/>
                </a:cubicBezTo>
                <a:cubicBezTo>
                  <a:pt x="473" y="617"/>
                  <a:pt x="474" y="616"/>
                  <a:pt x="474" y="617"/>
                </a:cubicBezTo>
                <a:close/>
                <a:moveTo>
                  <a:pt x="476" y="646"/>
                </a:moveTo>
                <a:cubicBezTo>
                  <a:pt x="475" y="645"/>
                  <a:pt x="474" y="644"/>
                  <a:pt x="473" y="644"/>
                </a:cubicBezTo>
                <a:cubicBezTo>
                  <a:pt x="474" y="644"/>
                  <a:pt x="476" y="645"/>
                  <a:pt x="476" y="646"/>
                </a:cubicBezTo>
                <a:close/>
                <a:moveTo>
                  <a:pt x="475" y="654"/>
                </a:moveTo>
                <a:cubicBezTo>
                  <a:pt x="475" y="654"/>
                  <a:pt x="474" y="657"/>
                  <a:pt x="473" y="656"/>
                </a:cubicBezTo>
                <a:cubicBezTo>
                  <a:pt x="471" y="655"/>
                  <a:pt x="474" y="651"/>
                  <a:pt x="475" y="654"/>
                </a:cubicBezTo>
                <a:close/>
                <a:moveTo>
                  <a:pt x="474" y="661"/>
                </a:moveTo>
                <a:cubicBezTo>
                  <a:pt x="476" y="667"/>
                  <a:pt x="462" y="660"/>
                  <a:pt x="467" y="656"/>
                </a:cubicBezTo>
                <a:cubicBezTo>
                  <a:pt x="466" y="657"/>
                  <a:pt x="470" y="657"/>
                  <a:pt x="469" y="657"/>
                </a:cubicBezTo>
                <a:cubicBezTo>
                  <a:pt x="470" y="657"/>
                  <a:pt x="474" y="660"/>
                  <a:pt x="474" y="661"/>
                </a:cubicBezTo>
                <a:close/>
                <a:moveTo>
                  <a:pt x="468" y="591"/>
                </a:moveTo>
                <a:cubicBezTo>
                  <a:pt x="466" y="590"/>
                  <a:pt x="467" y="589"/>
                  <a:pt x="466" y="588"/>
                </a:cubicBezTo>
                <a:cubicBezTo>
                  <a:pt x="466" y="587"/>
                  <a:pt x="465" y="586"/>
                  <a:pt x="465" y="585"/>
                </a:cubicBezTo>
                <a:cubicBezTo>
                  <a:pt x="466" y="581"/>
                  <a:pt x="472" y="585"/>
                  <a:pt x="471" y="589"/>
                </a:cubicBezTo>
                <a:cubicBezTo>
                  <a:pt x="471" y="590"/>
                  <a:pt x="470" y="593"/>
                  <a:pt x="468" y="591"/>
                </a:cubicBezTo>
                <a:close/>
                <a:moveTo>
                  <a:pt x="466" y="483"/>
                </a:moveTo>
                <a:cubicBezTo>
                  <a:pt x="468" y="484"/>
                  <a:pt x="467" y="485"/>
                  <a:pt x="469" y="486"/>
                </a:cubicBezTo>
                <a:cubicBezTo>
                  <a:pt x="468" y="486"/>
                  <a:pt x="466" y="485"/>
                  <a:pt x="466" y="483"/>
                </a:cubicBezTo>
                <a:close/>
                <a:moveTo>
                  <a:pt x="475" y="566"/>
                </a:moveTo>
                <a:cubicBezTo>
                  <a:pt x="476" y="565"/>
                  <a:pt x="478" y="567"/>
                  <a:pt x="478" y="567"/>
                </a:cubicBezTo>
                <a:cubicBezTo>
                  <a:pt x="479" y="569"/>
                  <a:pt x="474" y="567"/>
                  <a:pt x="475" y="566"/>
                </a:cubicBezTo>
                <a:close/>
                <a:moveTo>
                  <a:pt x="477" y="592"/>
                </a:moveTo>
                <a:cubicBezTo>
                  <a:pt x="477" y="592"/>
                  <a:pt x="476" y="591"/>
                  <a:pt x="477" y="592"/>
                </a:cubicBezTo>
                <a:cubicBezTo>
                  <a:pt x="477" y="593"/>
                  <a:pt x="477" y="592"/>
                  <a:pt x="477" y="592"/>
                </a:cubicBezTo>
                <a:close/>
                <a:moveTo>
                  <a:pt x="477" y="587"/>
                </a:moveTo>
                <a:cubicBezTo>
                  <a:pt x="478" y="586"/>
                  <a:pt x="479" y="588"/>
                  <a:pt x="480" y="588"/>
                </a:cubicBezTo>
                <a:cubicBezTo>
                  <a:pt x="480" y="591"/>
                  <a:pt x="475" y="588"/>
                  <a:pt x="477" y="587"/>
                </a:cubicBezTo>
                <a:close/>
                <a:moveTo>
                  <a:pt x="479" y="454"/>
                </a:moveTo>
                <a:cubicBezTo>
                  <a:pt x="478" y="453"/>
                  <a:pt x="480" y="456"/>
                  <a:pt x="479" y="454"/>
                </a:cubicBezTo>
                <a:close/>
                <a:moveTo>
                  <a:pt x="496" y="587"/>
                </a:moveTo>
                <a:cubicBezTo>
                  <a:pt x="497" y="588"/>
                  <a:pt x="495" y="587"/>
                  <a:pt x="495" y="586"/>
                </a:cubicBezTo>
                <a:cubicBezTo>
                  <a:pt x="496" y="586"/>
                  <a:pt x="496" y="586"/>
                  <a:pt x="496" y="587"/>
                </a:cubicBezTo>
                <a:close/>
                <a:moveTo>
                  <a:pt x="496" y="580"/>
                </a:moveTo>
                <a:cubicBezTo>
                  <a:pt x="495" y="578"/>
                  <a:pt x="496" y="582"/>
                  <a:pt x="496" y="580"/>
                </a:cubicBezTo>
                <a:close/>
                <a:moveTo>
                  <a:pt x="496" y="559"/>
                </a:moveTo>
                <a:cubicBezTo>
                  <a:pt x="496" y="559"/>
                  <a:pt x="496" y="559"/>
                  <a:pt x="496" y="560"/>
                </a:cubicBezTo>
                <a:cubicBezTo>
                  <a:pt x="497" y="561"/>
                  <a:pt x="496" y="560"/>
                  <a:pt x="496" y="559"/>
                </a:cubicBezTo>
                <a:close/>
                <a:moveTo>
                  <a:pt x="496" y="596"/>
                </a:moveTo>
                <a:cubicBezTo>
                  <a:pt x="495" y="595"/>
                  <a:pt x="497" y="597"/>
                  <a:pt x="496" y="596"/>
                </a:cubicBezTo>
                <a:close/>
                <a:moveTo>
                  <a:pt x="496" y="590"/>
                </a:moveTo>
                <a:cubicBezTo>
                  <a:pt x="497" y="589"/>
                  <a:pt x="498" y="592"/>
                  <a:pt x="496" y="592"/>
                </a:cubicBezTo>
                <a:cubicBezTo>
                  <a:pt x="495" y="593"/>
                  <a:pt x="495" y="591"/>
                  <a:pt x="496" y="590"/>
                </a:cubicBezTo>
                <a:close/>
                <a:moveTo>
                  <a:pt x="499" y="609"/>
                </a:moveTo>
                <a:cubicBezTo>
                  <a:pt x="502" y="612"/>
                  <a:pt x="502" y="609"/>
                  <a:pt x="504" y="609"/>
                </a:cubicBezTo>
                <a:cubicBezTo>
                  <a:pt x="504" y="609"/>
                  <a:pt x="506" y="610"/>
                  <a:pt x="506" y="611"/>
                </a:cubicBezTo>
                <a:cubicBezTo>
                  <a:pt x="508" y="615"/>
                  <a:pt x="499" y="614"/>
                  <a:pt x="499" y="609"/>
                </a:cubicBezTo>
                <a:close/>
                <a:moveTo>
                  <a:pt x="505" y="598"/>
                </a:moveTo>
                <a:cubicBezTo>
                  <a:pt x="505" y="600"/>
                  <a:pt x="503" y="601"/>
                  <a:pt x="501" y="601"/>
                </a:cubicBezTo>
                <a:cubicBezTo>
                  <a:pt x="498" y="601"/>
                  <a:pt x="497" y="598"/>
                  <a:pt x="497" y="595"/>
                </a:cubicBezTo>
                <a:cubicBezTo>
                  <a:pt x="497" y="595"/>
                  <a:pt x="497" y="594"/>
                  <a:pt x="496" y="594"/>
                </a:cubicBezTo>
                <a:cubicBezTo>
                  <a:pt x="497" y="593"/>
                  <a:pt x="500" y="593"/>
                  <a:pt x="500" y="593"/>
                </a:cubicBezTo>
                <a:cubicBezTo>
                  <a:pt x="501" y="591"/>
                  <a:pt x="496" y="591"/>
                  <a:pt x="497" y="589"/>
                </a:cubicBezTo>
                <a:cubicBezTo>
                  <a:pt x="498" y="587"/>
                  <a:pt x="500" y="590"/>
                  <a:pt x="500" y="591"/>
                </a:cubicBezTo>
                <a:cubicBezTo>
                  <a:pt x="502" y="592"/>
                  <a:pt x="503" y="590"/>
                  <a:pt x="503" y="593"/>
                </a:cubicBezTo>
                <a:cubicBezTo>
                  <a:pt x="503" y="594"/>
                  <a:pt x="506" y="597"/>
                  <a:pt x="506" y="597"/>
                </a:cubicBezTo>
                <a:cubicBezTo>
                  <a:pt x="507" y="597"/>
                  <a:pt x="507" y="595"/>
                  <a:pt x="508" y="597"/>
                </a:cubicBezTo>
                <a:cubicBezTo>
                  <a:pt x="508" y="596"/>
                  <a:pt x="507" y="600"/>
                  <a:pt x="508" y="600"/>
                </a:cubicBezTo>
                <a:cubicBezTo>
                  <a:pt x="507" y="600"/>
                  <a:pt x="506" y="600"/>
                  <a:pt x="505" y="598"/>
                </a:cubicBezTo>
                <a:close/>
                <a:moveTo>
                  <a:pt x="499" y="528"/>
                </a:moveTo>
                <a:cubicBezTo>
                  <a:pt x="500" y="528"/>
                  <a:pt x="500" y="529"/>
                  <a:pt x="501" y="529"/>
                </a:cubicBezTo>
                <a:cubicBezTo>
                  <a:pt x="502" y="530"/>
                  <a:pt x="498" y="529"/>
                  <a:pt x="499" y="528"/>
                </a:cubicBezTo>
                <a:close/>
                <a:moveTo>
                  <a:pt x="501" y="521"/>
                </a:moveTo>
                <a:cubicBezTo>
                  <a:pt x="502" y="520"/>
                  <a:pt x="502" y="522"/>
                  <a:pt x="502" y="522"/>
                </a:cubicBezTo>
                <a:cubicBezTo>
                  <a:pt x="502" y="523"/>
                  <a:pt x="500" y="521"/>
                  <a:pt x="501" y="521"/>
                </a:cubicBezTo>
                <a:close/>
                <a:moveTo>
                  <a:pt x="509" y="616"/>
                </a:moveTo>
                <a:cubicBezTo>
                  <a:pt x="508" y="616"/>
                  <a:pt x="507" y="614"/>
                  <a:pt x="508" y="614"/>
                </a:cubicBezTo>
                <a:cubicBezTo>
                  <a:pt x="510" y="614"/>
                  <a:pt x="510" y="616"/>
                  <a:pt x="509" y="616"/>
                </a:cubicBezTo>
                <a:close/>
                <a:moveTo>
                  <a:pt x="510" y="615"/>
                </a:moveTo>
                <a:cubicBezTo>
                  <a:pt x="510" y="615"/>
                  <a:pt x="511" y="615"/>
                  <a:pt x="511" y="616"/>
                </a:cubicBezTo>
                <a:cubicBezTo>
                  <a:pt x="512" y="617"/>
                  <a:pt x="510" y="616"/>
                  <a:pt x="510" y="615"/>
                </a:cubicBezTo>
                <a:close/>
                <a:moveTo>
                  <a:pt x="515" y="611"/>
                </a:moveTo>
                <a:cubicBezTo>
                  <a:pt x="514" y="610"/>
                  <a:pt x="516" y="610"/>
                  <a:pt x="515" y="611"/>
                </a:cubicBezTo>
                <a:close/>
                <a:moveTo>
                  <a:pt x="518" y="606"/>
                </a:moveTo>
                <a:cubicBezTo>
                  <a:pt x="517" y="604"/>
                  <a:pt x="519" y="603"/>
                  <a:pt x="518" y="606"/>
                </a:cubicBezTo>
                <a:close/>
                <a:moveTo>
                  <a:pt x="518" y="567"/>
                </a:moveTo>
                <a:cubicBezTo>
                  <a:pt x="517" y="568"/>
                  <a:pt x="518" y="565"/>
                  <a:pt x="518" y="567"/>
                </a:cubicBezTo>
                <a:close/>
                <a:moveTo>
                  <a:pt x="520" y="607"/>
                </a:moveTo>
                <a:cubicBezTo>
                  <a:pt x="519" y="607"/>
                  <a:pt x="520" y="607"/>
                  <a:pt x="520" y="607"/>
                </a:cubicBezTo>
                <a:close/>
                <a:moveTo>
                  <a:pt x="520" y="607"/>
                </a:moveTo>
                <a:cubicBezTo>
                  <a:pt x="520" y="608"/>
                  <a:pt x="520" y="608"/>
                  <a:pt x="520" y="608"/>
                </a:cubicBezTo>
                <a:cubicBezTo>
                  <a:pt x="520" y="608"/>
                  <a:pt x="520" y="608"/>
                  <a:pt x="520" y="608"/>
                </a:cubicBezTo>
                <a:cubicBezTo>
                  <a:pt x="520" y="608"/>
                  <a:pt x="520" y="608"/>
                  <a:pt x="520" y="607"/>
                </a:cubicBezTo>
                <a:close/>
                <a:moveTo>
                  <a:pt x="520" y="587"/>
                </a:moveTo>
                <a:cubicBezTo>
                  <a:pt x="520" y="587"/>
                  <a:pt x="521" y="588"/>
                  <a:pt x="521" y="588"/>
                </a:cubicBezTo>
                <a:cubicBezTo>
                  <a:pt x="522" y="589"/>
                  <a:pt x="519" y="588"/>
                  <a:pt x="520" y="587"/>
                </a:cubicBezTo>
                <a:close/>
                <a:moveTo>
                  <a:pt x="524" y="590"/>
                </a:moveTo>
                <a:cubicBezTo>
                  <a:pt x="523" y="591"/>
                  <a:pt x="524" y="588"/>
                  <a:pt x="524" y="590"/>
                </a:cubicBezTo>
                <a:close/>
                <a:moveTo>
                  <a:pt x="525" y="609"/>
                </a:moveTo>
                <a:cubicBezTo>
                  <a:pt x="528" y="610"/>
                  <a:pt x="527" y="613"/>
                  <a:pt x="529" y="615"/>
                </a:cubicBezTo>
                <a:cubicBezTo>
                  <a:pt x="527" y="614"/>
                  <a:pt x="526" y="611"/>
                  <a:pt x="525" y="609"/>
                </a:cubicBezTo>
                <a:close/>
                <a:moveTo>
                  <a:pt x="525" y="580"/>
                </a:moveTo>
                <a:cubicBezTo>
                  <a:pt x="525" y="582"/>
                  <a:pt x="522" y="580"/>
                  <a:pt x="523" y="579"/>
                </a:cubicBezTo>
                <a:cubicBezTo>
                  <a:pt x="524" y="578"/>
                  <a:pt x="525" y="579"/>
                  <a:pt x="525" y="580"/>
                </a:cubicBezTo>
                <a:close/>
                <a:moveTo>
                  <a:pt x="524" y="565"/>
                </a:moveTo>
                <a:cubicBezTo>
                  <a:pt x="524" y="564"/>
                  <a:pt x="525" y="566"/>
                  <a:pt x="525" y="566"/>
                </a:cubicBezTo>
                <a:cubicBezTo>
                  <a:pt x="525" y="568"/>
                  <a:pt x="523" y="566"/>
                  <a:pt x="524" y="565"/>
                </a:cubicBezTo>
                <a:close/>
                <a:moveTo>
                  <a:pt x="524" y="549"/>
                </a:moveTo>
                <a:cubicBezTo>
                  <a:pt x="525" y="547"/>
                  <a:pt x="529" y="549"/>
                  <a:pt x="529" y="551"/>
                </a:cubicBezTo>
                <a:cubicBezTo>
                  <a:pt x="530" y="557"/>
                  <a:pt x="524" y="550"/>
                  <a:pt x="524" y="549"/>
                </a:cubicBezTo>
                <a:close/>
                <a:moveTo>
                  <a:pt x="525" y="541"/>
                </a:moveTo>
                <a:cubicBezTo>
                  <a:pt x="523" y="541"/>
                  <a:pt x="525" y="539"/>
                  <a:pt x="525" y="541"/>
                </a:cubicBezTo>
                <a:close/>
                <a:moveTo>
                  <a:pt x="526" y="576"/>
                </a:moveTo>
                <a:cubicBezTo>
                  <a:pt x="526" y="576"/>
                  <a:pt x="526" y="576"/>
                  <a:pt x="526" y="576"/>
                </a:cubicBezTo>
                <a:cubicBezTo>
                  <a:pt x="526" y="574"/>
                  <a:pt x="526" y="576"/>
                  <a:pt x="526" y="576"/>
                </a:cubicBezTo>
                <a:close/>
                <a:moveTo>
                  <a:pt x="530" y="596"/>
                </a:moveTo>
                <a:cubicBezTo>
                  <a:pt x="530" y="596"/>
                  <a:pt x="530" y="597"/>
                  <a:pt x="531" y="597"/>
                </a:cubicBezTo>
                <a:cubicBezTo>
                  <a:pt x="531" y="599"/>
                  <a:pt x="528" y="596"/>
                  <a:pt x="530" y="596"/>
                </a:cubicBezTo>
                <a:close/>
                <a:moveTo>
                  <a:pt x="527" y="595"/>
                </a:moveTo>
                <a:cubicBezTo>
                  <a:pt x="526" y="594"/>
                  <a:pt x="528" y="590"/>
                  <a:pt x="530" y="591"/>
                </a:cubicBezTo>
                <a:cubicBezTo>
                  <a:pt x="532" y="592"/>
                  <a:pt x="531" y="598"/>
                  <a:pt x="527" y="595"/>
                </a:cubicBezTo>
                <a:close/>
                <a:moveTo>
                  <a:pt x="533" y="617"/>
                </a:moveTo>
                <a:cubicBezTo>
                  <a:pt x="533" y="618"/>
                  <a:pt x="532" y="616"/>
                  <a:pt x="533" y="617"/>
                </a:cubicBezTo>
                <a:close/>
                <a:moveTo>
                  <a:pt x="533" y="600"/>
                </a:moveTo>
                <a:cubicBezTo>
                  <a:pt x="534" y="601"/>
                  <a:pt x="531" y="600"/>
                  <a:pt x="532" y="599"/>
                </a:cubicBezTo>
                <a:cubicBezTo>
                  <a:pt x="532" y="598"/>
                  <a:pt x="533" y="599"/>
                  <a:pt x="533" y="600"/>
                </a:cubicBezTo>
                <a:close/>
                <a:moveTo>
                  <a:pt x="531" y="579"/>
                </a:moveTo>
                <a:cubicBezTo>
                  <a:pt x="530" y="577"/>
                  <a:pt x="529" y="575"/>
                  <a:pt x="529" y="572"/>
                </a:cubicBezTo>
                <a:cubicBezTo>
                  <a:pt x="530" y="574"/>
                  <a:pt x="531" y="576"/>
                  <a:pt x="531" y="579"/>
                </a:cubicBezTo>
                <a:close/>
                <a:moveTo>
                  <a:pt x="532" y="541"/>
                </a:moveTo>
                <a:cubicBezTo>
                  <a:pt x="533" y="541"/>
                  <a:pt x="530" y="540"/>
                  <a:pt x="532" y="541"/>
                </a:cubicBezTo>
                <a:close/>
                <a:moveTo>
                  <a:pt x="531" y="502"/>
                </a:moveTo>
                <a:cubicBezTo>
                  <a:pt x="529" y="501"/>
                  <a:pt x="529" y="499"/>
                  <a:pt x="529" y="498"/>
                </a:cubicBezTo>
                <a:cubicBezTo>
                  <a:pt x="530" y="499"/>
                  <a:pt x="530" y="500"/>
                  <a:pt x="531" y="502"/>
                </a:cubicBezTo>
                <a:close/>
                <a:moveTo>
                  <a:pt x="526" y="400"/>
                </a:moveTo>
                <a:cubicBezTo>
                  <a:pt x="528" y="399"/>
                  <a:pt x="530" y="401"/>
                  <a:pt x="529" y="402"/>
                </a:cubicBezTo>
                <a:cubicBezTo>
                  <a:pt x="529" y="406"/>
                  <a:pt x="525" y="401"/>
                  <a:pt x="526" y="400"/>
                </a:cubicBezTo>
                <a:close/>
                <a:moveTo>
                  <a:pt x="529" y="495"/>
                </a:moveTo>
                <a:cubicBezTo>
                  <a:pt x="528" y="491"/>
                  <a:pt x="529" y="498"/>
                  <a:pt x="529" y="495"/>
                </a:cubicBezTo>
                <a:close/>
                <a:moveTo>
                  <a:pt x="528" y="472"/>
                </a:moveTo>
                <a:cubicBezTo>
                  <a:pt x="528" y="473"/>
                  <a:pt x="528" y="472"/>
                  <a:pt x="528" y="473"/>
                </a:cubicBezTo>
                <a:cubicBezTo>
                  <a:pt x="529" y="474"/>
                  <a:pt x="526" y="471"/>
                  <a:pt x="528" y="472"/>
                </a:cubicBezTo>
                <a:close/>
                <a:moveTo>
                  <a:pt x="527" y="451"/>
                </a:moveTo>
                <a:cubicBezTo>
                  <a:pt x="527" y="452"/>
                  <a:pt x="527" y="453"/>
                  <a:pt x="527" y="454"/>
                </a:cubicBezTo>
                <a:cubicBezTo>
                  <a:pt x="527" y="452"/>
                  <a:pt x="527" y="452"/>
                  <a:pt x="527" y="451"/>
                </a:cubicBezTo>
                <a:close/>
                <a:moveTo>
                  <a:pt x="526" y="427"/>
                </a:moveTo>
                <a:cubicBezTo>
                  <a:pt x="525" y="428"/>
                  <a:pt x="526" y="425"/>
                  <a:pt x="526" y="427"/>
                </a:cubicBezTo>
                <a:close/>
                <a:moveTo>
                  <a:pt x="525" y="423"/>
                </a:moveTo>
                <a:cubicBezTo>
                  <a:pt x="525" y="424"/>
                  <a:pt x="526" y="425"/>
                  <a:pt x="525" y="426"/>
                </a:cubicBezTo>
                <a:cubicBezTo>
                  <a:pt x="525" y="425"/>
                  <a:pt x="524" y="424"/>
                  <a:pt x="525" y="423"/>
                </a:cubicBezTo>
                <a:close/>
                <a:moveTo>
                  <a:pt x="523" y="458"/>
                </a:moveTo>
                <a:cubicBezTo>
                  <a:pt x="523" y="458"/>
                  <a:pt x="523" y="458"/>
                  <a:pt x="523" y="458"/>
                </a:cubicBezTo>
                <a:cubicBezTo>
                  <a:pt x="523" y="458"/>
                  <a:pt x="523" y="458"/>
                  <a:pt x="523" y="458"/>
                </a:cubicBezTo>
                <a:cubicBezTo>
                  <a:pt x="523" y="458"/>
                  <a:pt x="523" y="458"/>
                  <a:pt x="523" y="458"/>
                </a:cubicBezTo>
                <a:close/>
                <a:moveTo>
                  <a:pt x="530" y="536"/>
                </a:moveTo>
                <a:cubicBezTo>
                  <a:pt x="527" y="532"/>
                  <a:pt x="525" y="528"/>
                  <a:pt x="523" y="523"/>
                </a:cubicBezTo>
                <a:cubicBezTo>
                  <a:pt x="526" y="527"/>
                  <a:pt x="529" y="531"/>
                  <a:pt x="530" y="536"/>
                </a:cubicBezTo>
                <a:close/>
                <a:moveTo>
                  <a:pt x="525" y="586"/>
                </a:moveTo>
                <a:cubicBezTo>
                  <a:pt x="525" y="586"/>
                  <a:pt x="525" y="587"/>
                  <a:pt x="524" y="587"/>
                </a:cubicBezTo>
                <a:cubicBezTo>
                  <a:pt x="520" y="589"/>
                  <a:pt x="523" y="581"/>
                  <a:pt x="525" y="586"/>
                </a:cubicBezTo>
                <a:close/>
                <a:moveTo>
                  <a:pt x="521" y="487"/>
                </a:moveTo>
                <a:cubicBezTo>
                  <a:pt x="522" y="487"/>
                  <a:pt x="522" y="487"/>
                  <a:pt x="522" y="487"/>
                </a:cubicBezTo>
                <a:cubicBezTo>
                  <a:pt x="523" y="489"/>
                  <a:pt x="520" y="487"/>
                  <a:pt x="521" y="487"/>
                </a:cubicBezTo>
                <a:close/>
                <a:moveTo>
                  <a:pt x="520" y="406"/>
                </a:moveTo>
                <a:cubicBezTo>
                  <a:pt x="519" y="407"/>
                  <a:pt x="519" y="405"/>
                  <a:pt x="519" y="404"/>
                </a:cubicBezTo>
                <a:cubicBezTo>
                  <a:pt x="520" y="404"/>
                  <a:pt x="520" y="406"/>
                  <a:pt x="520" y="406"/>
                </a:cubicBezTo>
                <a:close/>
                <a:moveTo>
                  <a:pt x="518" y="118"/>
                </a:moveTo>
                <a:cubicBezTo>
                  <a:pt x="516" y="117"/>
                  <a:pt x="520" y="119"/>
                  <a:pt x="518" y="118"/>
                </a:cubicBezTo>
                <a:close/>
                <a:moveTo>
                  <a:pt x="520" y="517"/>
                </a:moveTo>
                <a:cubicBezTo>
                  <a:pt x="520" y="517"/>
                  <a:pt x="523" y="522"/>
                  <a:pt x="521" y="521"/>
                </a:cubicBezTo>
                <a:cubicBezTo>
                  <a:pt x="519" y="520"/>
                  <a:pt x="518" y="514"/>
                  <a:pt x="517" y="511"/>
                </a:cubicBezTo>
                <a:cubicBezTo>
                  <a:pt x="518" y="512"/>
                  <a:pt x="519" y="515"/>
                  <a:pt x="520" y="517"/>
                </a:cubicBezTo>
                <a:close/>
                <a:moveTo>
                  <a:pt x="517" y="510"/>
                </a:moveTo>
                <a:cubicBezTo>
                  <a:pt x="516" y="508"/>
                  <a:pt x="515" y="507"/>
                  <a:pt x="515" y="506"/>
                </a:cubicBezTo>
                <a:cubicBezTo>
                  <a:pt x="516" y="506"/>
                  <a:pt x="517" y="508"/>
                  <a:pt x="517" y="510"/>
                </a:cubicBezTo>
                <a:close/>
                <a:moveTo>
                  <a:pt x="517" y="585"/>
                </a:moveTo>
                <a:cubicBezTo>
                  <a:pt x="516" y="585"/>
                  <a:pt x="516" y="584"/>
                  <a:pt x="516" y="584"/>
                </a:cubicBezTo>
                <a:cubicBezTo>
                  <a:pt x="517" y="584"/>
                  <a:pt x="517" y="585"/>
                  <a:pt x="517" y="585"/>
                </a:cubicBezTo>
                <a:close/>
                <a:moveTo>
                  <a:pt x="513" y="496"/>
                </a:moveTo>
                <a:cubicBezTo>
                  <a:pt x="514" y="498"/>
                  <a:pt x="515" y="500"/>
                  <a:pt x="516" y="502"/>
                </a:cubicBezTo>
                <a:cubicBezTo>
                  <a:pt x="516" y="502"/>
                  <a:pt x="513" y="498"/>
                  <a:pt x="513" y="496"/>
                </a:cubicBezTo>
                <a:close/>
                <a:moveTo>
                  <a:pt x="513" y="532"/>
                </a:moveTo>
                <a:cubicBezTo>
                  <a:pt x="513" y="532"/>
                  <a:pt x="513" y="531"/>
                  <a:pt x="513" y="532"/>
                </a:cubicBezTo>
                <a:cubicBezTo>
                  <a:pt x="513" y="532"/>
                  <a:pt x="513" y="532"/>
                  <a:pt x="513" y="532"/>
                </a:cubicBezTo>
                <a:close/>
                <a:moveTo>
                  <a:pt x="514" y="115"/>
                </a:moveTo>
                <a:cubicBezTo>
                  <a:pt x="514" y="116"/>
                  <a:pt x="512" y="115"/>
                  <a:pt x="512" y="114"/>
                </a:cubicBezTo>
                <a:cubicBezTo>
                  <a:pt x="513" y="114"/>
                  <a:pt x="513" y="115"/>
                  <a:pt x="514" y="115"/>
                </a:cubicBezTo>
                <a:close/>
                <a:moveTo>
                  <a:pt x="513" y="495"/>
                </a:moveTo>
                <a:cubicBezTo>
                  <a:pt x="513" y="496"/>
                  <a:pt x="512" y="493"/>
                  <a:pt x="513" y="495"/>
                </a:cubicBezTo>
                <a:close/>
                <a:moveTo>
                  <a:pt x="515" y="592"/>
                </a:moveTo>
                <a:cubicBezTo>
                  <a:pt x="516" y="594"/>
                  <a:pt x="518" y="595"/>
                  <a:pt x="518" y="598"/>
                </a:cubicBezTo>
                <a:cubicBezTo>
                  <a:pt x="514" y="592"/>
                  <a:pt x="511" y="585"/>
                  <a:pt x="507" y="580"/>
                </a:cubicBezTo>
                <a:cubicBezTo>
                  <a:pt x="504" y="575"/>
                  <a:pt x="511" y="583"/>
                  <a:pt x="512" y="584"/>
                </a:cubicBezTo>
                <a:cubicBezTo>
                  <a:pt x="513" y="586"/>
                  <a:pt x="514" y="590"/>
                  <a:pt x="515" y="592"/>
                </a:cubicBezTo>
                <a:close/>
                <a:moveTo>
                  <a:pt x="509" y="537"/>
                </a:moveTo>
                <a:cubicBezTo>
                  <a:pt x="509" y="539"/>
                  <a:pt x="507" y="537"/>
                  <a:pt x="508" y="537"/>
                </a:cubicBezTo>
                <a:cubicBezTo>
                  <a:pt x="508" y="536"/>
                  <a:pt x="509" y="537"/>
                  <a:pt x="509" y="537"/>
                </a:cubicBezTo>
                <a:close/>
                <a:moveTo>
                  <a:pt x="508" y="484"/>
                </a:moveTo>
                <a:cubicBezTo>
                  <a:pt x="509" y="485"/>
                  <a:pt x="508" y="483"/>
                  <a:pt x="508" y="484"/>
                </a:cubicBezTo>
                <a:close/>
                <a:moveTo>
                  <a:pt x="510" y="544"/>
                </a:moveTo>
                <a:cubicBezTo>
                  <a:pt x="510" y="544"/>
                  <a:pt x="510" y="545"/>
                  <a:pt x="510" y="545"/>
                </a:cubicBezTo>
                <a:cubicBezTo>
                  <a:pt x="507" y="546"/>
                  <a:pt x="508" y="541"/>
                  <a:pt x="510" y="544"/>
                </a:cubicBezTo>
                <a:close/>
                <a:moveTo>
                  <a:pt x="507" y="463"/>
                </a:moveTo>
                <a:cubicBezTo>
                  <a:pt x="508" y="467"/>
                  <a:pt x="511" y="471"/>
                  <a:pt x="511" y="476"/>
                </a:cubicBezTo>
                <a:cubicBezTo>
                  <a:pt x="509" y="472"/>
                  <a:pt x="508" y="468"/>
                  <a:pt x="507" y="463"/>
                </a:cubicBezTo>
                <a:close/>
                <a:moveTo>
                  <a:pt x="508" y="387"/>
                </a:moveTo>
                <a:cubicBezTo>
                  <a:pt x="506" y="384"/>
                  <a:pt x="505" y="381"/>
                  <a:pt x="505" y="378"/>
                </a:cubicBezTo>
                <a:cubicBezTo>
                  <a:pt x="506" y="381"/>
                  <a:pt x="507" y="383"/>
                  <a:pt x="508" y="387"/>
                </a:cubicBezTo>
                <a:close/>
                <a:moveTo>
                  <a:pt x="507" y="528"/>
                </a:moveTo>
                <a:cubicBezTo>
                  <a:pt x="506" y="529"/>
                  <a:pt x="505" y="527"/>
                  <a:pt x="504" y="526"/>
                </a:cubicBezTo>
                <a:cubicBezTo>
                  <a:pt x="506" y="525"/>
                  <a:pt x="506" y="528"/>
                  <a:pt x="507" y="528"/>
                </a:cubicBezTo>
                <a:close/>
                <a:moveTo>
                  <a:pt x="504" y="525"/>
                </a:moveTo>
                <a:cubicBezTo>
                  <a:pt x="504" y="525"/>
                  <a:pt x="502" y="524"/>
                  <a:pt x="503" y="523"/>
                </a:cubicBezTo>
                <a:cubicBezTo>
                  <a:pt x="504" y="523"/>
                  <a:pt x="503" y="524"/>
                  <a:pt x="504" y="525"/>
                </a:cubicBezTo>
                <a:close/>
                <a:moveTo>
                  <a:pt x="503" y="434"/>
                </a:moveTo>
                <a:cubicBezTo>
                  <a:pt x="502" y="434"/>
                  <a:pt x="502" y="433"/>
                  <a:pt x="502" y="432"/>
                </a:cubicBezTo>
                <a:cubicBezTo>
                  <a:pt x="503" y="433"/>
                  <a:pt x="503" y="434"/>
                  <a:pt x="503" y="434"/>
                </a:cubicBezTo>
                <a:close/>
                <a:moveTo>
                  <a:pt x="501" y="431"/>
                </a:moveTo>
                <a:cubicBezTo>
                  <a:pt x="502" y="430"/>
                  <a:pt x="502" y="432"/>
                  <a:pt x="501" y="431"/>
                </a:cubicBezTo>
                <a:close/>
                <a:moveTo>
                  <a:pt x="500" y="448"/>
                </a:moveTo>
                <a:cubicBezTo>
                  <a:pt x="500" y="447"/>
                  <a:pt x="501" y="447"/>
                  <a:pt x="501" y="447"/>
                </a:cubicBezTo>
                <a:cubicBezTo>
                  <a:pt x="502" y="448"/>
                  <a:pt x="500" y="448"/>
                  <a:pt x="500" y="448"/>
                </a:cubicBezTo>
                <a:close/>
                <a:moveTo>
                  <a:pt x="501" y="429"/>
                </a:moveTo>
                <a:cubicBezTo>
                  <a:pt x="500" y="429"/>
                  <a:pt x="499" y="427"/>
                  <a:pt x="499" y="426"/>
                </a:cubicBezTo>
                <a:cubicBezTo>
                  <a:pt x="500" y="427"/>
                  <a:pt x="500" y="428"/>
                  <a:pt x="501" y="429"/>
                </a:cubicBezTo>
                <a:close/>
                <a:moveTo>
                  <a:pt x="499" y="566"/>
                </a:moveTo>
                <a:cubicBezTo>
                  <a:pt x="500" y="568"/>
                  <a:pt x="495" y="566"/>
                  <a:pt x="497" y="565"/>
                </a:cubicBezTo>
                <a:cubicBezTo>
                  <a:pt x="498" y="564"/>
                  <a:pt x="499" y="565"/>
                  <a:pt x="499" y="566"/>
                </a:cubicBezTo>
                <a:close/>
                <a:moveTo>
                  <a:pt x="498" y="149"/>
                </a:moveTo>
                <a:cubicBezTo>
                  <a:pt x="497" y="149"/>
                  <a:pt x="496" y="149"/>
                  <a:pt x="495" y="148"/>
                </a:cubicBezTo>
                <a:cubicBezTo>
                  <a:pt x="496" y="147"/>
                  <a:pt x="497" y="149"/>
                  <a:pt x="498" y="149"/>
                </a:cubicBezTo>
                <a:close/>
                <a:moveTo>
                  <a:pt x="494" y="480"/>
                </a:moveTo>
                <a:cubicBezTo>
                  <a:pt x="495" y="480"/>
                  <a:pt x="494" y="482"/>
                  <a:pt x="494" y="481"/>
                </a:cubicBezTo>
                <a:cubicBezTo>
                  <a:pt x="494" y="481"/>
                  <a:pt x="494" y="480"/>
                  <a:pt x="494" y="480"/>
                </a:cubicBezTo>
                <a:close/>
                <a:moveTo>
                  <a:pt x="487" y="591"/>
                </a:moveTo>
                <a:cubicBezTo>
                  <a:pt x="488" y="592"/>
                  <a:pt x="491" y="594"/>
                  <a:pt x="491" y="595"/>
                </a:cubicBezTo>
                <a:cubicBezTo>
                  <a:pt x="491" y="596"/>
                  <a:pt x="487" y="593"/>
                  <a:pt x="487" y="591"/>
                </a:cubicBezTo>
                <a:close/>
                <a:moveTo>
                  <a:pt x="487" y="573"/>
                </a:moveTo>
                <a:cubicBezTo>
                  <a:pt x="486" y="573"/>
                  <a:pt x="488" y="573"/>
                  <a:pt x="487" y="573"/>
                </a:cubicBezTo>
                <a:close/>
                <a:moveTo>
                  <a:pt x="490" y="482"/>
                </a:moveTo>
                <a:cubicBezTo>
                  <a:pt x="490" y="485"/>
                  <a:pt x="485" y="482"/>
                  <a:pt x="487" y="481"/>
                </a:cubicBezTo>
                <a:cubicBezTo>
                  <a:pt x="488" y="480"/>
                  <a:pt x="490" y="482"/>
                  <a:pt x="490" y="482"/>
                </a:cubicBezTo>
                <a:close/>
                <a:moveTo>
                  <a:pt x="487" y="468"/>
                </a:moveTo>
                <a:cubicBezTo>
                  <a:pt x="487" y="469"/>
                  <a:pt x="486" y="466"/>
                  <a:pt x="487" y="468"/>
                </a:cubicBezTo>
                <a:close/>
                <a:moveTo>
                  <a:pt x="486" y="380"/>
                </a:moveTo>
                <a:cubicBezTo>
                  <a:pt x="486" y="379"/>
                  <a:pt x="488" y="382"/>
                  <a:pt x="486" y="380"/>
                </a:cubicBezTo>
                <a:close/>
                <a:moveTo>
                  <a:pt x="486" y="467"/>
                </a:moveTo>
                <a:cubicBezTo>
                  <a:pt x="486" y="466"/>
                  <a:pt x="485" y="466"/>
                  <a:pt x="485" y="465"/>
                </a:cubicBezTo>
                <a:cubicBezTo>
                  <a:pt x="486" y="465"/>
                  <a:pt x="486" y="466"/>
                  <a:pt x="486" y="467"/>
                </a:cubicBezTo>
                <a:close/>
                <a:moveTo>
                  <a:pt x="486" y="560"/>
                </a:moveTo>
                <a:cubicBezTo>
                  <a:pt x="485" y="561"/>
                  <a:pt x="485" y="558"/>
                  <a:pt x="486" y="560"/>
                </a:cubicBezTo>
                <a:close/>
                <a:moveTo>
                  <a:pt x="484" y="463"/>
                </a:moveTo>
                <a:cubicBezTo>
                  <a:pt x="485" y="463"/>
                  <a:pt x="485" y="464"/>
                  <a:pt x="485" y="464"/>
                </a:cubicBezTo>
                <a:cubicBezTo>
                  <a:pt x="485" y="464"/>
                  <a:pt x="484" y="464"/>
                  <a:pt x="484" y="463"/>
                </a:cubicBezTo>
                <a:close/>
                <a:moveTo>
                  <a:pt x="484" y="462"/>
                </a:moveTo>
                <a:cubicBezTo>
                  <a:pt x="483" y="461"/>
                  <a:pt x="484" y="460"/>
                  <a:pt x="484" y="462"/>
                </a:cubicBezTo>
                <a:close/>
                <a:moveTo>
                  <a:pt x="484" y="465"/>
                </a:moveTo>
                <a:cubicBezTo>
                  <a:pt x="483" y="465"/>
                  <a:pt x="483" y="464"/>
                  <a:pt x="483" y="463"/>
                </a:cubicBezTo>
                <a:cubicBezTo>
                  <a:pt x="484" y="463"/>
                  <a:pt x="484" y="464"/>
                  <a:pt x="484" y="465"/>
                </a:cubicBezTo>
                <a:close/>
                <a:moveTo>
                  <a:pt x="483" y="460"/>
                </a:moveTo>
                <a:cubicBezTo>
                  <a:pt x="482" y="459"/>
                  <a:pt x="481" y="458"/>
                  <a:pt x="482" y="456"/>
                </a:cubicBezTo>
                <a:cubicBezTo>
                  <a:pt x="482" y="457"/>
                  <a:pt x="483" y="458"/>
                  <a:pt x="483" y="460"/>
                </a:cubicBezTo>
                <a:close/>
                <a:moveTo>
                  <a:pt x="482" y="461"/>
                </a:moveTo>
                <a:cubicBezTo>
                  <a:pt x="483" y="462"/>
                  <a:pt x="481" y="460"/>
                  <a:pt x="482" y="461"/>
                </a:cubicBezTo>
                <a:close/>
                <a:moveTo>
                  <a:pt x="486" y="590"/>
                </a:moveTo>
                <a:cubicBezTo>
                  <a:pt x="484" y="587"/>
                  <a:pt x="482" y="585"/>
                  <a:pt x="481" y="582"/>
                </a:cubicBezTo>
                <a:cubicBezTo>
                  <a:pt x="483" y="584"/>
                  <a:pt x="485" y="587"/>
                  <a:pt x="486" y="590"/>
                </a:cubicBezTo>
                <a:close/>
                <a:moveTo>
                  <a:pt x="480" y="457"/>
                </a:moveTo>
                <a:cubicBezTo>
                  <a:pt x="480" y="457"/>
                  <a:pt x="479" y="454"/>
                  <a:pt x="480" y="457"/>
                </a:cubicBezTo>
                <a:close/>
                <a:moveTo>
                  <a:pt x="479" y="414"/>
                </a:moveTo>
                <a:cubicBezTo>
                  <a:pt x="479" y="413"/>
                  <a:pt x="478" y="413"/>
                  <a:pt x="479" y="412"/>
                </a:cubicBezTo>
                <a:cubicBezTo>
                  <a:pt x="479" y="413"/>
                  <a:pt x="480" y="413"/>
                  <a:pt x="479" y="414"/>
                </a:cubicBezTo>
                <a:close/>
                <a:moveTo>
                  <a:pt x="478" y="401"/>
                </a:moveTo>
                <a:cubicBezTo>
                  <a:pt x="477" y="400"/>
                  <a:pt x="475" y="397"/>
                  <a:pt x="475" y="394"/>
                </a:cubicBezTo>
                <a:cubicBezTo>
                  <a:pt x="477" y="396"/>
                  <a:pt x="480" y="404"/>
                  <a:pt x="478" y="401"/>
                </a:cubicBezTo>
                <a:close/>
                <a:moveTo>
                  <a:pt x="474" y="393"/>
                </a:moveTo>
                <a:cubicBezTo>
                  <a:pt x="474" y="393"/>
                  <a:pt x="474" y="393"/>
                  <a:pt x="474" y="393"/>
                </a:cubicBezTo>
                <a:cubicBezTo>
                  <a:pt x="474" y="393"/>
                  <a:pt x="474" y="393"/>
                  <a:pt x="474" y="393"/>
                </a:cubicBezTo>
                <a:cubicBezTo>
                  <a:pt x="474" y="393"/>
                  <a:pt x="474" y="393"/>
                  <a:pt x="474" y="393"/>
                </a:cubicBezTo>
                <a:close/>
                <a:moveTo>
                  <a:pt x="469" y="488"/>
                </a:moveTo>
                <a:cubicBezTo>
                  <a:pt x="471" y="488"/>
                  <a:pt x="472" y="491"/>
                  <a:pt x="473" y="493"/>
                </a:cubicBezTo>
                <a:cubicBezTo>
                  <a:pt x="471" y="492"/>
                  <a:pt x="470" y="489"/>
                  <a:pt x="469" y="488"/>
                </a:cubicBezTo>
                <a:close/>
                <a:moveTo>
                  <a:pt x="472" y="391"/>
                </a:moveTo>
                <a:cubicBezTo>
                  <a:pt x="471" y="389"/>
                  <a:pt x="470" y="388"/>
                  <a:pt x="469" y="385"/>
                </a:cubicBezTo>
                <a:cubicBezTo>
                  <a:pt x="471" y="386"/>
                  <a:pt x="472" y="389"/>
                  <a:pt x="472" y="391"/>
                </a:cubicBezTo>
                <a:close/>
                <a:moveTo>
                  <a:pt x="469" y="124"/>
                </a:moveTo>
                <a:cubicBezTo>
                  <a:pt x="469" y="125"/>
                  <a:pt x="467" y="124"/>
                  <a:pt x="467" y="124"/>
                </a:cubicBezTo>
                <a:cubicBezTo>
                  <a:pt x="464" y="122"/>
                  <a:pt x="470" y="123"/>
                  <a:pt x="469" y="124"/>
                </a:cubicBezTo>
                <a:close/>
                <a:moveTo>
                  <a:pt x="466" y="430"/>
                </a:moveTo>
                <a:cubicBezTo>
                  <a:pt x="466" y="434"/>
                  <a:pt x="471" y="437"/>
                  <a:pt x="470" y="440"/>
                </a:cubicBezTo>
                <a:cubicBezTo>
                  <a:pt x="470" y="440"/>
                  <a:pt x="465" y="433"/>
                  <a:pt x="466" y="430"/>
                </a:cubicBezTo>
                <a:close/>
                <a:moveTo>
                  <a:pt x="465" y="555"/>
                </a:moveTo>
                <a:cubicBezTo>
                  <a:pt x="465" y="555"/>
                  <a:pt x="466" y="556"/>
                  <a:pt x="466" y="556"/>
                </a:cubicBezTo>
                <a:cubicBezTo>
                  <a:pt x="467" y="557"/>
                  <a:pt x="464" y="556"/>
                  <a:pt x="465" y="555"/>
                </a:cubicBezTo>
                <a:close/>
                <a:moveTo>
                  <a:pt x="465" y="575"/>
                </a:moveTo>
                <a:cubicBezTo>
                  <a:pt x="465" y="575"/>
                  <a:pt x="465" y="575"/>
                  <a:pt x="466" y="576"/>
                </a:cubicBezTo>
                <a:cubicBezTo>
                  <a:pt x="467" y="577"/>
                  <a:pt x="464" y="576"/>
                  <a:pt x="465" y="575"/>
                </a:cubicBezTo>
                <a:close/>
                <a:moveTo>
                  <a:pt x="463" y="584"/>
                </a:moveTo>
                <a:cubicBezTo>
                  <a:pt x="464" y="583"/>
                  <a:pt x="464" y="584"/>
                  <a:pt x="465" y="585"/>
                </a:cubicBezTo>
                <a:cubicBezTo>
                  <a:pt x="465" y="586"/>
                  <a:pt x="463" y="585"/>
                  <a:pt x="463" y="584"/>
                </a:cubicBezTo>
                <a:close/>
                <a:moveTo>
                  <a:pt x="464" y="655"/>
                </a:moveTo>
                <a:cubicBezTo>
                  <a:pt x="464" y="656"/>
                  <a:pt x="462" y="656"/>
                  <a:pt x="462" y="655"/>
                </a:cubicBezTo>
                <a:cubicBezTo>
                  <a:pt x="462" y="655"/>
                  <a:pt x="464" y="654"/>
                  <a:pt x="464" y="655"/>
                </a:cubicBezTo>
                <a:close/>
                <a:moveTo>
                  <a:pt x="463" y="619"/>
                </a:moveTo>
                <a:cubicBezTo>
                  <a:pt x="462" y="620"/>
                  <a:pt x="461" y="619"/>
                  <a:pt x="461" y="618"/>
                </a:cubicBezTo>
                <a:cubicBezTo>
                  <a:pt x="462" y="619"/>
                  <a:pt x="462" y="619"/>
                  <a:pt x="463" y="619"/>
                </a:cubicBezTo>
                <a:close/>
                <a:moveTo>
                  <a:pt x="461" y="536"/>
                </a:moveTo>
                <a:cubicBezTo>
                  <a:pt x="462" y="537"/>
                  <a:pt x="458" y="535"/>
                  <a:pt x="459" y="534"/>
                </a:cubicBezTo>
                <a:cubicBezTo>
                  <a:pt x="461" y="533"/>
                  <a:pt x="461" y="535"/>
                  <a:pt x="461" y="536"/>
                </a:cubicBezTo>
                <a:close/>
                <a:moveTo>
                  <a:pt x="454" y="150"/>
                </a:moveTo>
                <a:cubicBezTo>
                  <a:pt x="456" y="152"/>
                  <a:pt x="459" y="152"/>
                  <a:pt x="460" y="154"/>
                </a:cubicBezTo>
                <a:cubicBezTo>
                  <a:pt x="458" y="154"/>
                  <a:pt x="456" y="152"/>
                  <a:pt x="454" y="150"/>
                </a:cubicBezTo>
                <a:close/>
                <a:moveTo>
                  <a:pt x="459" y="122"/>
                </a:moveTo>
                <a:cubicBezTo>
                  <a:pt x="457" y="120"/>
                  <a:pt x="461" y="123"/>
                  <a:pt x="459" y="122"/>
                </a:cubicBezTo>
                <a:close/>
                <a:moveTo>
                  <a:pt x="453" y="94"/>
                </a:moveTo>
                <a:cubicBezTo>
                  <a:pt x="451" y="92"/>
                  <a:pt x="455" y="96"/>
                  <a:pt x="453" y="94"/>
                </a:cubicBezTo>
                <a:close/>
                <a:moveTo>
                  <a:pt x="451" y="96"/>
                </a:moveTo>
                <a:cubicBezTo>
                  <a:pt x="455" y="93"/>
                  <a:pt x="458" y="100"/>
                  <a:pt x="454" y="100"/>
                </a:cubicBezTo>
                <a:cubicBezTo>
                  <a:pt x="453" y="101"/>
                  <a:pt x="452" y="100"/>
                  <a:pt x="451" y="98"/>
                </a:cubicBezTo>
                <a:cubicBezTo>
                  <a:pt x="450" y="97"/>
                  <a:pt x="450" y="96"/>
                  <a:pt x="451" y="96"/>
                </a:cubicBezTo>
                <a:close/>
                <a:moveTo>
                  <a:pt x="447" y="103"/>
                </a:moveTo>
                <a:cubicBezTo>
                  <a:pt x="447" y="103"/>
                  <a:pt x="447" y="103"/>
                  <a:pt x="447" y="103"/>
                </a:cubicBezTo>
                <a:cubicBezTo>
                  <a:pt x="446" y="103"/>
                  <a:pt x="447" y="103"/>
                  <a:pt x="447" y="103"/>
                </a:cubicBezTo>
                <a:close/>
                <a:moveTo>
                  <a:pt x="444" y="145"/>
                </a:moveTo>
                <a:cubicBezTo>
                  <a:pt x="446" y="145"/>
                  <a:pt x="449" y="147"/>
                  <a:pt x="451" y="149"/>
                </a:cubicBezTo>
                <a:cubicBezTo>
                  <a:pt x="448" y="149"/>
                  <a:pt x="441" y="143"/>
                  <a:pt x="444" y="145"/>
                </a:cubicBezTo>
                <a:close/>
                <a:moveTo>
                  <a:pt x="442" y="515"/>
                </a:moveTo>
                <a:cubicBezTo>
                  <a:pt x="440" y="516"/>
                  <a:pt x="441" y="513"/>
                  <a:pt x="442" y="515"/>
                </a:cubicBezTo>
                <a:close/>
                <a:moveTo>
                  <a:pt x="436" y="80"/>
                </a:moveTo>
                <a:cubicBezTo>
                  <a:pt x="434" y="80"/>
                  <a:pt x="435" y="78"/>
                  <a:pt x="436" y="80"/>
                </a:cubicBezTo>
                <a:close/>
                <a:moveTo>
                  <a:pt x="440" y="114"/>
                </a:moveTo>
                <a:cubicBezTo>
                  <a:pt x="438" y="111"/>
                  <a:pt x="432" y="110"/>
                  <a:pt x="431" y="107"/>
                </a:cubicBezTo>
                <a:cubicBezTo>
                  <a:pt x="432" y="108"/>
                  <a:pt x="439" y="111"/>
                  <a:pt x="440" y="114"/>
                </a:cubicBezTo>
                <a:close/>
                <a:moveTo>
                  <a:pt x="433" y="179"/>
                </a:moveTo>
                <a:cubicBezTo>
                  <a:pt x="431" y="177"/>
                  <a:pt x="428" y="175"/>
                  <a:pt x="426" y="172"/>
                </a:cubicBezTo>
                <a:cubicBezTo>
                  <a:pt x="429" y="174"/>
                  <a:pt x="432" y="176"/>
                  <a:pt x="433" y="179"/>
                </a:cubicBezTo>
                <a:close/>
                <a:moveTo>
                  <a:pt x="425" y="594"/>
                </a:moveTo>
                <a:cubicBezTo>
                  <a:pt x="425" y="595"/>
                  <a:pt x="426" y="595"/>
                  <a:pt x="426" y="595"/>
                </a:cubicBezTo>
                <a:cubicBezTo>
                  <a:pt x="426" y="596"/>
                  <a:pt x="424" y="595"/>
                  <a:pt x="425" y="594"/>
                </a:cubicBezTo>
                <a:close/>
                <a:moveTo>
                  <a:pt x="426" y="549"/>
                </a:moveTo>
                <a:cubicBezTo>
                  <a:pt x="426" y="550"/>
                  <a:pt x="425" y="548"/>
                  <a:pt x="426" y="549"/>
                </a:cubicBezTo>
                <a:close/>
                <a:moveTo>
                  <a:pt x="426" y="468"/>
                </a:moveTo>
                <a:cubicBezTo>
                  <a:pt x="423" y="467"/>
                  <a:pt x="426" y="466"/>
                  <a:pt x="426" y="468"/>
                </a:cubicBezTo>
                <a:close/>
                <a:moveTo>
                  <a:pt x="425" y="542"/>
                </a:moveTo>
                <a:cubicBezTo>
                  <a:pt x="424" y="541"/>
                  <a:pt x="424" y="539"/>
                  <a:pt x="424" y="538"/>
                </a:cubicBezTo>
                <a:cubicBezTo>
                  <a:pt x="426" y="538"/>
                  <a:pt x="425" y="541"/>
                  <a:pt x="425" y="542"/>
                </a:cubicBezTo>
                <a:close/>
                <a:moveTo>
                  <a:pt x="423" y="592"/>
                </a:moveTo>
                <a:cubicBezTo>
                  <a:pt x="421" y="592"/>
                  <a:pt x="420" y="590"/>
                  <a:pt x="418" y="589"/>
                </a:cubicBezTo>
                <a:cubicBezTo>
                  <a:pt x="420" y="590"/>
                  <a:pt x="419" y="589"/>
                  <a:pt x="420" y="588"/>
                </a:cubicBezTo>
                <a:cubicBezTo>
                  <a:pt x="423" y="587"/>
                  <a:pt x="425" y="591"/>
                  <a:pt x="423" y="592"/>
                </a:cubicBezTo>
                <a:close/>
                <a:moveTo>
                  <a:pt x="420" y="499"/>
                </a:moveTo>
                <a:cubicBezTo>
                  <a:pt x="419" y="500"/>
                  <a:pt x="417" y="496"/>
                  <a:pt x="416" y="494"/>
                </a:cubicBezTo>
                <a:cubicBezTo>
                  <a:pt x="418" y="496"/>
                  <a:pt x="419" y="497"/>
                  <a:pt x="420" y="499"/>
                </a:cubicBezTo>
                <a:close/>
                <a:moveTo>
                  <a:pt x="417" y="100"/>
                </a:moveTo>
                <a:cubicBezTo>
                  <a:pt x="418" y="101"/>
                  <a:pt x="415" y="99"/>
                  <a:pt x="417" y="100"/>
                </a:cubicBezTo>
                <a:close/>
                <a:moveTo>
                  <a:pt x="416" y="49"/>
                </a:moveTo>
                <a:cubicBezTo>
                  <a:pt x="416" y="49"/>
                  <a:pt x="415" y="49"/>
                  <a:pt x="416" y="49"/>
                </a:cubicBezTo>
                <a:cubicBezTo>
                  <a:pt x="416" y="48"/>
                  <a:pt x="418" y="50"/>
                  <a:pt x="416" y="49"/>
                </a:cubicBezTo>
                <a:close/>
                <a:moveTo>
                  <a:pt x="413" y="491"/>
                </a:moveTo>
                <a:cubicBezTo>
                  <a:pt x="414" y="491"/>
                  <a:pt x="414" y="493"/>
                  <a:pt x="416" y="494"/>
                </a:cubicBezTo>
                <a:cubicBezTo>
                  <a:pt x="415" y="494"/>
                  <a:pt x="413" y="492"/>
                  <a:pt x="413" y="491"/>
                </a:cubicBezTo>
                <a:close/>
                <a:moveTo>
                  <a:pt x="415" y="46"/>
                </a:moveTo>
                <a:cubicBezTo>
                  <a:pt x="417" y="47"/>
                  <a:pt x="414" y="45"/>
                  <a:pt x="415" y="46"/>
                </a:cubicBezTo>
                <a:close/>
                <a:moveTo>
                  <a:pt x="414" y="98"/>
                </a:moveTo>
                <a:cubicBezTo>
                  <a:pt x="414" y="97"/>
                  <a:pt x="417" y="100"/>
                  <a:pt x="414" y="98"/>
                </a:cubicBezTo>
                <a:close/>
                <a:moveTo>
                  <a:pt x="414" y="134"/>
                </a:moveTo>
                <a:cubicBezTo>
                  <a:pt x="413" y="134"/>
                  <a:pt x="412" y="133"/>
                  <a:pt x="411" y="133"/>
                </a:cubicBezTo>
                <a:cubicBezTo>
                  <a:pt x="411" y="132"/>
                  <a:pt x="413" y="133"/>
                  <a:pt x="414" y="134"/>
                </a:cubicBezTo>
                <a:close/>
                <a:moveTo>
                  <a:pt x="413" y="99"/>
                </a:moveTo>
                <a:cubicBezTo>
                  <a:pt x="412" y="99"/>
                  <a:pt x="411" y="98"/>
                  <a:pt x="411" y="97"/>
                </a:cubicBezTo>
                <a:cubicBezTo>
                  <a:pt x="412" y="98"/>
                  <a:pt x="413" y="98"/>
                  <a:pt x="413" y="99"/>
                </a:cubicBezTo>
                <a:close/>
                <a:moveTo>
                  <a:pt x="411" y="96"/>
                </a:moveTo>
                <a:cubicBezTo>
                  <a:pt x="409" y="95"/>
                  <a:pt x="412" y="96"/>
                  <a:pt x="411" y="96"/>
                </a:cubicBezTo>
                <a:close/>
                <a:moveTo>
                  <a:pt x="412" y="68"/>
                </a:moveTo>
                <a:cubicBezTo>
                  <a:pt x="411" y="68"/>
                  <a:pt x="410" y="67"/>
                  <a:pt x="409" y="67"/>
                </a:cubicBezTo>
                <a:cubicBezTo>
                  <a:pt x="410" y="66"/>
                  <a:pt x="412" y="67"/>
                  <a:pt x="412" y="68"/>
                </a:cubicBezTo>
                <a:close/>
                <a:moveTo>
                  <a:pt x="408" y="95"/>
                </a:moveTo>
                <a:cubicBezTo>
                  <a:pt x="410" y="96"/>
                  <a:pt x="409" y="97"/>
                  <a:pt x="408" y="95"/>
                </a:cubicBezTo>
                <a:close/>
                <a:moveTo>
                  <a:pt x="406" y="93"/>
                </a:moveTo>
                <a:cubicBezTo>
                  <a:pt x="407" y="93"/>
                  <a:pt x="408" y="94"/>
                  <a:pt x="409" y="95"/>
                </a:cubicBezTo>
                <a:cubicBezTo>
                  <a:pt x="408" y="94"/>
                  <a:pt x="407" y="94"/>
                  <a:pt x="406" y="93"/>
                </a:cubicBezTo>
                <a:close/>
                <a:moveTo>
                  <a:pt x="408" y="66"/>
                </a:moveTo>
                <a:cubicBezTo>
                  <a:pt x="406" y="66"/>
                  <a:pt x="404" y="64"/>
                  <a:pt x="402" y="63"/>
                </a:cubicBezTo>
                <a:cubicBezTo>
                  <a:pt x="404" y="63"/>
                  <a:pt x="406" y="65"/>
                  <a:pt x="408" y="66"/>
                </a:cubicBezTo>
                <a:close/>
                <a:moveTo>
                  <a:pt x="403" y="92"/>
                </a:moveTo>
                <a:cubicBezTo>
                  <a:pt x="402" y="91"/>
                  <a:pt x="404" y="94"/>
                  <a:pt x="403" y="92"/>
                </a:cubicBezTo>
                <a:close/>
                <a:moveTo>
                  <a:pt x="402" y="116"/>
                </a:moveTo>
                <a:cubicBezTo>
                  <a:pt x="402" y="116"/>
                  <a:pt x="401" y="117"/>
                  <a:pt x="401" y="117"/>
                </a:cubicBezTo>
                <a:cubicBezTo>
                  <a:pt x="400" y="117"/>
                  <a:pt x="401" y="115"/>
                  <a:pt x="402" y="116"/>
                </a:cubicBezTo>
                <a:close/>
                <a:moveTo>
                  <a:pt x="404" y="171"/>
                </a:moveTo>
                <a:cubicBezTo>
                  <a:pt x="403" y="173"/>
                  <a:pt x="400" y="171"/>
                  <a:pt x="400" y="170"/>
                </a:cubicBezTo>
                <a:cubicBezTo>
                  <a:pt x="398" y="167"/>
                  <a:pt x="404" y="169"/>
                  <a:pt x="404" y="171"/>
                </a:cubicBezTo>
                <a:close/>
                <a:moveTo>
                  <a:pt x="398" y="513"/>
                </a:moveTo>
                <a:cubicBezTo>
                  <a:pt x="398" y="512"/>
                  <a:pt x="399" y="513"/>
                  <a:pt x="400" y="513"/>
                </a:cubicBezTo>
                <a:cubicBezTo>
                  <a:pt x="401" y="516"/>
                  <a:pt x="396" y="514"/>
                  <a:pt x="398" y="513"/>
                </a:cubicBezTo>
                <a:close/>
                <a:moveTo>
                  <a:pt x="397" y="471"/>
                </a:moveTo>
                <a:cubicBezTo>
                  <a:pt x="396" y="472"/>
                  <a:pt x="396" y="469"/>
                  <a:pt x="397" y="470"/>
                </a:cubicBezTo>
                <a:cubicBezTo>
                  <a:pt x="397" y="470"/>
                  <a:pt x="397" y="471"/>
                  <a:pt x="397" y="471"/>
                </a:cubicBezTo>
                <a:close/>
                <a:moveTo>
                  <a:pt x="397" y="427"/>
                </a:moveTo>
                <a:cubicBezTo>
                  <a:pt x="398" y="428"/>
                  <a:pt x="394" y="427"/>
                  <a:pt x="396" y="426"/>
                </a:cubicBezTo>
                <a:cubicBezTo>
                  <a:pt x="396" y="426"/>
                  <a:pt x="397" y="427"/>
                  <a:pt x="397" y="427"/>
                </a:cubicBezTo>
                <a:close/>
                <a:moveTo>
                  <a:pt x="396" y="81"/>
                </a:moveTo>
                <a:cubicBezTo>
                  <a:pt x="396" y="82"/>
                  <a:pt x="393" y="82"/>
                  <a:pt x="393" y="81"/>
                </a:cubicBezTo>
                <a:cubicBezTo>
                  <a:pt x="391" y="79"/>
                  <a:pt x="397" y="79"/>
                  <a:pt x="396" y="81"/>
                </a:cubicBezTo>
                <a:close/>
                <a:moveTo>
                  <a:pt x="393" y="150"/>
                </a:moveTo>
                <a:cubicBezTo>
                  <a:pt x="392" y="150"/>
                  <a:pt x="391" y="149"/>
                  <a:pt x="391" y="148"/>
                </a:cubicBezTo>
                <a:cubicBezTo>
                  <a:pt x="392" y="148"/>
                  <a:pt x="393" y="149"/>
                  <a:pt x="393" y="150"/>
                </a:cubicBezTo>
                <a:close/>
                <a:moveTo>
                  <a:pt x="395" y="400"/>
                </a:moveTo>
                <a:cubicBezTo>
                  <a:pt x="394" y="403"/>
                  <a:pt x="389" y="398"/>
                  <a:pt x="390" y="397"/>
                </a:cubicBezTo>
                <a:cubicBezTo>
                  <a:pt x="392" y="395"/>
                  <a:pt x="395" y="399"/>
                  <a:pt x="395" y="400"/>
                </a:cubicBezTo>
                <a:close/>
                <a:moveTo>
                  <a:pt x="391" y="167"/>
                </a:moveTo>
                <a:cubicBezTo>
                  <a:pt x="390" y="168"/>
                  <a:pt x="389" y="166"/>
                  <a:pt x="391" y="167"/>
                </a:cubicBezTo>
                <a:close/>
                <a:moveTo>
                  <a:pt x="390" y="147"/>
                </a:moveTo>
                <a:cubicBezTo>
                  <a:pt x="390" y="146"/>
                  <a:pt x="391" y="149"/>
                  <a:pt x="390" y="147"/>
                </a:cubicBezTo>
                <a:close/>
                <a:moveTo>
                  <a:pt x="390" y="84"/>
                </a:moveTo>
                <a:cubicBezTo>
                  <a:pt x="390" y="85"/>
                  <a:pt x="390" y="85"/>
                  <a:pt x="390" y="85"/>
                </a:cubicBezTo>
                <a:cubicBezTo>
                  <a:pt x="389" y="86"/>
                  <a:pt x="389" y="84"/>
                  <a:pt x="390" y="84"/>
                </a:cubicBezTo>
                <a:close/>
                <a:moveTo>
                  <a:pt x="391" y="691"/>
                </a:moveTo>
                <a:cubicBezTo>
                  <a:pt x="391" y="691"/>
                  <a:pt x="391" y="691"/>
                  <a:pt x="391" y="692"/>
                </a:cubicBezTo>
                <a:cubicBezTo>
                  <a:pt x="388" y="691"/>
                  <a:pt x="382" y="691"/>
                  <a:pt x="384" y="687"/>
                </a:cubicBezTo>
                <a:cubicBezTo>
                  <a:pt x="384" y="687"/>
                  <a:pt x="387" y="686"/>
                  <a:pt x="388" y="687"/>
                </a:cubicBezTo>
                <a:cubicBezTo>
                  <a:pt x="391" y="688"/>
                  <a:pt x="388" y="691"/>
                  <a:pt x="391" y="691"/>
                </a:cubicBezTo>
                <a:close/>
                <a:moveTo>
                  <a:pt x="381" y="643"/>
                </a:moveTo>
                <a:cubicBezTo>
                  <a:pt x="381" y="642"/>
                  <a:pt x="381" y="641"/>
                  <a:pt x="381" y="641"/>
                </a:cubicBezTo>
                <a:cubicBezTo>
                  <a:pt x="381" y="641"/>
                  <a:pt x="379" y="641"/>
                  <a:pt x="379" y="640"/>
                </a:cubicBezTo>
                <a:cubicBezTo>
                  <a:pt x="380" y="637"/>
                  <a:pt x="387" y="642"/>
                  <a:pt x="388" y="643"/>
                </a:cubicBezTo>
                <a:cubicBezTo>
                  <a:pt x="387" y="642"/>
                  <a:pt x="383" y="646"/>
                  <a:pt x="381" y="643"/>
                </a:cubicBezTo>
                <a:close/>
                <a:moveTo>
                  <a:pt x="382" y="615"/>
                </a:moveTo>
                <a:cubicBezTo>
                  <a:pt x="383" y="616"/>
                  <a:pt x="381" y="614"/>
                  <a:pt x="382" y="615"/>
                </a:cubicBezTo>
                <a:close/>
                <a:moveTo>
                  <a:pt x="383" y="159"/>
                </a:moveTo>
                <a:cubicBezTo>
                  <a:pt x="383" y="158"/>
                  <a:pt x="385" y="161"/>
                  <a:pt x="383" y="160"/>
                </a:cubicBezTo>
                <a:cubicBezTo>
                  <a:pt x="383" y="160"/>
                  <a:pt x="382" y="159"/>
                  <a:pt x="383" y="159"/>
                </a:cubicBezTo>
                <a:close/>
                <a:moveTo>
                  <a:pt x="387" y="432"/>
                </a:moveTo>
                <a:cubicBezTo>
                  <a:pt x="387" y="432"/>
                  <a:pt x="387" y="433"/>
                  <a:pt x="387" y="433"/>
                </a:cubicBezTo>
                <a:cubicBezTo>
                  <a:pt x="386" y="434"/>
                  <a:pt x="386" y="432"/>
                  <a:pt x="387" y="432"/>
                </a:cubicBezTo>
                <a:close/>
                <a:moveTo>
                  <a:pt x="387" y="159"/>
                </a:moveTo>
                <a:cubicBezTo>
                  <a:pt x="388" y="159"/>
                  <a:pt x="387" y="161"/>
                  <a:pt x="387" y="159"/>
                </a:cubicBezTo>
                <a:close/>
                <a:moveTo>
                  <a:pt x="388" y="106"/>
                </a:moveTo>
                <a:cubicBezTo>
                  <a:pt x="384" y="103"/>
                  <a:pt x="381" y="102"/>
                  <a:pt x="378" y="97"/>
                </a:cubicBezTo>
                <a:cubicBezTo>
                  <a:pt x="382" y="99"/>
                  <a:pt x="385" y="103"/>
                  <a:pt x="388" y="106"/>
                </a:cubicBezTo>
                <a:close/>
                <a:moveTo>
                  <a:pt x="377" y="583"/>
                </a:moveTo>
                <a:cubicBezTo>
                  <a:pt x="379" y="584"/>
                  <a:pt x="377" y="585"/>
                  <a:pt x="377" y="583"/>
                </a:cubicBezTo>
                <a:close/>
                <a:moveTo>
                  <a:pt x="376" y="149"/>
                </a:moveTo>
                <a:cubicBezTo>
                  <a:pt x="376" y="149"/>
                  <a:pt x="375" y="149"/>
                  <a:pt x="376" y="148"/>
                </a:cubicBezTo>
                <a:cubicBezTo>
                  <a:pt x="376" y="147"/>
                  <a:pt x="378" y="151"/>
                  <a:pt x="376" y="149"/>
                </a:cubicBezTo>
                <a:close/>
                <a:moveTo>
                  <a:pt x="376" y="89"/>
                </a:moveTo>
                <a:cubicBezTo>
                  <a:pt x="375" y="89"/>
                  <a:pt x="377" y="90"/>
                  <a:pt x="376" y="89"/>
                </a:cubicBezTo>
                <a:close/>
                <a:moveTo>
                  <a:pt x="376" y="119"/>
                </a:moveTo>
                <a:cubicBezTo>
                  <a:pt x="376" y="119"/>
                  <a:pt x="376" y="119"/>
                  <a:pt x="376" y="119"/>
                </a:cubicBezTo>
                <a:cubicBezTo>
                  <a:pt x="376" y="119"/>
                  <a:pt x="377" y="119"/>
                  <a:pt x="376" y="119"/>
                </a:cubicBezTo>
                <a:close/>
                <a:moveTo>
                  <a:pt x="377" y="127"/>
                </a:moveTo>
                <a:cubicBezTo>
                  <a:pt x="376" y="126"/>
                  <a:pt x="376" y="126"/>
                  <a:pt x="375" y="125"/>
                </a:cubicBezTo>
                <a:cubicBezTo>
                  <a:pt x="376" y="126"/>
                  <a:pt x="377" y="126"/>
                  <a:pt x="377" y="127"/>
                </a:cubicBezTo>
                <a:close/>
                <a:moveTo>
                  <a:pt x="376" y="147"/>
                </a:moveTo>
                <a:cubicBezTo>
                  <a:pt x="374" y="147"/>
                  <a:pt x="373" y="146"/>
                  <a:pt x="372" y="144"/>
                </a:cubicBezTo>
                <a:cubicBezTo>
                  <a:pt x="374" y="144"/>
                  <a:pt x="375" y="146"/>
                  <a:pt x="376" y="147"/>
                </a:cubicBezTo>
                <a:close/>
                <a:moveTo>
                  <a:pt x="362" y="132"/>
                </a:moveTo>
                <a:cubicBezTo>
                  <a:pt x="366" y="134"/>
                  <a:pt x="369" y="139"/>
                  <a:pt x="372" y="143"/>
                </a:cubicBezTo>
                <a:cubicBezTo>
                  <a:pt x="369" y="141"/>
                  <a:pt x="365" y="135"/>
                  <a:pt x="362" y="132"/>
                </a:cubicBezTo>
                <a:close/>
                <a:moveTo>
                  <a:pt x="367" y="82"/>
                </a:moveTo>
                <a:cubicBezTo>
                  <a:pt x="366" y="81"/>
                  <a:pt x="368" y="83"/>
                  <a:pt x="367" y="82"/>
                </a:cubicBezTo>
                <a:close/>
                <a:moveTo>
                  <a:pt x="366" y="81"/>
                </a:moveTo>
                <a:cubicBezTo>
                  <a:pt x="364" y="81"/>
                  <a:pt x="362" y="79"/>
                  <a:pt x="360" y="77"/>
                </a:cubicBezTo>
                <a:cubicBezTo>
                  <a:pt x="361" y="78"/>
                  <a:pt x="365" y="79"/>
                  <a:pt x="366" y="81"/>
                </a:cubicBezTo>
                <a:close/>
                <a:moveTo>
                  <a:pt x="364" y="54"/>
                </a:moveTo>
                <a:cubicBezTo>
                  <a:pt x="363" y="54"/>
                  <a:pt x="362" y="53"/>
                  <a:pt x="362" y="53"/>
                </a:cubicBezTo>
                <a:cubicBezTo>
                  <a:pt x="362" y="52"/>
                  <a:pt x="364" y="53"/>
                  <a:pt x="364" y="54"/>
                </a:cubicBezTo>
                <a:close/>
                <a:moveTo>
                  <a:pt x="361" y="47"/>
                </a:moveTo>
                <a:cubicBezTo>
                  <a:pt x="361" y="47"/>
                  <a:pt x="360" y="47"/>
                  <a:pt x="360" y="47"/>
                </a:cubicBezTo>
                <a:cubicBezTo>
                  <a:pt x="358" y="46"/>
                  <a:pt x="362" y="45"/>
                  <a:pt x="361" y="47"/>
                </a:cubicBezTo>
                <a:close/>
                <a:moveTo>
                  <a:pt x="361" y="52"/>
                </a:moveTo>
                <a:cubicBezTo>
                  <a:pt x="360" y="53"/>
                  <a:pt x="360" y="52"/>
                  <a:pt x="359" y="52"/>
                </a:cubicBezTo>
                <a:cubicBezTo>
                  <a:pt x="359" y="51"/>
                  <a:pt x="361" y="52"/>
                  <a:pt x="361" y="52"/>
                </a:cubicBezTo>
                <a:close/>
                <a:moveTo>
                  <a:pt x="359" y="74"/>
                </a:moveTo>
                <a:cubicBezTo>
                  <a:pt x="359" y="74"/>
                  <a:pt x="357" y="73"/>
                  <a:pt x="356" y="71"/>
                </a:cubicBezTo>
                <a:cubicBezTo>
                  <a:pt x="357" y="72"/>
                  <a:pt x="358" y="72"/>
                  <a:pt x="359" y="74"/>
                </a:cubicBezTo>
                <a:close/>
                <a:moveTo>
                  <a:pt x="356" y="12"/>
                </a:moveTo>
                <a:cubicBezTo>
                  <a:pt x="357" y="11"/>
                  <a:pt x="358" y="13"/>
                  <a:pt x="356" y="12"/>
                </a:cubicBezTo>
                <a:close/>
                <a:moveTo>
                  <a:pt x="358" y="51"/>
                </a:moveTo>
                <a:cubicBezTo>
                  <a:pt x="357" y="52"/>
                  <a:pt x="356" y="51"/>
                  <a:pt x="355" y="50"/>
                </a:cubicBezTo>
                <a:cubicBezTo>
                  <a:pt x="355" y="49"/>
                  <a:pt x="357" y="51"/>
                  <a:pt x="358" y="51"/>
                </a:cubicBezTo>
                <a:close/>
                <a:moveTo>
                  <a:pt x="350" y="44"/>
                </a:moveTo>
                <a:cubicBezTo>
                  <a:pt x="349" y="44"/>
                  <a:pt x="349" y="44"/>
                  <a:pt x="349" y="43"/>
                </a:cubicBezTo>
                <a:cubicBezTo>
                  <a:pt x="348" y="43"/>
                  <a:pt x="350" y="43"/>
                  <a:pt x="350" y="44"/>
                </a:cubicBezTo>
                <a:close/>
                <a:moveTo>
                  <a:pt x="348" y="18"/>
                </a:moveTo>
                <a:cubicBezTo>
                  <a:pt x="346" y="17"/>
                  <a:pt x="349" y="18"/>
                  <a:pt x="348" y="18"/>
                </a:cubicBezTo>
                <a:close/>
                <a:moveTo>
                  <a:pt x="348" y="50"/>
                </a:moveTo>
                <a:cubicBezTo>
                  <a:pt x="347" y="50"/>
                  <a:pt x="347" y="50"/>
                  <a:pt x="347" y="50"/>
                </a:cubicBezTo>
                <a:cubicBezTo>
                  <a:pt x="348" y="50"/>
                  <a:pt x="348" y="51"/>
                  <a:pt x="348" y="50"/>
                </a:cubicBezTo>
                <a:close/>
                <a:moveTo>
                  <a:pt x="347" y="64"/>
                </a:moveTo>
                <a:cubicBezTo>
                  <a:pt x="349" y="64"/>
                  <a:pt x="352" y="68"/>
                  <a:pt x="355" y="71"/>
                </a:cubicBezTo>
                <a:cubicBezTo>
                  <a:pt x="353" y="70"/>
                  <a:pt x="351" y="68"/>
                  <a:pt x="349" y="66"/>
                </a:cubicBezTo>
                <a:cubicBezTo>
                  <a:pt x="349" y="66"/>
                  <a:pt x="344" y="64"/>
                  <a:pt x="347" y="64"/>
                </a:cubicBezTo>
                <a:close/>
                <a:moveTo>
                  <a:pt x="345" y="38"/>
                </a:moveTo>
                <a:cubicBezTo>
                  <a:pt x="345" y="38"/>
                  <a:pt x="344" y="38"/>
                  <a:pt x="344" y="37"/>
                </a:cubicBezTo>
                <a:cubicBezTo>
                  <a:pt x="345" y="35"/>
                  <a:pt x="347" y="40"/>
                  <a:pt x="345" y="38"/>
                </a:cubicBezTo>
                <a:close/>
                <a:moveTo>
                  <a:pt x="345" y="14"/>
                </a:moveTo>
                <a:cubicBezTo>
                  <a:pt x="345" y="15"/>
                  <a:pt x="343" y="14"/>
                  <a:pt x="343" y="14"/>
                </a:cubicBezTo>
                <a:cubicBezTo>
                  <a:pt x="341" y="12"/>
                  <a:pt x="346" y="12"/>
                  <a:pt x="345" y="14"/>
                </a:cubicBezTo>
                <a:close/>
                <a:moveTo>
                  <a:pt x="333" y="49"/>
                </a:moveTo>
                <a:cubicBezTo>
                  <a:pt x="335" y="48"/>
                  <a:pt x="334" y="50"/>
                  <a:pt x="333" y="49"/>
                </a:cubicBezTo>
                <a:close/>
                <a:moveTo>
                  <a:pt x="344" y="63"/>
                </a:moveTo>
                <a:cubicBezTo>
                  <a:pt x="339" y="61"/>
                  <a:pt x="335" y="59"/>
                  <a:pt x="331" y="56"/>
                </a:cubicBezTo>
                <a:cubicBezTo>
                  <a:pt x="336" y="57"/>
                  <a:pt x="340" y="60"/>
                  <a:pt x="344" y="63"/>
                </a:cubicBezTo>
                <a:close/>
                <a:moveTo>
                  <a:pt x="331" y="76"/>
                </a:moveTo>
                <a:cubicBezTo>
                  <a:pt x="331" y="77"/>
                  <a:pt x="329" y="78"/>
                  <a:pt x="329" y="77"/>
                </a:cubicBezTo>
                <a:cubicBezTo>
                  <a:pt x="329" y="77"/>
                  <a:pt x="329" y="77"/>
                  <a:pt x="329" y="77"/>
                </a:cubicBezTo>
                <a:cubicBezTo>
                  <a:pt x="329" y="78"/>
                  <a:pt x="329" y="78"/>
                  <a:pt x="328" y="78"/>
                </a:cubicBezTo>
                <a:cubicBezTo>
                  <a:pt x="327" y="79"/>
                  <a:pt x="324" y="75"/>
                  <a:pt x="327" y="75"/>
                </a:cubicBezTo>
                <a:cubicBezTo>
                  <a:pt x="328" y="75"/>
                  <a:pt x="329" y="75"/>
                  <a:pt x="329" y="76"/>
                </a:cubicBezTo>
                <a:cubicBezTo>
                  <a:pt x="329" y="76"/>
                  <a:pt x="330" y="75"/>
                  <a:pt x="331" y="76"/>
                </a:cubicBezTo>
                <a:close/>
                <a:moveTo>
                  <a:pt x="327" y="52"/>
                </a:moveTo>
                <a:cubicBezTo>
                  <a:pt x="326" y="52"/>
                  <a:pt x="329" y="52"/>
                  <a:pt x="327" y="52"/>
                </a:cubicBezTo>
                <a:close/>
                <a:moveTo>
                  <a:pt x="325" y="23"/>
                </a:moveTo>
                <a:cubicBezTo>
                  <a:pt x="325" y="22"/>
                  <a:pt x="326" y="24"/>
                  <a:pt x="325" y="23"/>
                </a:cubicBezTo>
                <a:close/>
                <a:moveTo>
                  <a:pt x="330" y="41"/>
                </a:moveTo>
                <a:cubicBezTo>
                  <a:pt x="330" y="43"/>
                  <a:pt x="325" y="43"/>
                  <a:pt x="324" y="42"/>
                </a:cubicBezTo>
                <a:cubicBezTo>
                  <a:pt x="321" y="38"/>
                  <a:pt x="330" y="41"/>
                  <a:pt x="330" y="41"/>
                </a:cubicBezTo>
                <a:close/>
                <a:moveTo>
                  <a:pt x="326" y="75"/>
                </a:moveTo>
                <a:cubicBezTo>
                  <a:pt x="326" y="76"/>
                  <a:pt x="325" y="76"/>
                  <a:pt x="325" y="75"/>
                </a:cubicBezTo>
                <a:cubicBezTo>
                  <a:pt x="324" y="75"/>
                  <a:pt x="326" y="74"/>
                  <a:pt x="326" y="75"/>
                </a:cubicBezTo>
                <a:close/>
                <a:moveTo>
                  <a:pt x="324" y="68"/>
                </a:moveTo>
                <a:cubicBezTo>
                  <a:pt x="324" y="67"/>
                  <a:pt x="325" y="67"/>
                  <a:pt x="325" y="68"/>
                </a:cubicBezTo>
                <a:cubicBezTo>
                  <a:pt x="326" y="69"/>
                  <a:pt x="324" y="68"/>
                  <a:pt x="324" y="68"/>
                </a:cubicBezTo>
                <a:close/>
                <a:moveTo>
                  <a:pt x="327" y="107"/>
                </a:moveTo>
                <a:cubicBezTo>
                  <a:pt x="326" y="109"/>
                  <a:pt x="322" y="107"/>
                  <a:pt x="322" y="107"/>
                </a:cubicBezTo>
                <a:cubicBezTo>
                  <a:pt x="319" y="103"/>
                  <a:pt x="328" y="104"/>
                  <a:pt x="327" y="107"/>
                </a:cubicBezTo>
                <a:close/>
                <a:moveTo>
                  <a:pt x="322" y="27"/>
                </a:moveTo>
                <a:cubicBezTo>
                  <a:pt x="321" y="28"/>
                  <a:pt x="320" y="27"/>
                  <a:pt x="320" y="27"/>
                </a:cubicBezTo>
                <a:cubicBezTo>
                  <a:pt x="319" y="25"/>
                  <a:pt x="322" y="26"/>
                  <a:pt x="322" y="27"/>
                </a:cubicBezTo>
                <a:close/>
                <a:moveTo>
                  <a:pt x="319" y="102"/>
                </a:moveTo>
                <a:cubicBezTo>
                  <a:pt x="319" y="102"/>
                  <a:pt x="318" y="102"/>
                  <a:pt x="318" y="101"/>
                </a:cubicBezTo>
                <a:cubicBezTo>
                  <a:pt x="316" y="100"/>
                  <a:pt x="321" y="100"/>
                  <a:pt x="319" y="102"/>
                </a:cubicBezTo>
                <a:close/>
                <a:moveTo>
                  <a:pt x="319" y="85"/>
                </a:moveTo>
                <a:cubicBezTo>
                  <a:pt x="321" y="85"/>
                  <a:pt x="318" y="87"/>
                  <a:pt x="318" y="85"/>
                </a:cubicBezTo>
                <a:cubicBezTo>
                  <a:pt x="318" y="85"/>
                  <a:pt x="319" y="85"/>
                  <a:pt x="319" y="85"/>
                </a:cubicBezTo>
                <a:close/>
                <a:moveTo>
                  <a:pt x="319" y="73"/>
                </a:moveTo>
                <a:cubicBezTo>
                  <a:pt x="319" y="73"/>
                  <a:pt x="318" y="73"/>
                  <a:pt x="318" y="73"/>
                </a:cubicBezTo>
                <a:cubicBezTo>
                  <a:pt x="316" y="73"/>
                  <a:pt x="318" y="72"/>
                  <a:pt x="319" y="73"/>
                </a:cubicBezTo>
                <a:close/>
                <a:moveTo>
                  <a:pt x="317" y="46"/>
                </a:moveTo>
                <a:cubicBezTo>
                  <a:pt x="317" y="47"/>
                  <a:pt x="315" y="47"/>
                  <a:pt x="315" y="46"/>
                </a:cubicBezTo>
                <a:cubicBezTo>
                  <a:pt x="314" y="45"/>
                  <a:pt x="317" y="44"/>
                  <a:pt x="317" y="46"/>
                </a:cubicBezTo>
                <a:close/>
                <a:moveTo>
                  <a:pt x="315" y="61"/>
                </a:moveTo>
                <a:cubicBezTo>
                  <a:pt x="315" y="61"/>
                  <a:pt x="315" y="60"/>
                  <a:pt x="315" y="60"/>
                </a:cubicBezTo>
                <a:cubicBezTo>
                  <a:pt x="313" y="57"/>
                  <a:pt x="319" y="61"/>
                  <a:pt x="315" y="61"/>
                </a:cubicBezTo>
                <a:close/>
                <a:moveTo>
                  <a:pt x="314" y="88"/>
                </a:moveTo>
                <a:cubicBezTo>
                  <a:pt x="315" y="88"/>
                  <a:pt x="316" y="89"/>
                  <a:pt x="315" y="89"/>
                </a:cubicBezTo>
                <a:cubicBezTo>
                  <a:pt x="315" y="90"/>
                  <a:pt x="313" y="89"/>
                  <a:pt x="314" y="88"/>
                </a:cubicBezTo>
                <a:close/>
                <a:moveTo>
                  <a:pt x="314" y="98"/>
                </a:moveTo>
                <a:cubicBezTo>
                  <a:pt x="313" y="98"/>
                  <a:pt x="312" y="97"/>
                  <a:pt x="312" y="96"/>
                </a:cubicBezTo>
                <a:cubicBezTo>
                  <a:pt x="313" y="96"/>
                  <a:pt x="313" y="97"/>
                  <a:pt x="314" y="98"/>
                </a:cubicBezTo>
                <a:close/>
                <a:moveTo>
                  <a:pt x="313" y="62"/>
                </a:moveTo>
                <a:cubicBezTo>
                  <a:pt x="311" y="61"/>
                  <a:pt x="314" y="62"/>
                  <a:pt x="313" y="62"/>
                </a:cubicBezTo>
                <a:close/>
                <a:moveTo>
                  <a:pt x="308" y="35"/>
                </a:moveTo>
                <a:cubicBezTo>
                  <a:pt x="307" y="34"/>
                  <a:pt x="310" y="37"/>
                  <a:pt x="308" y="35"/>
                </a:cubicBezTo>
                <a:close/>
                <a:moveTo>
                  <a:pt x="305" y="53"/>
                </a:moveTo>
                <a:cubicBezTo>
                  <a:pt x="305" y="52"/>
                  <a:pt x="306" y="54"/>
                  <a:pt x="306" y="54"/>
                </a:cubicBezTo>
                <a:cubicBezTo>
                  <a:pt x="306" y="54"/>
                  <a:pt x="306" y="53"/>
                  <a:pt x="305" y="53"/>
                </a:cubicBezTo>
                <a:close/>
                <a:moveTo>
                  <a:pt x="306" y="45"/>
                </a:moveTo>
                <a:cubicBezTo>
                  <a:pt x="304" y="40"/>
                  <a:pt x="314" y="43"/>
                  <a:pt x="312" y="46"/>
                </a:cubicBezTo>
                <a:cubicBezTo>
                  <a:pt x="311" y="48"/>
                  <a:pt x="307" y="45"/>
                  <a:pt x="306" y="45"/>
                </a:cubicBezTo>
                <a:close/>
                <a:moveTo>
                  <a:pt x="307" y="88"/>
                </a:moveTo>
                <a:cubicBezTo>
                  <a:pt x="308" y="88"/>
                  <a:pt x="307" y="89"/>
                  <a:pt x="307" y="89"/>
                </a:cubicBezTo>
                <a:cubicBezTo>
                  <a:pt x="307" y="89"/>
                  <a:pt x="306" y="87"/>
                  <a:pt x="307" y="88"/>
                </a:cubicBezTo>
                <a:close/>
                <a:moveTo>
                  <a:pt x="313" y="101"/>
                </a:moveTo>
                <a:cubicBezTo>
                  <a:pt x="313" y="102"/>
                  <a:pt x="306" y="96"/>
                  <a:pt x="305" y="95"/>
                </a:cubicBezTo>
                <a:cubicBezTo>
                  <a:pt x="305" y="95"/>
                  <a:pt x="305" y="94"/>
                  <a:pt x="305" y="93"/>
                </a:cubicBezTo>
                <a:cubicBezTo>
                  <a:pt x="305" y="93"/>
                  <a:pt x="314" y="100"/>
                  <a:pt x="313" y="101"/>
                </a:cubicBezTo>
                <a:close/>
                <a:moveTo>
                  <a:pt x="306" y="102"/>
                </a:moveTo>
                <a:cubicBezTo>
                  <a:pt x="304" y="103"/>
                  <a:pt x="303" y="99"/>
                  <a:pt x="302" y="98"/>
                </a:cubicBezTo>
                <a:cubicBezTo>
                  <a:pt x="303" y="98"/>
                  <a:pt x="305" y="101"/>
                  <a:pt x="306" y="102"/>
                </a:cubicBezTo>
                <a:close/>
                <a:moveTo>
                  <a:pt x="301" y="81"/>
                </a:moveTo>
                <a:cubicBezTo>
                  <a:pt x="302" y="80"/>
                  <a:pt x="303" y="84"/>
                  <a:pt x="301" y="82"/>
                </a:cubicBezTo>
                <a:cubicBezTo>
                  <a:pt x="301" y="82"/>
                  <a:pt x="301" y="82"/>
                  <a:pt x="301" y="81"/>
                </a:cubicBezTo>
                <a:close/>
                <a:moveTo>
                  <a:pt x="303" y="92"/>
                </a:moveTo>
                <a:cubicBezTo>
                  <a:pt x="299" y="88"/>
                  <a:pt x="295" y="86"/>
                  <a:pt x="293" y="81"/>
                </a:cubicBezTo>
                <a:cubicBezTo>
                  <a:pt x="297" y="83"/>
                  <a:pt x="301" y="88"/>
                  <a:pt x="303" y="92"/>
                </a:cubicBezTo>
                <a:close/>
                <a:moveTo>
                  <a:pt x="293" y="77"/>
                </a:moveTo>
                <a:cubicBezTo>
                  <a:pt x="293" y="77"/>
                  <a:pt x="293" y="77"/>
                  <a:pt x="293" y="77"/>
                </a:cubicBezTo>
                <a:cubicBezTo>
                  <a:pt x="293" y="77"/>
                  <a:pt x="293" y="77"/>
                  <a:pt x="293" y="77"/>
                </a:cubicBezTo>
                <a:cubicBezTo>
                  <a:pt x="293" y="77"/>
                  <a:pt x="293" y="77"/>
                  <a:pt x="293" y="77"/>
                </a:cubicBezTo>
                <a:close/>
                <a:moveTo>
                  <a:pt x="302" y="98"/>
                </a:moveTo>
                <a:cubicBezTo>
                  <a:pt x="297" y="92"/>
                  <a:pt x="293" y="88"/>
                  <a:pt x="288" y="83"/>
                </a:cubicBezTo>
                <a:cubicBezTo>
                  <a:pt x="293" y="87"/>
                  <a:pt x="298" y="91"/>
                  <a:pt x="302" y="98"/>
                </a:cubicBezTo>
                <a:close/>
                <a:moveTo>
                  <a:pt x="295" y="198"/>
                </a:moveTo>
                <a:cubicBezTo>
                  <a:pt x="291" y="196"/>
                  <a:pt x="287" y="194"/>
                  <a:pt x="284" y="192"/>
                </a:cubicBezTo>
                <a:cubicBezTo>
                  <a:pt x="286" y="193"/>
                  <a:pt x="293" y="196"/>
                  <a:pt x="295" y="198"/>
                </a:cubicBezTo>
                <a:close/>
                <a:moveTo>
                  <a:pt x="287" y="663"/>
                </a:moveTo>
                <a:cubicBezTo>
                  <a:pt x="288" y="663"/>
                  <a:pt x="289" y="664"/>
                  <a:pt x="289" y="664"/>
                </a:cubicBezTo>
                <a:cubicBezTo>
                  <a:pt x="290" y="665"/>
                  <a:pt x="286" y="664"/>
                  <a:pt x="287" y="663"/>
                </a:cubicBezTo>
                <a:close/>
                <a:moveTo>
                  <a:pt x="283" y="230"/>
                </a:moveTo>
                <a:cubicBezTo>
                  <a:pt x="284" y="231"/>
                  <a:pt x="281" y="228"/>
                  <a:pt x="283" y="230"/>
                </a:cubicBezTo>
                <a:close/>
                <a:moveTo>
                  <a:pt x="282" y="216"/>
                </a:moveTo>
                <a:cubicBezTo>
                  <a:pt x="282" y="216"/>
                  <a:pt x="282" y="216"/>
                  <a:pt x="282" y="216"/>
                </a:cubicBezTo>
                <a:cubicBezTo>
                  <a:pt x="283" y="216"/>
                  <a:pt x="283" y="216"/>
                  <a:pt x="283" y="216"/>
                </a:cubicBezTo>
                <a:cubicBezTo>
                  <a:pt x="283" y="216"/>
                  <a:pt x="282" y="216"/>
                  <a:pt x="282" y="216"/>
                </a:cubicBezTo>
                <a:close/>
                <a:moveTo>
                  <a:pt x="283" y="165"/>
                </a:moveTo>
                <a:cubicBezTo>
                  <a:pt x="280" y="165"/>
                  <a:pt x="280" y="160"/>
                  <a:pt x="284" y="161"/>
                </a:cubicBezTo>
                <a:cubicBezTo>
                  <a:pt x="286" y="162"/>
                  <a:pt x="285" y="166"/>
                  <a:pt x="283" y="165"/>
                </a:cubicBezTo>
                <a:close/>
                <a:moveTo>
                  <a:pt x="279" y="199"/>
                </a:moveTo>
                <a:cubicBezTo>
                  <a:pt x="279" y="199"/>
                  <a:pt x="278" y="198"/>
                  <a:pt x="279" y="198"/>
                </a:cubicBezTo>
                <a:cubicBezTo>
                  <a:pt x="279" y="198"/>
                  <a:pt x="280" y="199"/>
                  <a:pt x="279" y="199"/>
                </a:cubicBezTo>
                <a:close/>
                <a:moveTo>
                  <a:pt x="278" y="184"/>
                </a:moveTo>
                <a:cubicBezTo>
                  <a:pt x="278" y="184"/>
                  <a:pt x="278" y="185"/>
                  <a:pt x="278" y="185"/>
                </a:cubicBezTo>
                <a:cubicBezTo>
                  <a:pt x="277" y="183"/>
                  <a:pt x="280" y="185"/>
                  <a:pt x="278" y="184"/>
                </a:cubicBezTo>
                <a:close/>
                <a:moveTo>
                  <a:pt x="270" y="138"/>
                </a:moveTo>
                <a:cubicBezTo>
                  <a:pt x="271" y="139"/>
                  <a:pt x="272" y="136"/>
                  <a:pt x="273" y="136"/>
                </a:cubicBezTo>
                <a:cubicBezTo>
                  <a:pt x="275" y="137"/>
                  <a:pt x="273" y="138"/>
                  <a:pt x="274" y="139"/>
                </a:cubicBezTo>
                <a:cubicBezTo>
                  <a:pt x="277" y="141"/>
                  <a:pt x="282" y="141"/>
                  <a:pt x="284" y="143"/>
                </a:cubicBezTo>
                <a:cubicBezTo>
                  <a:pt x="280" y="142"/>
                  <a:pt x="275" y="140"/>
                  <a:pt x="270" y="138"/>
                </a:cubicBezTo>
                <a:close/>
                <a:moveTo>
                  <a:pt x="278" y="148"/>
                </a:moveTo>
                <a:cubicBezTo>
                  <a:pt x="276" y="148"/>
                  <a:pt x="278" y="147"/>
                  <a:pt x="278" y="148"/>
                </a:cubicBezTo>
                <a:close/>
                <a:moveTo>
                  <a:pt x="265" y="190"/>
                </a:moveTo>
                <a:cubicBezTo>
                  <a:pt x="268" y="190"/>
                  <a:pt x="273" y="192"/>
                  <a:pt x="275" y="194"/>
                </a:cubicBezTo>
                <a:cubicBezTo>
                  <a:pt x="271" y="192"/>
                  <a:pt x="268" y="192"/>
                  <a:pt x="265" y="190"/>
                </a:cubicBezTo>
                <a:close/>
                <a:moveTo>
                  <a:pt x="273" y="554"/>
                </a:moveTo>
                <a:cubicBezTo>
                  <a:pt x="273" y="554"/>
                  <a:pt x="273" y="553"/>
                  <a:pt x="273" y="554"/>
                </a:cubicBezTo>
                <a:cubicBezTo>
                  <a:pt x="273" y="554"/>
                  <a:pt x="273" y="554"/>
                  <a:pt x="273" y="554"/>
                </a:cubicBezTo>
                <a:close/>
                <a:moveTo>
                  <a:pt x="271" y="230"/>
                </a:moveTo>
                <a:cubicBezTo>
                  <a:pt x="272" y="230"/>
                  <a:pt x="274" y="234"/>
                  <a:pt x="272" y="235"/>
                </a:cubicBezTo>
                <a:cubicBezTo>
                  <a:pt x="269" y="235"/>
                  <a:pt x="269" y="231"/>
                  <a:pt x="271" y="230"/>
                </a:cubicBezTo>
                <a:close/>
                <a:moveTo>
                  <a:pt x="270" y="215"/>
                </a:moveTo>
                <a:cubicBezTo>
                  <a:pt x="271" y="214"/>
                  <a:pt x="272" y="217"/>
                  <a:pt x="270" y="216"/>
                </a:cubicBezTo>
                <a:cubicBezTo>
                  <a:pt x="270" y="216"/>
                  <a:pt x="269" y="215"/>
                  <a:pt x="270" y="215"/>
                </a:cubicBezTo>
                <a:close/>
                <a:moveTo>
                  <a:pt x="267" y="262"/>
                </a:moveTo>
                <a:cubicBezTo>
                  <a:pt x="269" y="261"/>
                  <a:pt x="268" y="263"/>
                  <a:pt x="267" y="262"/>
                </a:cubicBezTo>
                <a:close/>
                <a:moveTo>
                  <a:pt x="258" y="254"/>
                </a:moveTo>
                <a:cubicBezTo>
                  <a:pt x="260" y="255"/>
                  <a:pt x="261" y="257"/>
                  <a:pt x="263" y="258"/>
                </a:cubicBezTo>
                <a:cubicBezTo>
                  <a:pt x="261" y="258"/>
                  <a:pt x="260" y="256"/>
                  <a:pt x="258" y="254"/>
                </a:cubicBezTo>
                <a:close/>
                <a:moveTo>
                  <a:pt x="261" y="509"/>
                </a:moveTo>
                <a:cubicBezTo>
                  <a:pt x="261" y="510"/>
                  <a:pt x="260" y="509"/>
                  <a:pt x="260" y="509"/>
                </a:cubicBezTo>
                <a:cubicBezTo>
                  <a:pt x="260" y="508"/>
                  <a:pt x="261" y="509"/>
                  <a:pt x="261" y="509"/>
                </a:cubicBezTo>
                <a:close/>
                <a:moveTo>
                  <a:pt x="258" y="191"/>
                </a:moveTo>
                <a:cubicBezTo>
                  <a:pt x="258" y="191"/>
                  <a:pt x="259" y="193"/>
                  <a:pt x="258" y="193"/>
                </a:cubicBezTo>
                <a:cubicBezTo>
                  <a:pt x="257" y="193"/>
                  <a:pt x="258" y="192"/>
                  <a:pt x="258" y="191"/>
                </a:cubicBezTo>
                <a:close/>
                <a:moveTo>
                  <a:pt x="260" y="233"/>
                </a:moveTo>
                <a:cubicBezTo>
                  <a:pt x="262" y="233"/>
                  <a:pt x="258" y="234"/>
                  <a:pt x="260" y="233"/>
                </a:cubicBezTo>
                <a:close/>
                <a:moveTo>
                  <a:pt x="260" y="231"/>
                </a:moveTo>
                <a:cubicBezTo>
                  <a:pt x="261" y="233"/>
                  <a:pt x="263" y="236"/>
                  <a:pt x="264" y="238"/>
                </a:cubicBezTo>
                <a:cubicBezTo>
                  <a:pt x="262" y="237"/>
                  <a:pt x="261" y="233"/>
                  <a:pt x="260" y="231"/>
                </a:cubicBezTo>
                <a:close/>
                <a:moveTo>
                  <a:pt x="260" y="229"/>
                </a:moveTo>
                <a:cubicBezTo>
                  <a:pt x="260" y="229"/>
                  <a:pt x="261" y="230"/>
                  <a:pt x="261" y="230"/>
                </a:cubicBezTo>
                <a:cubicBezTo>
                  <a:pt x="261" y="230"/>
                  <a:pt x="260" y="229"/>
                  <a:pt x="260" y="229"/>
                </a:cubicBezTo>
                <a:close/>
                <a:moveTo>
                  <a:pt x="261" y="154"/>
                </a:moveTo>
                <a:cubicBezTo>
                  <a:pt x="262" y="155"/>
                  <a:pt x="263" y="157"/>
                  <a:pt x="263" y="158"/>
                </a:cubicBezTo>
                <a:cubicBezTo>
                  <a:pt x="262" y="157"/>
                  <a:pt x="261" y="156"/>
                  <a:pt x="261" y="154"/>
                </a:cubicBezTo>
                <a:close/>
                <a:moveTo>
                  <a:pt x="263" y="68"/>
                </a:moveTo>
                <a:cubicBezTo>
                  <a:pt x="264" y="69"/>
                  <a:pt x="265" y="70"/>
                  <a:pt x="266" y="72"/>
                </a:cubicBezTo>
                <a:cubicBezTo>
                  <a:pt x="264" y="72"/>
                  <a:pt x="264" y="69"/>
                  <a:pt x="263" y="68"/>
                </a:cubicBezTo>
                <a:close/>
                <a:moveTo>
                  <a:pt x="266" y="63"/>
                </a:moveTo>
                <a:cubicBezTo>
                  <a:pt x="264" y="62"/>
                  <a:pt x="265" y="61"/>
                  <a:pt x="266" y="63"/>
                </a:cubicBezTo>
                <a:close/>
                <a:moveTo>
                  <a:pt x="267" y="132"/>
                </a:moveTo>
                <a:cubicBezTo>
                  <a:pt x="269" y="132"/>
                  <a:pt x="271" y="137"/>
                  <a:pt x="268" y="137"/>
                </a:cubicBezTo>
                <a:cubicBezTo>
                  <a:pt x="266" y="138"/>
                  <a:pt x="263" y="132"/>
                  <a:pt x="267" y="132"/>
                </a:cubicBezTo>
                <a:close/>
                <a:moveTo>
                  <a:pt x="267" y="108"/>
                </a:moveTo>
                <a:cubicBezTo>
                  <a:pt x="268" y="108"/>
                  <a:pt x="268" y="109"/>
                  <a:pt x="268" y="109"/>
                </a:cubicBezTo>
                <a:cubicBezTo>
                  <a:pt x="267" y="110"/>
                  <a:pt x="265" y="108"/>
                  <a:pt x="267" y="108"/>
                </a:cubicBezTo>
                <a:close/>
                <a:moveTo>
                  <a:pt x="270" y="113"/>
                </a:moveTo>
                <a:cubicBezTo>
                  <a:pt x="268" y="113"/>
                  <a:pt x="271" y="114"/>
                  <a:pt x="270" y="113"/>
                </a:cubicBezTo>
                <a:close/>
                <a:moveTo>
                  <a:pt x="267" y="149"/>
                </a:moveTo>
                <a:cubicBezTo>
                  <a:pt x="266" y="150"/>
                  <a:pt x="266" y="149"/>
                  <a:pt x="265" y="148"/>
                </a:cubicBezTo>
                <a:cubicBezTo>
                  <a:pt x="264" y="146"/>
                  <a:pt x="269" y="148"/>
                  <a:pt x="267" y="149"/>
                </a:cubicBezTo>
                <a:close/>
                <a:moveTo>
                  <a:pt x="264" y="161"/>
                </a:moveTo>
                <a:cubicBezTo>
                  <a:pt x="265" y="161"/>
                  <a:pt x="265" y="162"/>
                  <a:pt x="265" y="162"/>
                </a:cubicBezTo>
                <a:cubicBezTo>
                  <a:pt x="265" y="162"/>
                  <a:pt x="263" y="158"/>
                  <a:pt x="264" y="161"/>
                </a:cubicBezTo>
                <a:close/>
                <a:moveTo>
                  <a:pt x="266" y="512"/>
                </a:moveTo>
                <a:cubicBezTo>
                  <a:pt x="264" y="513"/>
                  <a:pt x="264" y="510"/>
                  <a:pt x="266" y="512"/>
                </a:cubicBezTo>
                <a:close/>
                <a:moveTo>
                  <a:pt x="271" y="181"/>
                </a:moveTo>
                <a:cubicBezTo>
                  <a:pt x="272" y="180"/>
                  <a:pt x="273" y="183"/>
                  <a:pt x="272" y="182"/>
                </a:cubicBezTo>
                <a:cubicBezTo>
                  <a:pt x="271" y="182"/>
                  <a:pt x="271" y="182"/>
                  <a:pt x="271" y="181"/>
                </a:cubicBezTo>
                <a:close/>
                <a:moveTo>
                  <a:pt x="283" y="92"/>
                </a:moveTo>
                <a:cubicBezTo>
                  <a:pt x="280" y="90"/>
                  <a:pt x="285" y="92"/>
                  <a:pt x="284" y="93"/>
                </a:cubicBezTo>
                <a:cubicBezTo>
                  <a:pt x="284" y="94"/>
                  <a:pt x="281" y="91"/>
                  <a:pt x="280" y="91"/>
                </a:cubicBezTo>
                <a:cubicBezTo>
                  <a:pt x="279" y="90"/>
                  <a:pt x="275" y="89"/>
                  <a:pt x="274" y="87"/>
                </a:cubicBezTo>
                <a:cubicBezTo>
                  <a:pt x="272" y="83"/>
                  <a:pt x="282" y="91"/>
                  <a:pt x="283" y="92"/>
                </a:cubicBezTo>
                <a:close/>
                <a:moveTo>
                  <a:pt x="273" y="75"/>
                </a:moveTo>
                <a:cubicBezTo>
                  <a:pt x="275" y="75"/>
                  <a:pt x="274" y="77"/>
                  <a:pt x="273" y="75"/>
                </a:cubicBezTo>
                <a:close/>
                <a:moveTo>
                  <a:pt x="283" y="102"/>
                </a:moveTo>
                <a:cubicBezTo>
                  <a:pt x="283" y="102"/>
                  <a:pt x="283" y="102"/>
                  <a:pt x="284" y="103"/>
                </a:cubicBezTo>
                <a:cubicBezTo>
                  <a:pt x="284" y="103"/>
                  <a:pt x="284" y="103"/>
                  <a:pt x="284" y="103"/>
                </a:cubicBezTo>
                <a:cubicBezTo>
                  <a:pt x="284" y="102"/>
                  <a:pt x="283" y="102"/>
                  <a:pt x="283" y="102"/>
                </a:cubicBezTo>
                <a:close/>
                <a:moveTo>
                  <a:pt x="285" y="137"/>
                </a:moveTo>
                <a:cubicBezTo>
                  <a:pt x="285" y="138"/>
                  <a:pt x="284" y="137"/>
                  <a:pt x="283" y="137"/>
                </a:cubicBezTo>
                <a:cubicBezTo>
                  <a:pt x="282" y="134"/>
                  <a:pt x="287" y="136"/>
                  <a:pt x="285" y="137"/>
                </a:cubicBezTo>
                <a:close/>
                <a:moveTo>
                  <a:pt x="276" y="104"/>
                </a:moveTo>
                <a:cubicBezTo>
                  <a:pt x="276" y="104"/>
                  <a:pt x="280" y="107"/>
                  <a:pt x="280" y="109"/>
                </a:cubicBezTo>
                <a:cubicBezTo>
                  <a:pt x="279" y="108"/>
                  <a:pt x="276" y="105"/>
                  <a:pt x="276" y="104"/>
                </a:cubicBezTo>
                <a:close/>
                <a:moveTo>
                  <a:pt x="277" y="127"/>
                </a:moveTo>
                <a:cubicBezTo>
                  <a:pt x="276" y="126"/>
                  <a:pt x="276" y="126"/>
                  <a:pt x="275" y="125"/>
                </a:cubicBezTo>
                <a:cubicBezTo>
                  <a:pt x="276" y="125"/>
                  <a:pt x="277" y="126"/>
                  <a:pt x="277" y="127"/>
                </a:cubicBezTo>
                <a:close/>
                <a:moveTo>
                  <a:pt x="279" y="102"/>
                </a:moveTo>
                <a:cubicBezTo>
                  <a:pt x="278" y="102"/>
                  <a:pt x="281" y="102"/>
                  <a:pt x="281" y="102"/>
                </a:cubicBezTo>
                <a:cubicBezTo>
                  <a:pt x="280" y="103"/>
                  <a:pt x="279" y="102"/>
                  <a:pt x="279" y="102"/>
                </a:cubicBezTo>
                <a:close/>
                <a:moveTo>
                  <a:pt x="275" y="111"/>
                </a:moveTo>
                <a:cubicBezTo>
                  <a:pt x="275" y="111"/>
                  <a:pt x="275" y="111"/>
                  <a:pt x="274" y="110"/>
                </a:cubicBezTo>
                <a:cubicBezTo>
                  <a:pt x="275" y="111"/>
                  <a:pt x="275" y="111"/>
                  <a:pt x="275" y="111"/>
                </a:cubicBezTo>
                <a:cubicBezTo>
                  <a:pt x="275" y="111"/>
                  <a:pt x="275" y="111"/>
                  <a:pt x="275" y="111"/>
                </a:cubicBezTo>
                <a:close/>
                <a:moveTo>
                  <a:pt x="287" y="142"/>
                </a:moveTo>
                <a:cubicBezTo>
                  <a:pt x="286" y="143"/>
                  <a:pt x="284" y="140"/>
                  <a:pt x="286" y="140"/>
                </a:cubicBezTo>
                <a:cubicBezTo>
                  <a:pt x="287" y="139"/>
                  <a:pt x="288" y="141"/>
                  <a:pt x="287" y="142"/>
                </a:cubicBezTo>
                <a:close/>
                <a:moveTo>
                  <a:pt x="286" y="87"/>
                </a:moveTo>
                <a:cubicBezTo>
                  <a:pt x="287" y="87"/>
                  <a:pt x="287" y="88"/>
                  <a:pt x="286" y="89"/>
                </a:cubicBezTo>
                <a:cubicBezTo>
                  <a:pt x="286" y="89"/>
                  <a:pt x="285" y="88"/>
                  <a:pt x="286" y="87"/>
                </a:cubicBezTo>
                <a:close/>
                <a:moveTo>
                  <a:pt x="280" y="66"/>
                </a:moveTo>
                <a:cubicBezTo>
                  <a:pt x="282" y="65"/>
                  <a:pt x="285" y="69"/>
                  <a:pt x="286" y="70"/>
                </a:cubicBezTo>
                <a:cubicBezTo>
                  <a:pt x="284" y="71"/>
                  <a:pt x="279" y="68"/>
                  <a:pt x="280" y="66"/>
                </a:cubicBezTo>
                <a:close/>
                <a:moveTo>
                  <a:pt x="276" y="74"/>
                </a:moveTo>
                <a:cubicBezTo>
                  <a:pt x="278" y="76"/>
                  <a:pt x="275" y="73"/>
                  <a:pt x="276" y="74"/>
                </a:cubicBezTo>
                <a:close/>
                <a:moveTo>
                  <a:pt x="276" y="77"/>
                </a:moveTo>
                <a:cubicBezTo>
                  <a:pt x="276" y="77"/>
                  <a:pt x="276" y="77"/>
                  <a:pt x="276" y="77"/>
                </a:cubicBezTo>
                <a:cubicBezTo>
                  <a:pt x="276" y="77"/>
                  <a:pt x="276" y="77"/>
                  <a:pt x="275" y="77"/>
                </a:cubicBezTo>
                <a:cubicBezTo>
                  <a:pt x="276" y="77"/>
                  <a:pt x="276" y="77"/>
                  <a:pt x="276" y="77"/>
                </a:cubicBezTo>
                <a:close/>
                <a:moveTo>
                  <a:pt x="275" y="74"/>
                </a:moveTo>
                <a:cubicBezTo>
                  <a:pt x="274" y="74"/>
                  <a:pt x="273" y="72"/>
                  <a:pt x="271" y="72"/>
                </a:cubicBezTo>
                <a:cubicBezTo>
                  <a:pt x="272" y="71"/>
                  <a:pt x="274" y="73"/>
                  <a:pt x="275" y="74"/>
                </a:cubicBezTo>
                <a:close/>
                <a:moveTo>
                  <a:pt x="273" y="85"/>
                </a:moveTo>
                <a:cubicBezTo>
                  <a:pt x="273" y="86"/>
                  <a:pt x="271" y="85"/>
                  <a:pt x="270" y="85"/>
                </a:cubicBezTo>
                <a:cubicBezTo>
                  <a:pt x="268" y="83"/>
                  <a:pt x="274" y="82"/>
                  <a:pt x="273" y="85"/>
                </a:cubicBezTo>
                <a:close/>
                <a:moveTo>
                  <a:pt x="275" y="102"/>
                </a:moveTo>
                <a:cubicBezTo>
                  <a:pt x="272" y="100"/>
                  <a:pt x="270" y="98"/>
                  <a:pt x="268" y="95"/>
                </a:cubicBezTo>
                <a:cubicBezTo>
                  <a:pt x="271" y="97"/>
                  <a:pt x="273" y="99"/>
                  <a:pt x="275" y="102"/>
                </a:cubicBezTo>
                <a:close/>
                <a:moveTo>
                  <a:pt x="268" y="117"/>
                </a:moveTo>
                <a:cubicBezTo>
                  <a:pt x="268" y="118"/>
                  <a:pt x="267" y="117"/>
                  <a:pt x="267" y="116"/>
                </a:cubicBezTo>
                <a:cubicBezTo>
                  <a:pt x="265" y="115"/>
                  <a:pt x="269" y="116"/>
                  <a:pt x="268" y="117"/>
                </a:cubicBezTo>
                <a:close/>
                <a:moveTo>
                  <a:pt x="268" y="58"/>
                </a:moveTo>
                <a:cubicBezTo>
                  <a:pt x="269" y="59"/>
                  <a:pt x="266" y="57"/>
                  <a:pt x="268" y="58"/>
                </a:cubicBezTo>
                <a:close/>
                <a:moveTo>
                  <a:pt x="267" y="98"/>
                </a:moveTo>
                <a:cubicBezTo>
                  <a:pt x="267" y="98"/>
                  <a:pt x="265" y="98"/>
                  <a:pt x="265" y="97"/>
                </a:cubicBezTo>
                <a:cubicBezTo>
                  <a:pt x="265" y="97"/>
                  <a:pt x="267" y="98"/>
                  <a:pt x="267" y="98"/>
                </a:cubicBezTo>
                <a:close/>
                <a:moveTo>
                  <a:pt x="266" y="51"/>
                </a:moveTo>
                <a:cubicBezTo>
                  <a:pt x="265" y="52"/>
                  <a:pt x="262" y="52"/>
                  <a:pt x="260" y="51"/>
                </a:cubicBezTo>
                <a:cubicBezTo>
                  <a:pt x="262" y="50"/>
                  <a:pt x="264" y="51"/>
                  <a:pt x="266" y="51"/>
                </a:cubicBezTo>
                <a:close/>
                <a:moveTo>
                  <a:pt x="260" y="153"/>
                </a:moveTo>
                <a:cubicBezTo>
                  <a:pt x="260" y="153"/>
                  <a:pt x="260" y="153"/>
                  <a:pt x="260" y="153"/>
                </a:cubicBezTo>
                <a:cubicBezTo>
                  <a:pt x="260" y="153"/>
                  <a:pt x="260" y="153"/>
                  <a:pt x="260" y="153"/>
                </a:cubicBezTo>
                <a:cubicBezTo>
                  <a:pt x="260" y="153"/>
                  <a:pt x="260" y="153"/>
                  <a:pt x="260" y="153"/>
                </a:cubicBezTo>
                <a:close/>
                <a:moveTo>
                  <a:pt x="260" y="181"/>
                </a:moveTo>
                <a:cubicBezTo>
                  <a:pt x="261" y="181"/>
                  <a:pt x="262" y="183"/>
                  <a:pt x="261" y="183"/>
                </a:cubicBezTo>
                <a:cubicBezTo>
                  <a:pt x="261" y="184"/>
                  <a:pt x="259" y="182"/>
                  <a:pt x="260" y="181"/>
                </a:cubicBezTo>
                <a:close/>
                <a:moveTo>
                  <a:pt x="260" y="152"/>
                </a:moveTo>
                <a:cubicBezTo>
                  <a:pt x="259" y="152"/>
                  <a:pt x="259" y="152"/>
                  <a:pt x="260" y="152"/>
                </a:cubicBezTo>
                <a:close/>
                <a:moveTo>
                  <a:pt x="259" y="202"/>
                </a:moveTo>
                <a:cubicBezTo>
                  <a:pt x="261" y="201"/>
                  <a:pt x="259" y="205"/>
                  <a:pt x="259" y="202"/>
                </a:cubicBezTo>
                <a:close/>
                <a:moveTo>
                  <a:pt x="259" y="152"/>
                </a:moveTo>
                <a:cubicBezTo>
                  <a:pt x="258" y="151"/>
                  <a:pt x="257" y="150"/>
                  <a:pt x="257" y="148"/>
                </a:cubicBezTo>
                <a:cubicBezTo>
                  <a:pt x="258" y="149"/>
                  <a:pt x="259" y="150"/>
                  <a:pt x="259" y="152"/>
                </a:cubicBezTo>
                <a:close/>
                <a:moveTo>
                  <a:pt x="255" y="100"/>
                </a:moveTo>
                <a:cubicBezTo>
                  <a:pt x="256" y="100"/>
                  <a:pt x="257" y="102"/>
                  <a:pt x="255" y="103"/>
                </a:cubicBezTo>
                <a:cubicBezTo>
                  <a:pt x="254" y="103"/>
                  <a:pt x="252" y="100"/>
                  <a:pt x="255" y="100"/>
                </a:cubicBezTo>
                <a:close/>
                <a:moveTo>
                  <a:pt x="255" y="196"/>
                </a:moveTo>
                <a:cubicBezTo>
                  <a:pt x="256" y="196"/>
                  <a:pt x="255" y="198"/>
                  <a:pt x="255" y="198"/>
                </a:cubicBezTo>
                <a:cubicBezTo>
                  <a:pt x="254" y="198"/>
                  <a:pt x="254" y="196"/>
                  <a:pt x="255" y="196"/>
                </a:cubicBezTo>
                <a:close/>
                <a:moveTo>
                  <a:pt x="253" y="79"/>
                </a:moveTo>
                <a:cubicBezTo>
                  <a:pt x="252" y="82"/>
                  <a:pt x="243" y="80"/>
                  <a:pt x="246" y="76"/>
                </a:cubicBezTo>
                <a:cubicBezTo>
                  <a:pt x="245" y="77"/>
                  <a:pt x="242" y="76"/>
                  <a:pt x="242" y="75"/>
                </a:cubicBezTo>
                <a:cubicBezTo>
                  <a:pt x="243" y="73"/>
                  <a:pt x="247" y="74"/>
                  <a:pt x="246" y="76"/>
                </a:cubicBezTo>
                <a:cubicBezTo>
                  <a:pt x="247" y="74"/>
                  <a:pt x="253" y="76"/>
                  <a:pt x="253" y="79"/>
                </a:cubicBezTo>
                <a:close/>
                <a:moveTo>
                  <a:pt x="249" y="118"/>
                </a:moveTo>
                <a:cubicBezTo>
                  <a:pt x="248" y="119"/>
                  <a:pt x="247" y="117"/>
                  <a:pt x="248" y="116"/>
                </a:cubicBezTo>
                <a:cubicBezTo>
                  <a:pt x="249" y="116"/>
                  <a:pt x="250" y="118"/>
                  <a:pt x="249" y="118"/>
                </a:cubicBezTo>
                <a:close/>
                <a:moveTo>
                  <a:pt x="244" y="88"/>
                </a:moveTo>
                <a:cubicBezTo>
                  <a:pt x="244" y="88"/>
                  <a:pt x="243" y="87"/>
                  <a:pt x="244" y="87"/>
                </a:cubicBezTo>
                <a:cubicBezTo>
                  <a:pt x="245" y="85"/>
                  <a:pt x="247" y="90"/>
                  <a:pt x="244" y="88"/>
                </a:cubicBezTo>
                <a:close/>
                <a:moveTo>
                  <a:pt x="244" y="70"/>
                </a:moveTo>
                <a:cubicBezTo>
                  <a:pt x="246" y="70"/>
                  <a:pt x="244" y="73"/>
                  <a:pt x="244" y="70"/>
                </a:cubicBezTo>
                <a:close/>
                <a:moveTo>
                  <a:pt x="248" y="64"/>
                </a:moveTo>
                <a:cubicBezTo>
                  <a:pt x="249" y="65"/>
                  <a:pt x="246" y="64"/>
                  <a:pt x="248" y="64"/>
                </a:cubicBezTo>
                <a:close/>
                <a:moveTo>
                  <a:pt x="243" y="69"/>
                </a:moveTo>
                <a:cubicBezTo>
                  <a:pt x="246" y="69"/>
                  <a:pt x="249" y="70"/>
                  <a:pt x="251" y="71"/>
                </a:cubicBezTo>
                <a:cubicBezTo>
                  <a:pt x="250" y="71"/>
                  <a:pt x="248" y="70"/>
                  <a:pt x="246" y="70"/>
                </a:cubicBezTo>
                <a:cubicBezTo>
                  <a:pt x="246" y="70"/>
                  <a:pt x="246" y="70"/>
                  <a:pt x="246" y="70"/>
                </a:cubicBezTo>
                <a:cubicBezTo>
                  <a:pt x="246" y="70"/>
                  <a:pt x="246" y="70"/>
                  <a:pt x="246" y="70"/>
                </a:cubicBezTo>
                <a:cubicBezTo>
                  <a:pt x="245" y="69"/>
                  <a:pt x="244" y="69"/>
                  <a:pt x="243" y="69"/>
                </a:cubicBezTo>
                <a:cubicBezTo>
                  <a:pt x="243" y="69"/>
                  <a:pt x="243" y="70"/>
                  <a:pt x="242" y="69"/>
                </a:cubicBezTo>
                <a:cubicBezTo>
                  <a:pt x="242" y="69"/>
                  <a:pt x="242" y="69"/>
                  <a:pt x="242" y="69"/>
                </a:cubicBezTo>
                <a:cubicBezTo>
                  <a:pt x="242" y="69"/>
                  <a:pt x="242" y="69"/>
                  <a:pt x="242" y="69"/>
                </a:cubicBezTo>
                <a:cubicBezTo>
                  <a:pt x="242" y="68"/>
                  <a:pt x="242" y="68"/>
                  <a:pt x="242" y="68"/>
                </a:cubicBezTo>
                <a:cubicBezTo>
                  <a:pt x="242" y="68"/>
                  <a:pt x="243" y="68"/>
                  <a:pt x="243" y="69"/>
                </a:cubicBezTo>
                <a:close/>
                <a:moveTo>
                  <a:pt x="242" y="89"/>
                </a:moveTo>
                <a:cubicBezTo>
                  <a:pt x="241" y="88"/>
                  <a:pt x="243" y="90"/>
                  <a:pt x="242" y="89"/>
                </a:cubicBezTo>
                <a:close/>
                <a:moveTo>
                  <a:pt x="234" y="66"/>
                </a:moveTo>
                <a:cubicBezTo>
                  <a:pt x="234" y="64"/>
                  <a:pt x="234" y="63"/>
                  <a:pt x="235" y="62"/>
                </a:cubicBezTo>
                <a:cubicBezTo>
                  <a:pt x="238" y="60"/>
                  <a:pt x="242" y="65"/>
                  <a:pt x="241" y="67"/>
                </a:cubicBezTo>
                <a:cubicBezTo>
                  <a:pt x="240" y="69"/>
                  <a:pt x="235" y="67"/>
                  <a:pt x="234" y="66"/>
                </a:cubicBezTo>
                <a:close/>
                <a:moveTo>
                  <a:pt x="246" y="122"/>
                </a:moveTo>
                <a:cubicBezTo>
                  <a:pt x="245" y="123"/>
                  <a:pt x="241" y="118"/>
                  <a:pt x="241" y="117"/>
                </a:cubicBezTo>
                <a:cubicBezTo>
                  <a:pt x="239" y="112"/>
                  <a:pt x="247" y="121"/>
                  <a:pt x="246" y="122"/>
                </a:cubicBezTo>
                <a:close/>
                <a:moveTo>
                  <a:pt x="242" y="252"/>
                </a:moveTo>
                <a:cubicBezTo>
                  <a:pt x="242" y="252"/>
                  <a:pt x="245" y="257"/>
                  <a:pt x="243" y="256"/>
                </a:cubicBezTo>
                <a:cubicBezTo>
                  <a:pt x="242" y="256"/>
                  <a:pt x="242" y="251"/>
                  <a:pt x="242" y="251"/>
                </a:cubicBezTo>
                <a:cubicBezTo>
                  <a:pt x="240" y="247"/>
                  <a:pt x="237" y="245"/>
                  <a:pt x="237" y="241"/>
                </a:cubicBezTo>
                <a:cubicBezTo>
                  <a:pt x="240" y="242"/>
                  <a:pt x="242" y="250"/>
                  <a:pt x="242" y="252"/>
                </a:cubicBezTo>
                <a:close/>
                <a:moveTo>
                  <a:pt x="241" y="246"/>
                </a:moveTo>
                <a:cubicBezTo>
                  <a:pt x="242" y="246"/>
                  <a:pt x="243" y="248"/>
                  <a:pt x="242" y="248"/>
                </a:cubicBezTo>
                <a:cubicBezTo>
                  <a:pt x="242" y="248"/>
                  <a:pt x="241" y="247"/>
                  <a:pt x="241" y="246"/>
                </a:cubicBezTo>
                <a:close/>
                <a:moveTo>
                  <a:pt x="244" y="213"/>
                </a:moveTo>
                <a:cubicBezTo>
                  <a:pt x="243" y="213"/>
                  <a:pt x="243" y="213"/>
                  <a:pt x="243" y="213"/>
                </a:cubicBezTo>
                <a:cubicBezTo>
                  <a:pt x="241" y="212"/>
                  <a:pt x="244" y="211"/>
                  <a:pt x="244" y="213"/>
                </a:cubicBezTo>
                <a:close/>
                <a:moveTo>
                  <a:pt x="241" y="158"/>
                </a:moveTo>
                <a:cubicBezTo>
                  <a:pt x="240" y="157"/>
                  <a:pt x="243" y="158"/>
                  <a:pt x="242" y="159"/>
                </a:cubicBezTo>
                <a:cubicBezTo>
                  <a:pt x="242" y="159"/>
                  <a:pt x="242" y="158"/>
                  <a:pt x="241" y="158"/>
                </a:cubicBezTo>
                <a:close/>
                <a:moveTo>
                  <a:pt x="243" y="148"/>
                </a:moveTo>
                <a:cubicBezTo>
                  <a:pt x="244" y="147"/>
                  <a:pt x="245" y="149"/>
                  <a:pt x="244" y="149"/>
                </a:cubicBezTo>
                <a:cubicBezTo>
                  <a:pt x="244" y="149"/>
                  <a:pt x="243" y="148"/>
                  <a:pt x="243" y="148"/>
                </a:cubicBezTo>
                <a:close/>
                <a:moveTo>
                  <a:pt x="244" y="215"/>
                </a:moveTo>
                <a:cubicBezTo>
                  <a:pt x="244" y="215"/>
                  <a:pt x="246" y="216"/>
                  <a:pt x="245" y="216"/>
                </a:cubicBezTo>
                <a:cubicBezTo>
                  <a:pt x="244" y="216"/>
                  <a:pt x="244" y="216"/>
                  <a:pt x="244" y="215"/>
                </a:cubicBezTo>
                <a:close/>
                <a:moveTo>
                  <a:pt x="230" y="166"/>
                </a:moveTo>
                <a:cubicBezTo>
                  <a:pt x="228" y="160"/>
                  <a:pt x="236" y="159"/>
                  <a:pt x="238" y="164"/>
                </a:cubicBezTo>
                <a:cubicBezTo>
                  <a:pt x="242" y="171"/>
                  <a:pt x="232" y="172"/>
                  <a:pt x="230" y="166"/>
                </a:cubicBezTo>
                <a:close/>
                <a:moveTo>
                  <a:pt x="236" y="177"/>
                </a:moveTo>
                <a:cubicBezTo>
                  <a:pt x="236" y="178"/>
                  <a:pt x="235" y="177"/>
                  <a:pt x="234" y="177"/>
                </a:cubicBezTo>
                <a:cubicBezTo>
                  <a:pt x="235" y="176"/>
                  <a:pt x="236" y="177"/>
                  <a:pt x="236" y="177"/>
                </a:cubicBezTo>
                <a:close/>
                <a:moveTo>
                  <a:pt x="234" y="190"/>
                </a:moveTo>
                <a:cubicBezTo>
                  <a:pt x="233" y="190"/>
                  <a:pt x="234" y="188"/>
                  <a:pt x="234" y="190"/>
                </a:cubicBezTo>
                <a:close/>
                <a:moveTo>
                  <a:pt x="230" y="190"/>
                </a:moveTo>
                <a:cubicBezTo>
                  <a:pt x="231" y="189"/>
                  <a:pt x="233" y="191"/>
                  <a:pt x="233" y="191"/>
                </a:cubicBezTo>
                <a:cubicBezTo>
                  <a:pt x="232" y="192"/>
                  <a:pt x="230" y="190"/>
                  <a:pt x="230" y="190"/>
                </a:cubicBezTo>
                <a:close/>
                <a:moveTo>
                  <a:pt x="232" y="199"/>
                </a:moveTo>
                <a:cubicBezTo>
                  <a:pt x="232" y="200"/>
                  <a:pt x="231" y="198"/>
                  <a:pt x="232" y="198"/>
                </a:cubicBezTo>
                <a:cubicBezTo>
                  <a:pt x="232" y="199"/>
                  <a:pt x="232" y="199"/>
                  <a:pt x="232" y="199"/>
                </a:cubicBezTo>
                <a:close/>
                <a:moveTo>
                  <a:pt x="232" y="179"/>
                </a:moveTo>
                <a:cubicBezTo>
                  <a:pt x="232" y="179"/>
                  <a:pt x="233" y="179"/>
                  <a:pt x="233" y="180"/>
                </a:cubicBezTo>
                <a:cubicBezTo>
                  <a:pt x="233" y="180"/>
                  <a:pt x="231" y="180"/>
                  <a:pt x="232" y="179"/>
                </a:cubicBezTo>
                <a:close/>
                <a:moveTo>
                  <a:pt x="238" y="100"/>
                </a:moveTo>
                <a:cubicBezTo>
                  <a:pt x="238" y="100"/>
                  <a:pt x="238" y="100"/>
                  <a:pt x="238" y="100"/>
                </a:cubicBezTo>
                <a:cubicBezTo>
                  <a:pt x="238" y="100"/>
                  <a:pt x="239" y="101"/>
                  <a:pt x="238" y="100"/>
                </a:cubicBezTo>
                <a:close/>
                <a:moveTo>
                  <a:pt x="235" y="107"/>
                </a:moveTo>
                <a:cubicBezTo>
                  <a:pt x="235" y="107"/>
                  <a:pt x="234" y="109"/>
                  <a:pt x="234" y="107"/>
                </a:cubicBezTo>
                <a:cubicBezTo>
                  <a:pt x="234" y="108"/>
                  <a:pt x="233" y="106"/>
                  <a:pt x="235" y="107"/>
                </a:cubicBezTo>
                <a:close/>
                <a:moveTo>
                  <a:pt x="231" y="104"/>
                </a:moveTo>
                <a:cubicBezTo>
                  <a:pt x="233" y="103"/>
                  <a:pt x="233" y="107"/>
                  <a:pt x="231" y="107"/>
                </a:cubicBezTo>
                <a:cubicBezTo>
                  <a:pt x="230" y="107"/>
                  <a:pt x="229" y="104"/>
                  <a:pt x="231" y="104"/>
                </a:cubicBezTo>
                <a:close/>
                <a:moveTo>
                  <a:pt x="238" y="120"/>
                </a:moveTo>
                <a:cubicBezTo>
                  <a:pt x="238" y="124"/>
                  <a:pt x="230" y="122"/>
                  <a:pt x="229" y="120"/>
                </a:cubicBezTo>
                <a:cubicBezTo>
                  <a:pt x="223" y="112"/>
                  <a:pt x="239" y="113"/>
                  <a:pt x="238" y="120"/>
                </a:cubicBezTo>
                <a:close/>
                <a:moveTo>
                  <a:pt x="233" y="134"/>
                </a:moveTo>
                <a:cubicBezTo>
                  <a:pt x="233" y="133"/>
                  <a:pt x="234" y="135"/>
                  <a:pt x="234" y="135"/>
                </a:cubicBezTo>
                <a:cubicBezTo>
                  <a:pt x="232" y="136"/>
                  <a:pt x="232" y="133"/>
                  <a:pt x="231" y="132"/>
                </a:cubicBezTo>
                <a:cubicBezTo>
                  <a:pt x="230" y="130"/>
                  <a:pt x="226" y="126"/>
                  <a:pt x="225" y="122"/>
                </a:cubicBezTo>
                <a:cubicBezTo>
                  <a:pt x="228" y="124"/>
                  <a:pt x="232" y="131"/>
                  <a:pt x="233" y="134"/>
                </a:cubicBezTo>
                <a:close/>
                <a:moveTo>
                  <a:pt x="226" y="205"/>
                </a:moveTo>
                <a:cubicBezTo>
                  <a:pt x="227" y="204"/>
                  <a:pt x="227" y="206"/>
                  <a:pt x="227" y="206"/>
                </a:cubicBezTo>
                <a:cubicBezTo>
                  <a:pt x="226" y="206"/>
                  <a:pt x="226" y="205"/>
                  <a:pt x="226" y="205"/>
                </a:cubicBezTo>
                <a:close/>
                <a:moveTo>
                  <a:pt x="226" y="130"/>
                </a:moveTo>
                <a:cubicBezTo>
                  <a:pt x="226" y="130"/>
                  <a:pt x="225" y="129"/>
                  <a:pt x="226" y="129"/>
                </a:cubicBezTo>
                <a:cubicBezTo>
                  <a:pt x="226" y="129"/>
                  <a:pt x="226" y="130"/>
                  <a:pt x="226" y="130"/>
                </a:cubicBezTo>
                <a:close/>
                <a:moveTo>
                  <a:pt x="226" y="159"/>
                </a:moveTo>
                <a:cubicBezTo>
                  <a:pt x="224" y="159"/>
                  <a:pt x="226" y="158"/>
                  <a:pt x="226" y="159"/>
                </a:cubicBezTo>
                <a:close/>
                <a:moveTo>
                  <a:pt x="225" y="158"/>
                </a:moveTo>
                <a:cubicBezTo>
                  <a:pt x="224" y="159"/>
                  <a:pt x="222" y="157"/>
                  <a:pt x="221" y="157"/>
                </a:cubicBezTo>
                <a:cubicBezTo>
                  <a:pt x="222" y="156"/>
                  <a:pt x="224" y="158"/>
                  <a:pt x="225" y="158"/>
                </a:cubicBezTo>
                <a:close/>
                <a:moveTo>
                  <a:pt x="224" y="169"/>
                </a:moveTo>
                <a:cubicBezTo>
                  <a:pt x="225" y="170"/>
                  <a:pt x="224" y="174"/>
                  <a:pt x="225" y="175"/>
                </a:cubicBezTo>
                <a:cubicBezTo>
                  <a:pt x="226" y="178"/>
                  <a:pt x="226" y="177"/>
                  <a:pt x="223" y="179"/>
                </a:cubicBezTo>
                <a:cubicBezTo>
                  <a:pt x="221" y="182"/>
                  <a:pt x="216" y="182"/>
                  <a:pt x="217" y="178"/>
                </a:cubicBezTo>
                <a:cubicBezTo>
                  <a:pt x="222" y="179"/>
                  <a:pt x="215" y="177"/>
                  <a:pt x="214" y="175"/>
                </a:cubicBezTo>
                <a:cubicBezTo>
                  <a:pt x="213" y="175"/>
                  <a:pt x="213" y="169"/>
                  <a:pt x="214" y="168"/>
                </a:cubicBezTo>
                <a:cubicBezTo>
                  <a:pt x="217" y="164"/>
                  <a:pt x="222" y="166"/>
                  <a:pt x="224" y="169"/>
                </a:cubicBezTo>
                <a:close/>
                <a:moveTo>
                  <a:pt x="212" y="179"/>
                </a:moveTo>
                <a:cubicBezTo>
                  <a:pt x="213" y="179"/>
                  <a:pt x="213" y="182"/>
                  <a:pt x="212" y="181"/>
                </a:cubicBezTo>
                <a:cubicBezTo>
                  <a:pt x="211" y="181"/>
                  <a:pt x="211" y="180"/>
                  <a:pt x="212" y="179"/>
                </a:cubicBezTo>
                <a:close/>
                <a:moveTo>
                  <a:pt x="211" y="154"/>
                </a:moveTo>
                <a:cubicBezTo>
                  <a:pt x="212" y="153"/>
                  <a:pt x="213" y="154"/>
                  <a:pt x="213" y="155"/>
                </a:cubicBezTo>
                <a:cubicBezTo>
                  <a:pt x="213" y="155"/>
                  <a:pt x="212" y="154"/>
                  <a:pt x="211" y="154"/>
                </a:cubicBezTo>
                <a:close/>
                <a:moveTo>
                  <a:pt x="214" y="225"/>
                </a:moveTo>
                <a:cubicBezTo>
                  <a:pt x="213" y="224"/>
                  <a:pt x="212" y="223"/>
                  <a:pt x="212" y="221"/>
                </a:cubicBezTo>
                <a:cubicBezTo>
                  <a:pt x="212" y="223"/>
                  <a:pt x="214" y="223"/>
                  <a:pt x="214" y="225"/>
                </a:cubicBezTo>
                <a:close/>
                <a:moveTo>
                  <a:pt x="213" y="174"/>
                </a:moveTo>
                <a:cubicBezTo>
                  <a:pt x="212" y="176"/>
                  <a:pt x="218" y="182"/>
                  <a:pt x="216" y="182"/>
                </a:cubicBezTo>
                <a:cubicBezTo>
                  <a:pt x="215" y="182"/>
                  <a:pt x="211" y="176"/>
                  <a:pt x="213" y="174"/>
                </a:cubicBezTo>
                <a:close/>
                <a:moveTo>
                  <a:pt x="219" y="185"/>
                </a:moveTo>
                <a:cubicBezTo>
                  <a:pt x="218" y="186"/>
                  <a:pt x="216" y="185"/>
                  <a:pt x="216" y="184"/>
                </a:cubicBezTo>
                <a:cubicBezTo>
                  <a:pt x="214" y="182"/>
                  <a:pt x="220" y="182"/>
                  <a:pt x="219" y="185"/>
                </a:cubicBezTo>
                <a:close/>
                <a:moveTo>
                  <a:pt x="217" y="156"/>
                </a:moveTo>
                <a:cubicBezTo>
                  <a:pt x="217" y="156"/>
                  <a:pt x="217" y="156"/>
                  <a:pt x="217" y="156"/>
                </a:cubicBezTo>
                <a:cubicBezTo>
                  <a:pt x="215" y="155"/>
                  <a:pt x="219" y="156"/>
                  <a:pt x="217" y="156"/>
                </a:cubicBezTo>
                <a:close/>
                <a:moveTo>
                  <a:pt x="216" y="132"/>
                </a:moveTo>
                <a:cubicBezTo>
                  <a:pt x="216" y="133"/>
                  <a:pt x="215" y="133"/>
                  <a:pt x="214" y="132"/>
                </a:cubicBezTo>
                <a:cubicBezTo>
                  <a:pt x="213" y="131"/>
                  <a:pt x="216" y="130"/>
                  <a:pt x="216" y="132"/>
                </a:cubicBezTo>
                <a:close/>
                <a:moveTo>
                  <a:pt x="216" y="146"/>
                </a:moveTo>
                <a:cubicBezTo>
                  <a:pt x="216" y="147"/>
                  <a:pt x="215" y="146"/>
                  <a:pt x="215" y="146"/>
                </a:cubicBezTo>
                <a:cubicBezTo>
                  <a:pt x="213" y="145"/>
                  <a:pt x="216" y="145"/>
                  <a:pt x="216" y="146"/>
                </a:cubicBezTo>
                <a:close/>
                <a:moveTo>
                  <a:pt x="220" y="156"/>
                </a:moveTo>
                <a:cubicBezTo>
                  <a:pt x="217" y="155"/>
                  <a:pt x="214" y="154"/>
                  <a:pt x="211" y="152"/>
                </a:cubicBezTo>
                <a:cubicBezTo>
                  <a:pt x="214" y="152"/>
                  <a:pt x="218" y="154"/>
                  <a:pt x="220" y="156"/>
                </a:cubicBezTo>
                <a:close/>
                <a:moveTo>
                  <a:pt x="212" y="115"/>
                </a:moveTo>
                <a:cubicBezTo>
                  <a:pt x="212" y="117"/>
                  <a:pt x="209" y="116"/>
                  <a:pt x="209" y="115"/>
                </a:cubicBezTo>
                <a:cubicBezTo>
                  <a:pt x="207" y="112"/>
                  <a:pt x="212" y="112"/>
                  <a:pt x="212" y="115"/>
                </a:cubicBezTo>
                <a:close/>
                <a:moveTo>
                  <a:pt x="210" y="146"/>
                </a:moveTo>
                <a:cubicBezTo>
                  <a:pt x="209" y="146"/>
                  <a:pt x="209" y="145"/>
                  <a:pt x="209" y="144"/>
                </a:cubicBezTo>
                <a:cubicBezTo>
                  <a:pt x="209" y="144"/>
                  <a:pt x="210" y="146"/>
                  <a:pt x="210" y="146"/>
                </a:cubicBezTo>
                <a:close/>
                <a:moveTo>
                  <a:pt x="209" y="150"/>
                </a:moveTo>
                <a:cubicBezTo>
                  <a:pt x="207" y="148"/>
                  <a:pt x="210" y="149"/>
                  <a:pt x="209" y="150"/>
                </a:cubicBezTo>
                <a:close/>
                <a:moveTo>
                  <a:pt x="207" y="167"/>
                </a:moveTo>
                <a:cubicBezTo>
                  <a:pt x="207" y="167"/>
                  <a:pt x="207" y="167"/>
                  <a:pt x="207" y="167"/>
                </a:cubicBezTo>
                <a:cubicBezTo>
                  <a:pt x="209" y="166"/>
                  <a:pt x="206" y="169"/>
                  <a:pt x="207" y="167"/>
                </a:cubicBezTo>
                <a:close/>
                <a:moveTo>
                  <a:pt x="204" y="221"/>
                </a:moveTo>
                <a:cubicBezTo>
                  <a:pt x="205" y="220"/>
                  <a:pt x="206" y="222"/>
                  <a:pt x="205" y="222"/>
                </a:cubicBezTo>
                <a:cubicBezTo>
                  <a:pt x="204" y="222"/>
                  <a:pt x="204" y="221"/>
                  <a:pt x="204" y="221"/>
                </a:cubicBezTo>
                <a:close/>
                <a:moveTo>
                  <a:pt x="204" y="239"/>
                </a:moveTo>
                <a:cubicBezTo>
                  <a:pt x="205" y="239"/>
                  <a:pt x="206" y="241"/>
                  <a:pt x="205" y="242"/>
                </a:cubicBezTo>
                <a:cubicBezTo>
                  <a:pt x="204" y="242"/>
                  <a:pt x="202" y="240"/>
                  <a:pt x="204" y="239"/>
                </a:cubicBezTo>
                <a:close/>
                <a:moveTo>
                  <a:pt x="203" y="346"/>
                </a:moveTo>
                <a:cubicBezTo>
                  <a:pt x="205" y="346"/>
                  <a:pt x="205" y="348"/>
                  <a:pt x="203" y="346"/>
                </a:cubicBezTo>
                <a:close/>
                <a:moveTo>
                  <a:pt x="202" y="233"/>
                </a:moveTo>
                <a:cubicBezTo>
                  <a:pt x="202" y="233"/>
                  <a:pt x="203" y="235"/>
                  <a:pt x="202" y="235"/>
                </a:cubicBezTo>
                <a:cubicBezTo>
                  <a:pt x="202" y="235"/>
                  <a:pt x="201" y="233"/>
                  <a:pt x="202" y="233"/>
                </a:cubicBezTo>
                <a:close/>
                <a:moveTo>
                  <a:pt x="202" y="232"/>
                </a:moveTo>
                <a:cubicBezTo>
                  <a:pt x="200" y="232"/>
                  <a:pt x="202" y="231"/>
                  <a:pt x="202" y="232"/>
                </a:cubicBezTo>
                <a:close/>
                <a:moveTo>
                  <a:pt x="202" y="345"/>
                </a:moveTo>
                <a:cubicBezTo>
                  <a:pt x="204" y="347"/>
                  <a:pt x="201" y="343"/>
                  <a:pt x="202" y="345"/>
                </a:cubicBezTo>
                <a:close/>
                <a:moveTo>
                  <a:pt x="201" y="171"/>
                </a:moveTo>
                <a:cubicBezTo>
                  <a:pt x="201" y="172"/>
                  <a:pt x="203" y="172"/>
                  <a:pt x="202" y="173"/>
                </a:cubicBezTo>
                <a:cubicBezTo>
                  <a:pt x="202" y="174"/>
                  <a:pt x="200" y="171"/>
                  <a:pt x="201" y="171"/>
                </a:cubicBezTo>
                <a:close/>
                <a:moveTo>
                  <a:pt x="200" y="182"/>
                </a:moveTo>
                <a:cubicBezTo>
                  <a:pt x="201" y="181"/>
                  <a:pt x="202" y="184"/>
                  <a:pt x="201" y="184"/>
                </a:cubicBezTo>
                <a:cubicBezTo>
                  <a:pt x="199" y="185"/>
                  <a:pt x="200" y="182"/>
                  <a:pt x="200" y="182"/>
                </a:cubicBezTo>
                <a:close/>
                <a:moveTo>
                  <a:pt x="199" y="304"/>
                </a:moveTo>
                <a:cubicBezTo>
                  <a:pt x="198" y="304"/>
                  <a:pt x="198" y="302"/>
                  <a:pt x="199" y="302"/>
                </a:cubicBezTo>
                <a:cubicBezTo>
                  <a:pt x="200" y="302"/>
                  <a:pt x="200" y="304"/>
                  <a:pt x="199" y="304"/>
                </a:cubicBezTo>
                <a:close/>
                <a:moveTo>
                  <a:pt x="200" y="321"/>
                </a:moveTo>
                <a:cubicBezTo>
                  <a:pt x="200" y="321"/>
                  <a:pt x="200" y="321"/>
                  <a:pt x="200" y="321"/>
                </a:cubicBezTo>
                <a:cubicBezTo>
                  <a:pt x="200" y="321"/>
                  <a:pt x="200" y="321"/>
                  <a:pt x="200" y="321"/>
                </a:cubicBezTo>
                <a:cubicBezTo>
                  <a:pt x="200" y="321"/>
                  <a:pt x="200" y="321"/>
                  <a:pt x="200" y="321"/>
                </a:cubicBezTo>
                <a:close/>
                <a:moveTo>
                  <a:pt x="198" y="238"/>
                </a:moveTo>
                <a:cubicBezTo>
                  <a:pt x="199" y="239"/>
                  <a:pt x="200" y="240"/>
                  <a:pt x="201" y="242"/>
                </a:cubicBezTo>
                <a:cubicBezTo>
                  <a:pt x="199" y="241"/>
                  <a:pt x="198" y="240"/>
                  <a:pt x="198" y="238"/>
                </a:cubicBezTo>
                <a:close/>
                <a:moveTo>
                  <a:pt x="198" y="266"/>
                </a:moveTo>
                <a:cubicBezTo>
                  <a:pt x="197" y="267"/>
                  <a:pt x="197" y="265"/>
                  <a:pt x="197" y="265"/>
                </a:cubicBezTo>
                <a:cubicBezTo>
                  <a:pt x="197" y="265"/>
                  <a:pt x="199" y="266"/>
                  <a:pt x="198" y="266"/>
                </a:cubicBezTo>
                <a:close/>
                <a:moveTo>
                  <a:pt x="199" y="228"/>
                </a:moveTo>
                <a:cubicBezTo>
                  <a:pt x="197" y="229"/>
                  <a:pt x="195" y="222"/>
                  <a:pt x="198" y="222"/>
                </a:cubicBezTo>
                <a:cubicBezTo>
                  <a:pt x="201" y="222"/>
                  <a:pt x="201" y="228"/>
                  <a:pt x="199" y="228"/>
                </a:cubicBezTo>
                <a:close/>
                <a:moveTo>
                  <a:pt x="197" y="165"/>
                </a:moveTo>
                <a:cubicBezTo>
                  <a:pt x="198" y="165"/>
                  <a:pt x="201" y="171"/>
                  <a:pt x="198" y="172"/>
                </a:cubicBezTo>
                <a:cubicBezTo>
                  <a:pt x="194" y="173"/>
                  <a:pt x="192" y="164"/>
                  <a:pt x="197" y="165"/>
                </a:cubicBezTo>
                <a:close/>
                <a:moveTo>
                  <a:pt x="196" y="264"/>
                </a:moveTo>
                <a:cubicBezTo>
                  <a:pt x="195" y="263"/>
                  <a:pt x="195" y="262"/>
                  <a:pt x="194" y="261"/>
                </a:cubicBezTo>
                <a:cubicBezTo>
                  <a:pt x="195" y="261"/>
                  <a:pt x="196" y="263"/>
                  <a:pt x="196" y="264"/>
                </a:cubicBezTo>
                <a:close/>
                <a:moveTo>
                  <a:pt x="194" y="242"/>
                </a:moveTo>
                <a:cubicBezTo>
                  <a:pt x="194" y="242"/>
                  <a:pt x="194" y="242"/>
                  <a:pt x="194" y="242"/>
                </a:cubicBezTo>
                <a:cubicBezTo>
                  <a:pt x="196" y="241"/>
                  <a:pt x="192" y="244"/>
                  <a:pt x="194" y="242"/>
                </a:cubicBezTo>
                <a:close/>
                <a:moveTo>
                  <a:pt x="194" y="188"/>
                </a:moveTo>
                <a:cubicBezTo>
                  <a:pt x="195" y="188"/>
                  <a:pt x="195" y="191"/>
                  <a:pt x="194" y="191"/>
                </a:cubicBezTo>
                <a:cubicBezTo>
                  <a:pt x="193" y="191"/>
                  <a:pt x="192" y="188"/>
                  <a:pt x="194" y="188"/>
                </a:cubicBezTo>
                <a:close/>
                <a:moveTo>
                  <a:pt x="192" y="192"/>
                </a:moveTo>
                <a:cubicBezTo>
                  <a:pt x="190" y="193"/>
                  <a:pt x="193" y="192"/>
                  <a:pt x="192" y="192"/>
                </a:cubicBezTo>
                <a:close/>
                <a:moveTo>
                  <a:pt x="191" y="224"/>
                </a:moveTo>
                <a:cubicBezTo>
                  <a:pt x="191" y="225"/>
                  <a:pt x="190" y="223"/>
                  <a:pt x="190" y="223"/>
                </a:cubicBezTo>
                <a:cubicBezTo>
                  <a:pt x="191" y="222"/>
                  <a:pt x="192" y="224"/>
                  <a:pt x="191" y="224"/>
                </a:cubicBezTo>
                <a:close/>
                <a:moveTo>
                  <a:pt x="191" y="190"/>
                </a:moveTo>
                <a:cubicBezTo>
                  <a:pt x="191" y="189"/>
                  <a:pt x="191" y="189"/>
                  <a:pt x="190" y="188"/>
                </a:cubicBezTo>
                <a:cubicBezTo>
                  <a:pt x="191" y="188"/>
                  <a:pt x="191" y="189"/>
                  <a:pt x="191" y="190"/>
                </a:cubicBezTo>
                <a:close/>
                <a:moveTo>
                  <a:pt x="192" y="243"/>
                </a:moveTo>
                <a:cubicBezTo>
                  <a:pt x="192" y="241"/>
                  <a:pt x="191" y="242"/>
                  <a:pt x="190" y="243"/>
                </a:cubicBezTo>
                <a:cubicBezTo>
                  <a:pt x="188" y="243"/>
                  <a:pt x="184" y="239"/>
                  <a:pt x="186" y="235"/>
                </a:cubicBezTo>
                <a:cubicBezTo>
                  <a:pt x="189" y="230"/>
                  <a:pt x="196" y="237"/>
                  <a:pt x="192" y="243"/>
                </a:cubicBezTo>
                <a:close/>
                <a:moveTo>
                  <a:pt x="192" y="254"/>
                </a:moveTo>
                <a:cubicBezTo>
                  <a:pt x="191" y="255"/>
                  <a:pt x="191" y="253"/>
                  <a:pt x="191" y="253"/>
                </a:cubicBezTo>
                <a:cubicBezTo>
                  <a:pt x="192" y="252"/>
                  <a:pt x="192" y="254"/>
                  <a:pt x="192" y="254"/>
                </a:cubicBezTo>
                <a:close/>
                <a:moveTo>
                  <a:pt x="190" y="274"/>
                </a:moveTo>
                <a:cubicBezTo>
                  <a:pt x="190" y="274"/>
                  <a:pt x="189" y="272"/>
                  <a:pt x="190" y="272"/>
                </a:cubicBezTo>
                <a:cubicBezTo>
                  <a:pt x="191" y="271"/>
                  <a:pt x="191" y="274"/>
                  <a:pt x="190" y="274"/>
                </a:cubicBezTo>
                <a:close/>
                <a:moveTo>
                  <a:pt x="186" y="193"/>
                </a:moveTo>
                <a:cubicBezTo>
                  <a:pt x="189" y="193"/>
                  <a:pt x="188" y="197"/>
                  <a:pt x="187" y="197"/>
                </a:cubicBezTo>
                <a:cubicBezTo>
                  <a:pt x="185" y="197"/>
                  <a:pt x="185" y="193"/>
                  <a:pt x="186" y="193"/>
                </a:cubicBezTo>
                <a:close/>
                <a:moveTo>
                  <a:pt x="185" y="198"/>
                </a:moveTo>
                <a:cubicBezTo>
                  <a:pt x="187" y="198"/>
                  <a:pt x="186" y="200"/>
                  <a:pt x="185" y="198"/>
                </a:cubicBezTo>
                <a:close/>
                <a:moveTo>
                  <a:pt x="183" y="252"/>
                </a:moveTo>
                <a:cubicBezTo>
                  <a:pt x="184" y="252"/>
                  <a:pt x="184" y="254"/>
                  <a:pt x="183" y="253"/>
                </a:cubicBezTo>
                <a:cubicBezTo>
                  <a:pt x="183" y="253"/>
                  <a:pt x="183" y="253"/>
                  <a:pt x="183" y="252"/>
                </a:cubicBezTo>
                <a:close/>
                <a:moveTo>
                  <a:pt x="184" y="268"/>
                </a:moveTo>
                <a:cubicBezTo>
                  <a:pt x="184" y="268"/>
                  <a:pt x="185" y="269"/>
                  <a:pt x="184" y="269"/>
                </a:cubicBezTo>
                <a:cubicBezTo>
                  <a:pt x="184" y="270"/>
                  <a:pt x="182" y="268"/>
                  <a:pt x="184" y="268"/>
                </a:cubicBezTo>
                <a:close/>
                <a:moveTo>
                  <a:pt x="184" y="309"/>
                </a:moveTo>
                <a:cubicBezTo>
                  <a:pt x="183" y="309"/>
                  <a:pt x="182" y="307"/>
                  <a:pt x="183" y="306"/>
                </a:cubicBezTo>
                <a:cubicBezTo>
                  <a:pt x="185" y="305"/>
                  <a:pt x="185" y="309"/>
                  <a:pt x="184" y="309"/>
                </a:cubicBezTo>
                <a:close/>
                <a:moveTo>
                  <a:pt x="184" y="256"/>
                </a:moveTo>
                <a:cubicBezTo>
                  <a:pt x="183" y="256"/>
                  <a:pt x="182" y="254"/>
                  <a:pt x="184" y="254"/>
                </a:cubicBezTo>
                <a:cubicBezTo>
                  <a:pt x="185" y="254"/>
                  <a:pt x="185" y="256"/>
                  <a:pt x="184" y="256"/>
                </a:cubicBezTo>
                <a:close/>
                <a:moveTo>
                  <a:pt x="186" y="272"/>
                </a:moveTo>
                <a:cubicBezTo>
                  <a:pt x="190" y="271"/>
                  <a:pt x="189" y="278"/>
                  <a:pt x="187" y="278"/>
                </a:cubicBezTo>
                <a:cubicBezTo>
                  <a:pt x="185" y="278"/>
                  <a:pt x="184" y="273"/>
                  <a:pt x="186" y="272"/>
                </a:cubicBezTo>
                <a:close/>
                <a:moveTo>
                  <a:pt x="189" y="304"/>
                </a:moveTo>
                <a:cubicBezTo>
                  <a:pt x="193" y="304"/>
                  <a:pt x="193" y="312"/>
                  <a:pt x="190" y="312"/>
                </a:cubicBezTo>
                <a:cubicBezTo>
                  <a:pt x="187" y="312"/>
                  <a:pt x="185" y="305"/>
                  <a:pt x="189" y="304"/>
                </a:cubicBezTo>
                <a:close/>
                <a:moveTo>
                  <a:pt x="193" y="375"/>
                </a:moveTo>
                <a:cubicBezTo>
                  <a:pt x="193" y="375"/>
                  <a:pt x="192" y="374"/>
                  <a:pt x="193" y="374"/>
                </a:cubicBezTo>
                <a:cubicBezTo>
                  <a:pt x="193" y="374"/>
                  <a:pt x="194" y="375"/>
                  <a:pt x="193" y="375"/>
                </a:cubicBezTo>
                <a:close/>
                <a:moveTo>
                  <a:pt x="205" y="365"/>
                </a:moveTo>
                <a:cubicBezTo>
                  <a:pt x="205" y="366"/>
                  <a:pt x="203" y="362"/>
                  <a:pt x="204" y="364"/>
                </a:cubicBezTo>
                <a:cubicBezTo>
                  <a:pt x="199" y="355"/>
                  <a:pt x="192" y="344"/>
                  <a:pt x="189" y="335"/>
                </a:cubicBezTo>
                <a:cubicBezTo>
                  <a:pt x="195" y="343"/>
                  <a:pt x="199" y="352"/>
                  <a:pt x="204" y="362"/>
                </a:cubicBezTo>
                <a:cubicBezTo>
                  <a:pt x="204" y="362"/>
                  <a:pt x="206" y="364"/>
                  <a:pt x="205" y="365"/>
                </a:cubicBezTo>
                <a:close/>
                <a:moveTo>
                  <a:pt x="206" y="165"/>
                </a:moveTo>
                <a:cubicBezTo>
                  <a:pt x="204" y="165"/>
                  <a:pt x="205" y="163"/>
                  <a:pt x="206" y="165"/>
                </a:cubicBezTo>
                <a:close/>
                <a:moveTo>
                  <a:pt x="212" y="221"/>
                </a:moveTo>
                <a:cubicBezTo>
                  <a:pt x="210" y="220"/>
                  <a:pt x="208" y="217"/>
                  <a:pt x="206" y="215"/>
                </a:cubicBezTo>
                <a:cubicBezTo>
                  <a:pt x="209" y="216"/>
                  <a:pt x="210" y="219"/>
                  <a:pt x="212" y="221"/>
                </a:cubicBezTo>
                <a:close/>
                <a:moveTo>
                  <a:pt x="207" y="224"/>
                </a:moveTo>
                <a:cubicBezTo>
                  <a:pt x="205" y="222"/>
                  <a:pt x="211" y="223"/>
                  <a:pt x="209" y="225"/>
                </a:cubicBezTo>
                <a:cubicBezTo>
                  <a:pt x="209" y="226"/>
                  <a:pt x="208" y="225"/>
                  <a:pt x="207" y="224"/>
                </a:cubicBezTo>
                <a:close/>
                <a:moveTo>
                  <a:pt x="209" y="243"/>
                </a:moveTo>
                <a:cubicBezTo>
                  <a:pt x="210" y="243"/>
                  <a:pt x="211" y="244"/>
                  <a:pt x="211" y="244"/>
                </a:cubicBezTo>
                <a:cubicBezTo>
                  <a:pt x="211" y="247"/>
                  <a:pt x="208" y="245"/>
                  <a:pt x="209" y="243"/>
                </a:cubicBezTo>
                <a:close/>
                <a:moveTo>
                  <a:pt x="214" y="405"/>
                </a:moveTo>
                <a:cubicBezTo>
                  <a:pt x="214" y="405"/>
                  <a:pt x="215" y="405"/>
                  <a:pt x="215" y="405"/>
                </a:cubicBezTo>
                <a:cubicBezTo>
                  <a:pt x="216" y="406"/>
                  <a:pt x="213" y="406"/>
                  <a:pt x="214" y="405"/>
                </a:cubicBezTo>
                <a:close/>
                <a:moveTo>
                  <a:pt x="211" y="256"/>
                </a:moveTo>
                <a:cubicBezTo>
                  <a:pt x="211" y="256"/>
                  <a:pt x="210" y="254"/>
                  <a:pt x="211" y="254"/>
                </a:cubicBezTo>
                <a:cubicBezTo>
                  <a:pt x="214" y="256"/>
                  <a:pt x="216" y="261"/>
                  <a:pt x="217" y="264"/>
                </a:cubicBezTo>
                <a:cubicBezTo>
                  <a:pt x="215" y="261"/>
                  <a:pt x="212" y="258"/>
                  <a:pt x="211" y="256"/>
                </a:cubicBezTo>
                <a:close/>
                <a:moveTo>
                  <a:pt x="219" y="262"/>
                </a:moveTo>
                <a:cubicBezTo>
                  <a:pt x="218" y="262"/>
                  <a:pt x="217" y="260"/>
                  <a:pt x="219" y="260"/>
                </a:cubicBezTo>
                <a:cubicBezTo>
                  <a:pt x="219" y="260"/>
                  <a:pt x="220" y="261"/>
                  <a:pt x="219" y="262"/>
                </a:cubicBezTo>
                <a:close/>
                <a:moveTo>
                  <a:pt x="221" y="386"/>
                </a:moveTo>
                <a:cubicBezTo>
                  <a:pt x="221" y="385"/>
                  <a:pt x="222" y="386"/>
                  <a:pt x="222" y="386"/>
                </a:cubicBezTo>
                <a:cubicBezTo>
                  <a:pt x="221" y="387"/>
                  <a:pt x="220" y="387"/>
                  <a:pt x="221" y="386"/>
                </a:cubicBezTo>
                <a:close/>
                <a:moveTo>
                  <a:pt x="222" y="327"/>
                </a:moveTo>
                <a:cubicBezTo>
                  <a:pt x="220" y="326"/>
                  <a:pt x="222" y="326"/>
                  <a:pt x="222" y="327"/>
                </a:cubicBezTo>
                <a:close/>
                <a:moveTo>
                  <a:pt x="224" y="204"/>
                </a:moveTo>
                <a:cubicBezTo>
                  <a:pt x="223" y="205"/>
                  <a:pt x="222" y="205"/>
                  <a:pt x="222" y="205"/>
                </a:cubicBezTo>
                <a:cubicBezTo>
                  <a:pt x="221" y="204"/>
                  <a:pt x="221" y="203"/>
                  <a:pt x="222" y="203"/>
                </a:cubicBezTo>
                <a:cubicBezTo>
                  <a:pt x="222" y="202"/>
                  <a:pt x="222" y="201"/>
                  <a:pt x="222" y="201"/>
                </a:cubicBezTo>
                <a:cubicBezTo>
                  <a:pt x="221" y="200"/>
                  <a:pt x="215" y="194"/>
                  <a:pt x="216" y="194"/>
                </a:cubicBezTo>
                <a:cubicBezTo>
                  <a:pt x="218" y="192"/>
                  <a:pt x="222" y="201"/>
                  <a:pt x="223" y="202"/>
                </a:cubicBezTo>
                <a:cubicBezTo>
                  <a:pt x="224" y="203"/>
                  <a:pt x="225" y="204"/>
                  <a:pt x="224" y="204"/>
                </a:cubicBezTo>
                <a:cubicBezTo>
                  <a:pt x="224" y="204"/>
                  <a:pt x="224" y="204"/>
                  <a:pt x="224" y="204"/>
                </a:cubicBezTo>
                <a:cubicBezTo>
                  <a:pt x="224" y="204"/>
                  <a:pt x="224" y="204"/>
                  <a:pt x="224" y="204"/>
                </a:cubicBezTo>
                <a:close/>
                <a:moveTo>
                  <a:pt x="227" y="215"/>
                </a:moveTo>
                <a:cubicBezTo>
                  <a:pt x="224" y="216"/>
                  <a:pt x="222" y="210"/>
                  <a:pt x="225" y="210"/>
                </a:cubicBezTo>
                <a:cubicBezTo>
                  <a:pt x="227" y="210"/>
                  <a:pt x="228" y="214"/>
                  <a:pt x="227" y="215"/>
                </a:cubicBezTo>
                <a:close/>
                <a:moveTo>
                  <a:pt x="230" y="252"/>
                </a:moveTo>
                <a:cubicBezTo>
                  <a:pt x="230" y="251"/>
                  <a:pt x="231" y="252"/>
                  <a:pt x="231" y="252"/>
                </a:cubicBezTo>
                <a:cubicBezTo>
                  <a:pt x="231" y="252"/>
                  <a:pt x="230" y="252"/>
                  <a:pt x="230" y="252"/>
                </a:cubicBezTo>
                <a:close/>
                <a:moveTo>
                  <a:pt x="232" y="218"/>
                </a:moveTo>
                <a:cubicBezTo>
                  <a:pt x="232" y="218"/>
                  <a:pt x="232" y="218"/>
                  <a:pt x="232" y="218"/>
                </a:cubicBezTo>
                <a:cubicBezTo>
                  <a:pt x="231" y="217"/>
                  <a:pt x="230" y="216"/>
                  <a:pt x="229" y="216"/>
                </a:cubicBezTo>
                <a:cubicBezTo>
                  <a:pt x="229" y="216"/>
                  <a:pt x="230" y="215"/>
                  <a:pt x="230" y="215"/>
                </a:cubicBezTo>
                <a:cubicBezTo>
                  <a:pt x="230" y="214"/>
                  <a:pt x="232" y="217"/>
                  <a:pt x="234" y="218"/>
                </a:cubicBezTo>
                <a:cubicBezTo>
                  <a:pt x="235" y="219"/>
                  <a:pt x="242" y="224"/>
                  <a:pt x="243" y="226"/>
                </a:cubicBezTo>
                <a:cubicBezTo>
                  <a:pt x="244" y="228"/>
                  <a:pt x="241" y="224"/>
                  <a:pt x="240" y="224"/>
                </a:cubicBezTo>
                <a:cubicBezTo>
                  <a:pt x="239" y="222"/>
                  <a:pt x="235" y="220"/>
                  <a:pt x="232" y="218"/>
                </a:cubicBezTo>
                <a:cubicBezTo>
                  <a:pt x="233" y="219"/>
                  <a:pt x="233" y="219"/>
                  <a:pt x="232" y="219"/>
                </a:cubicBezTo>
                <a:cubicBezTo>
                  <a:pt x="232" y="219"/>
                  <a:pt x="232" y="218"/>
                  <a:pt x="232" y="218"/>
                </a:cubicBezTo>
                <a:close/>
                <a:moveTo>
                  <a:pt x="233" y="254"/>
                </a:moveTo>
                <a:cubicBezTo>
                  <a:pt x="233" y="254"/>
                  <a:pt x="232" y="253"/>
                  <a:pt x="232" y="253"/>
                </a:cubicBezTo>
                <a:cubicBezTo>
                  <a:pt x="232" y="253"/>
                  <a:pt x="234" y="253"/>
                  <a:pt x="233" y="254"/>
                </a:cubicBezTo>
                <a:close/>
                <a:moveTo>
                  <a:pt x="233" y="257"/>
                </a:moveTo>
                <a:cubicBezTo>
                  <a:pt x="232" y="257"/>
                  <a:pt x="232" y="255"/>
                  <a:pt x="233" y="255"/>
                </a:cubicBezTo>
                <a:cubicBezTo>
                  <a:pt x="234" y="254"/>
                  <a:pt x="234" y="257"/>
                  <a:pt x="233" y="257"/>
                </a:cubicBezTo>
                <a:close/>
                <a:moveTo>
                  <a:pt x="234" y="240"/>
                </a:moveTo>
                <a:cubicBezTo>
                  <a:pt x="234" y="240"/>
                  <a:pt x="234" y="240"/>
                  <a:pt x="234" y="239"/>
                </a:cubicBezTo>
                <a:cubicBezTo>
                  <a:pt x="235" y="237"/>
                  <a:pt x="237" y="243"/>
                  <a:pt x="234" y="240"/>
                </a:cubicBezTo>
                <a:close/>
                <a:moveTo>
                  <a:pt x="239" y="261"/>
                </a:moveTo>
                <a:cubicBezTo>
                  <a:pt x="240" y="261"/>
                  <a:pt x="242" y="263"/>
                  <a:pt x="240" y="264"/>
                </a:cubicBezTo>
                <a:cubicBezTo>
                  <a:pt x="238" y="266"/>
                  <a:pt x="235" y="260"/>
                  <a:pt x="239" y="261"/>
                </a:cubicBezTo>
                <a:close/>
                <a:moveTo>
                  <a:pt x="243" y="722"/>
                </a:moveTo>
                <a:cubicBezTo>
                  <a:pt x="243" y="722"/>
                  <a:pt x="243" y="722"/>
                  <a:pt x="243" y="722"/>
                </a:cubicBezTo>
                <a:cubicBezTo>
                  <a:pt x="244" y="724"/>
                  <a:pt x="241" y="719"/>
                  <a:pt x="243" y="722"/>
                </a:cubicBezTo>
                <a:close/>
                <a:moveTo>
                  <a:pt x="240" y="314"/>
                </a:moveTo>
                <a:cubicBezTo>
                  <a:pt x="242" y="315"/>
                  <a:pt x="242" y="318"/>
                  <a:pt x="244" y="319"/>
                </a:cubicBezTo>
                <a:cubicBezTo>
                  <a:pt x="242" y="318"/>
                  <a:pt x="241" y="316"/>
                  <a:pt x="240" y="314"/>
                </a:cubicBezTo>
                <a:close/>
                <a:moveTo>
                  <a:pt x="245" y="274"/>
                </a:moveTo>
                <a:cubicBezTo>
                  <a:pt x="247" y="273"/>
                  <a:pt x="246" y="276"/>
                  <a:pt x="245" y="276"/>
                </a:cubicBezTo>
                <a:cubicBezTo>
                  <a:pt x="244" y="277"/>
                  <a:pt x="243" y="274"/>
                  <a:pt x="245" y="274"/>
                </a:cubicBezTo>
                <a:close/>
                <a:moveTo>
                  <a:pt x="246" y="680"/>
                </a:moveTo>
                <a:cubicBezTo>
                  <a:pt x="244" y="679"/>
                  <a:pt x="247" y="680"/>
                  <a:pt x="246" y="680"/>
                </a:cubicBezTo>
                <a:close/>
                <a:moveTo>
                  <a:pt x="245" y="321"/>
                </a:moveTo>
                <a:cubicBezTo>
                  <a:pt x="248" y="323"/>
                  <a:pt x="245" y="324"/>
                  <a:pt x="245" y="321"/>
                </a:cubicBezTo>
                <a:close/>
                <a:moveTo>
                  <a:pt x="247" y="85"/>
                </a:moveTo>
                <a:cubicBezTo>
                  <a:pt x="246" y="86"/>
                  <a:pt x="245" y="85"/>
                  <a:pt x="245" y="84"/>
                </a:cubicBezTo>
                <a:cubicBezTo>
                  <a:pt x="244" y="83"/>
                  <a:pt x="247" y="83"/>
                  <a:pt x="247" y="85"/>
                </a:cubicBezTo>
                <a:close/>
                <a:moveTo>
                  <a:pt x="246" y="83"/>
                </a:moveTo>
                <a:cubicBezTo>
                  <a:pt x="246" y="82"/>
                  <a:pt x="246" y="83"/>
                  <a:pt x="246" y="83"/>
                </a:cubicBezTo>
                <a:cubicBezTo>
                  <a:pt x="248" y="82"/>
                  <a:pt x="245" y="84"/>
                  <a:pt x="246" y="83"/>
                </a:cubicBezTo>
                <a:close/>
                <a:moveTo>
                  <a:pt x="247" y="96"/>
                </a:moveTo>
                <a:cubicBezTo>
                  <a:pt x="248" y="97"/>
                  <a:pt x="247" y="97"/>
                  <a:pt x="247" y="96"/>
                </a:cubicBezTo>
                <a:close/>
                <a:moveTo>
                  <a:pt x="249" y="170"/>
                </a:moveTo>
                <a:cubicBezTo>
                  <a:pt x="247" y="168"/>
                  <a:pt x="250" y="172"/>
                  <a:pt x="249" y="170"/>
                </a:cubicBezTo>
                <a:close/>
                <a:moveTo>
                  <a:pt x="248" y="146"/>
                </a:moveTo>
                <a:cubicBezTo>
                  <a:pt x="248" y="146"/>
                  <a:pt x="247" y="145"/>
                  <a:pt x="248" y="144"/>
                </a:cubicBezTo>
                <a:cubicBezTo>
                  <a:pt x="250" y="141"/>
                  <a:pt x="251" y="149"/>
                  <a:pt x="248" y="146"/>
                </a:cubicBezTo>
                <a:close/>
                <a:moveTo>
                  <a:pt x="251" y="173"/>
                </a:moveTo>
                <a:cubicBezTo>
                  <a:pt x="249" y="171"/>
                  <a:pt x="252" y="175"/>
                  <a:pt x="251" y="173"/>
                </a:cubicBezTo>
                <a:close/>
                <a:moveTo>
                  <a:pt x="251" y="126"/>
                </a:moveTo>
                <a:cubicBezTo>
                  <a:pt x="251" y="125"/>
                  <a:pt x="252" y="126"/>
                  <a:pt x="252" y="126"/>
                </a:cubicBezTo>
                <a:cubicBezTo>
                  <a:pt x="252" y="126"/>
                  <a:pt x="251" y="126"/>
                  <a:pt x="251" y="126"/>
                </a:cubicBezTo>
                <a:close/>
                <a:moveTo>
                  <a:pt x="254" y="93"/>
                </a:moveTo>
                <a:cubicBezTo>
                  <a:pt x="254" y="93"/>
                  <a:pt x="253" y="93"/>
                  <a:pt x="252" y="93"/>
                </a:cubicBezTo>
                <a:cubicBezTo>
                  <a:pt x="250" y="91"/>
                  <a:pt x="255" y="90"/>
                  <a:pt x="254" y="93"/>
                </a:cubicBezTo>
                <a:close/>
                <a:moveTo>
                  <a:pt x="253" y="639"/>
                </a:moveTo>
                <a:cubicBezTo>
                  <a:pt x="253" y="638"/>
                  <a:pt x="255" y="639"/>
                  <a:pt x="255" y="639"/>
                </a:cubicBezTo>
                <a:cubicBezTo>
                  <a:pt x="256" y="641"/>
                  <a:pt x="252" y="640"/>
                  <a:pt x="253" y="639"/>
                </a:cubicBezTo>
                <a:close/>
                <a:moveTo>
                  <a:pt x="254" y="281"/>
                </a:moveTo>
                <a:cubicBezTo>
                  <a:pt x="256" y="282"/>
                  <a:pt x="255" y="284"/>
                  <a:pt x="254" y="281"/>
                </a:cubicBezTo>
                <a:close/>
                <a:moveTo>
                  <a:pt x="256" y="131"/>
                </a:moveTo>
                <a:cubicBezTo>
                  <a:pt x="258" y="131"/>
                  <a:pt x="257" y="133"/>
                  <a:pt x="256" y="133"/>
                </a:cubicBezTo>
                <a:cubicBezTo>
                  <a:pt x="255" y="133"/>
                  <a:pt x="254" y="131"/>
                  <a:pt x="256" y="131"/>
                </a:cubicBezTo>
                <a:close/>
                <a:moveTo>
                  <a:pt x="256" y="252"/>
                </a:moveTo>
                <a:cubicBezTo>
                  <a:pt x="256" y="252"/>
                  <a:pt x="258" y="254"/>
                  <a:pt x="258" y="254"/>
                </a:cubicBezTo>
                <a:cubicBezTo>
                  <a:pt x="258" y="254"/>
                  <a:pt x="256" y="253"/>
                  <a:pt x="256" y="252"/>
                </a:cubicBezTo>
                <a:close/>
                <a:moveTo>
                  <a:pt x="257" y="723"/>
                </a:moveTo>
                <a:cubicBezTo>
                  <a:pt x="257" y="723"/>
                  <a:pt x="258" y="723"/>
                  <a:pt x="258" y="723"/>
                </a:cubicBezTo>
                <a:cubicBezTo>
                  <a:pt x="260" y="724"/>
                  <a:pt x="256" y="723"/>
                  <a:pt x="257" y="723"/>
                </a:cubicBezTo>
                <a:close/>
                <a:moveTo>
                  <a:pt x="257" y="608"/>
                </a:moveTo>
                <a:cubicBezTo>
                  <a:pt x="258" y="607"/>
                  <a:pt x="261" y="610"/>
                  <a:pt x="260" y="610"/>
                </a:cubicBezTo>
                <a:cubicBezTo>
                  <a:pt x="265" y="613"/>
                  <a:pt x="273" y="615"/>
                  <a:pt x="279" y="618"/>
                </a:cubicBezTo>
                <a:cubicBezTo>
                  <a:pt x="279" y="618"/>
                  <a:pt x="281" y="619"/>
                  <a:pt x="281" y="619"/>
                </a:cubicBezTo>
                <a:cubicBezTo>
                  <a:pt x="282" y="621"/>
                  <a:pt x="264" y="613"/>
                  <a:pt x="261" y="611"/>
                </a:cubicBezTo>
                <a:cubicBezTo>
                  <a:pt x="261" y="611"/>
                  <a:pt x="256" y="609"/>
                  <a:pt x="257" y="608"/>
                </a:cubicBezTo>
                <a:close/>
                <a:moveTo>
                  <a:pt x="271" y="686"/>
                </a:moveTo>
                <a:cubicBezTo>
                  <a:pt x="271" y="688"/>
                  <a:pt x="269" y="684"/>
                  <a:pt x="270" y="686"/>
                </a:cubicBezTo>
                <a:cubicBezTo>
                  <a:pt x="270" y="686"/>
                  <a:pt x="271" y="686"/>
                  <a:pt x="271" y="686"/>
                </a:cubicBezTo>
                <a:close/>
                <a:moveTo>
                  <a:pt x="270" y="730"/>
                </a:moveTo>
                <a:cubicBezTo>
                  <a:pt x="270" y="731"/>
                  <a:pt x="268" y="729"/>
                  <a:pt x="270" y="730"/>
                </a:cubicBezTo>
                <a:close/>
                <a:moveTo>
                  <a:pt x="269" y="705"/>
                </a:moveTo>
                <a:cubicBezTo>
                  <a:pt x="269" y="705"/>
                  <a:pt x="271" y="705"/>
                  <a:pt x="271" y="705"/>
                </a:cubicBezTo>
                <a:cubicBezTo>
                  <a:pt x="272" y="707"/>
                  <a:pt x="268" y="706"/>
                  <a:pt x="269" y="705"/>
                </a:cubicBezTo>
                <a:close/>
                <a:moveTo>
                  <a:pt x="270" y="699"/>
                </a:moveTo>
                <a:cubicBezTo>
                  <a:pt x="272" y="697"/>
                  <a:pt x="273" y="701"/>
                  <a:pt x="270" y="699"/>
                </a:cubicBezTo>
                <a:close/>
                <a:moveTo>
                  <a:pt x="277" y="747"/>
                </a:moveTo>
                <a:cubicBezTo>
                  <a:pt x="275" y="746"/>
                  <a:pt x="279" y="748"/>
                  <a:pt x="277" y="747"/>
                </a:cubicBezTo>
                <a:close/>
                <a:moveTo>
                  <a:pt x="277" y="671"/>
                </a:moveTo>
                <a:cubicBezTo>
                  <a:pt x="279" y="670"/>
                  <a:pt x="279" y="671"/>
                  <a:pt x="279" y="671"/>
                </a:cubicBezTo>
                <a:cubicBezTo>
                  <a:pt x="281" y="673"/>
                  <a:pt x="276" y="671"/>
                  <a:pt x="277" y="671"/>
                </a:cubicBezTo>
                <a:close/>
                <a:moveTo>
                  <a:pt x="280" y="741"/>
                </a:moveTo>
                <a:cubicBezTo>
                  <a:pt x="280" y="740"/>
                  <a:pt x="284" y="740"/>
                  <a:pt x="285" y="741"/>
                </a:cubicBezTo>
                <a:cubicBezTo>
                  <a:pt x="285" y="743"/>
                  <a:pt x="280" y="742"/>
                  <a:pt x="280" y="741"/>
                </a:cubicBezTo>
                <a:close/>
                <a:moveTo>
                  <a:pt x="284" y="510"/>
                </a:moveTo>
                <a:cubicBezTo>
                  <a:pt x="284" y="510"/>
                  <a:pt x="285" y="510"/>
                  <a:pt x="286" y="510"/>
                </a:cubicBezTo>
                <a:cubicBezTo>
                  <a:pt x="287" y="512"/>
                  <a:pt x="283" y="512"/>
                  <a:pt x="284" y="510"/>
                </a:cubicBezTo>
                <a:close/>
                <a:moveTo>
                  <a:pt x="286" y="669"/>
                </a:moveTo>
                <a:cubicBezTo>
                  <a:pt x="286" y="667"/>
                  <a:pt x="289" y="668"/>
                  <a:pt x="289" y="669"/>
                </a:cubicBezTo>
                <a:cubicBezTo>
                  <a:pt x="290" y="671"/>
                  <a:pt x="286" y="670"/>
                  <a:pt x="286" y="669"/>
                </a:cubicBezTo>
                <a:close/>
                <a:moveTo>
                  <a:pt x="308" y="749"/>
                </a:moveTo>
                <a:cubicBezTo>
                  <a:pt x="302" y="750"/>
                  <a:pt x="295" y="748"/>
                  <a:pt x="288" y="746"/>
                </a:cubicBezTo>
                <a:cubicBezTo>
                  <a:pt x="294" y="747"/>
                  <a:pt x="301" y="748"/>
                  <a:pt x="308" y="749"/>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D"/>
          </a:p>
        </p:txBody>
      </p:sp>
      <p:sp>
        <p:nvSpPr>
          <p:cNvPr id="3" name="Date Placeholder 2">
            <a:extLst>
              <a:ext uri="{FF2B5EF4-FFF2-40B4-BE49-F238E27FC236}">
                <a16:creationId xmlns:a16="http://schemas.microsoft.com/office/drawing/2014/main" id="{06687C07-D572-4BDD-AF05-8839FE38A9FF}"/>
              </a:ext>
            </a:extLst>
          </p:cNvPr>
          <p:cNvSpPr>
            <a:spLocks noGrp="1"/>
          </p:cNvSpPr>
          <p:nvPr>
            <p:ph type="dt" sz="half" idx="10"/>
          </p:nvPr>
        </p:nvSpPr>
        <p:spPr/>
        <p:txBody>
          <a:bodyPr/>
          <a:lstStyle/>
          <a:p>
            <a:fld id="{E1B03E03-D9DE-4D95-8BE5-ECE555D348CA}" type="datetimeFigureOut">
              <a:rPr lang="en-ID" smtClean="0"/>
              <a:t>01/06/2024</a:t>
            </a:fld>
            <a:endParaRPr lang="en-ID"/>
          </a:p>
        </p:txBody>
      </p:sp>
      <p:sp>
        <p:nvSpPr>
          <p:cNvPr id="4" name="Footer Placeholder 3">
            <a:extLst>
              <a:ext uri="{FF2B5EF4-FFF2-40B4-BE49-F238E27FC236}">
                <a16:creationId xmlns:a16="http://schemas.microsoft.com/office/drawing/2014/main" id="{3FFFDE6E-A88B-4348-BA11-7F6EFF6BC8A6}"/>
              </a:ext>
            </a:extLst>
          </p:cNvPr>
          <p:cNvSpPr>
            <a:spLocks noGrp="1"/>
          </p:cNvSpPr>
          <p:nvPr>
            <p:ph type="ftr" sz="quarter" idx="11"/>
          </p:nvPr>
        </p:nvSpPr>
        <p:spPr/>
        <p:txBody>
          <a:bodyPr/>
          <a:lstStyle/>
          <a:p>
            <a:endParaRPr lang="en-ID"/>
          </a:p>
        </p:txBody>
      </p:sp>
      <p:sp>
        <p:nvSpPr>
          <p:cNvPr id="5" name="Slide Number Placeholder 4">
            <a:extLst>
              <a:ext uri="{FF2B5EF4-FFF2-40B4-BE49-F238E27FC236}">
                <a16:creationId xmlns:a16="http://schemas.microsoft.com/office/drawing/2014/main" id="{92FCD6D3-0714-4CD4-8FAD-B88D6D4BE76B}"/>
              </a:ext>
            </a:extLst>
          </p:cNvPr>
          <p:cNvSpPr>
            <a:spLocks noGrp="1"/>
          </p:cNvSpPr>
          <p:nvPr>
            <p:ph type="sldNum" sz="quarter" idx="12"/>
          </p:nvPr>
        </p:nvSpPr>
        <p:spPr/>
        <p:txBody>
          <a:bodyPr/>
          <a:lstStyle/>
          <a:p>
            <a:fld id="{67F89122-6C24-49FD-BEBC-7A811562A5F5}" type="slidenum">
              <a:rPr lang="en-ID" smtClean="0"/>
              <a:t>‹#›</a:t>
            </a:fld>
            <a:endParaRPr lang="en-ID"/>
          </a:p>
        </p:txBody>
      </p:sp>
    </p:spTree>
    <p:extLst>
      <p:ext uri="{BB962C8B-B14F-4D97-AF65-F5344CB8AC3E}">
        <p14:creationId xmlns:p14="http://schemas.microsoft.com/office/powerpoint/2010/main" val="8185194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01848FE-3BE6-47D8-A73F-3AC109169960}"/>
              </a:ext>
            </a:extLst>
          </p:cNvPr>
          <p:cNvSpPr>
            <a:spLocks noGrp="1"/>
          </p:cNvSpPr>
          <p:nvPr>
            <p:ph type="dt" sz="half" idx="10"/>
          </p:nvPr>
        </p:nvSpPr>
        <p:spPr/>
        <p:txBody>
          <a:bodyPr/>
          <a:lstStyle/>
          <a:p>
            <a:fld id="{E1B03E03-D9DE-4D95-8BE5-ECE555D348CA}" type="datetimeFigureOut">
              <a:rPr lang="en-ID" smtClean="0"/>
              <a:t>01/06/2024</a:t>
            </a:fld>
            <a:endParaRPr lang="en-ID"/>
          </a:p>
        </p:txBody>
      </p:sp>
      <p:sp>
        <p:nvSpPr>
          <p:cNvPr id="3" name="Footer Placeholder 2">
            <a:extLst>
              <a:ext uri="{FF2B5EF4-FFF2-40B4-BE49-F238E27FC236}">
                <a16:creationId xmlns:a16="http://schemas.microsoft.com/office/drawing/2014/main" id="{951364B1-66FA-45AA-BDA0-9A00CCB5AB4E}"/>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39F00CE6-E859-45E8-9350-376399712F10}"/>
              </a:ext>
            </a:extLst>
          </p:cNvPr>
          <p:cNvSpPr>
            <a:spLocks noGrp="1"/>
          </p:cNvSpPr>
          <p:nvPr>
            <p:ph type="sldNum" sz="quarter" idx="12"/>
          </p:nvPr>
        </p:nvSpPr>
        <p:spPr/>
        <p:txBody>
          <a:bodyPr/>
          <a:lstStyle/>
          <a:p>
            <a:fld id="{67F89122-6C24-49FD-BEBC-7A811562A5F5}" type="slidenum">
              <a:rPr lang="en-ID" smtClean="0"/>
              <a:t>‹#›</a:t>
            </a:fld>
            <a:endParaRPr lang="en-ID"/>
          </a:p>
        </p:txBody>
      </p:sp>
    </p:spTree>
    <p:extLst>
      <p:ext uri="{BB962C8B-B14F-4D97-AF65-F5344CB8AC3E}">
        <p14:creationId xmlns:p14="http://schemas.microsoft.com/office/powerpoint/2010/main" val="35654396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7D0E9-C435-406C-AE20-077099197F6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24FBBE2A-2D09-49CF-9578-0757EB248A9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9063B6F5-B555-48C9-92CA-A8C0ABF807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BEB7C1A-45CA-41CC-9A24-977B048EFE89}"/>
              </a:ext>
            </a:extLst>
          </p:cNvPr>
          <p:cNvSpPr>
            <a:spLocks noGrp="1"/>
          </p:cNvSpPr>
          <p:nvPr>
            <p:ph type="dt" sz="half" idx="10"/>
          </p:nvPr>
        </p:nvSpPr>
        <p:spPr/>
        <p:txBody>
          <a:bodyPr/>
          <a:lstStyle/>
          <a:p>
            <a:fld id="{E1B03E03-D9DE-4D95-8BE5-ECE555D348CA}" type="datetimeFigureOut">
              <a:rPr lang="en-ID" smtClean="0"/>
              <a:t>01/06/2024</a:t>
            </a:fld>
            <a:endParaRPr lang="en-ID"/>
          </a:p>
        </p:txBody>
      </p:sp>
      <p:sp>
        <p:nvSpPr>
          <p:cNvPr id="6" name="Footer Placeholder 5">
            <a:extLst>
              <a:ext uri="{FF2B5EF4-FFF2-40B4-BE49-F238E27FC236}">
                <a16:creationId xmlns:a16="http://schemas.microsoft.com/office/drawing/2014/main" id="{F488666A-C8DD-4BF2-A652-2DC4723D0583}"/>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11399146-1991-4AA8-B1BF-8D2D962BDE84}"/>
              </a:ext>
            </a:extLst>
          </p:cNvPr>
          <p:cNvSpPr>
            <a:spLocks noGrp="1"/>
          </p:cNvSpPr>
          <p:nvPr>
            <p:ph type="sldNum" sz="quarter" idx="12"/>
          </p:nvPr>
        </p:nvSpPr>
        <p:spPr/>
        <p:txBody>
          <a:bodyPr/>
          <a:lstStyle/>
          <a:p>
            <a:fld id="{67F89122-6C24-49FD-BEBC-7A811562A5F5}" type="slidenum">
              <a:rPr lang="en-ID" smtClean="0"/>
              <a:t>‹#›</a:t>
            </a:fld>
            <a:endParaRPr lang="en-ID"/>
          </a:p>
        </p:txBody>
      </p:sp>
    </p:spTree>
    <p:extLst>
      <p:ext uri="{BB962C8B-B14F-4D97-AF65-F5344CB8AC3E}">
        <p14:creationId xmlns:p14="http://schemas.microsoft.com/office/powerpoint/2010/main" val="39247900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EE7BE-ACE9-4C6B-AF76-B973114DF2AE}"/>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34989F62-166F-457C-9B63-6FDC7859DA8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49B01E04-4220-4BB8-9A40-37E8D782B82D}"/>
              </a:ext>
            </a:extLst>
          </p:cNvPr>
          <p:cNvSpPr>
            <a:spLocks noGrp="1"/>
          </p:cNvSpPr>
          <p:nvPr>
            <p:ph type="dt" sz="half" idx="10"/>
          </p:nvPr>
        </p:nvSpPr>
        <p:spPr/>
        <p:txBody>
          <a:bodyPr/>
          <a:lstStyle/>
          <a:p>
            <a:fld id="{E1B03E03-D9DE-4D95-8BE5-ECE555D348CA}" type="datetimeFigureOut">
              <a:rPr lang="en-ID" smtClean="0"/>
              <a:t>01/06/2024</a:t>
            </a:fld>
            <a:endParaRPr lang="en-ID"/>
          </a:p>
        </p:txBody>
      </p:sp>
      <p:sp>
        <p:nvSpPr>
          <p:cNvPr id="5" name="Footer Placeholder 4">
            <a:extLst>
              <a:ext uri="{FF2B5EF4-FFF2-40B4-BE49-F238E27FC236}">
                <a16:creationId xmlns:a16="http://schemas.microsoft.com/office/drawing/2014/main" id="{0A83DF76-F785-4F89-B847-F1ADAC5AD54F}"/>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14DB47C1-5CA4-48DB-88A1-24808B5FF678}"/>
              </a:ext>
            </a:extLst>
          </p:cNvPr>
          <p:cNvSpPr>
            <a:spLocks noGrp="1"/>
          </p:cNvSpPr>
          <p:nvPr>
            <p:ph type="sldNum" sz="quarter" idx="12"/>
          </p:nvPr>
        </p:nvSpPr>
        <p:spPr/>
        <p:txBody>
          <a:bodyPr/>
          <a:lstStyle/>
          <a:p>
            <a:fld id="{67F89122-6C24-49FD-BEBC-7A811562A5F5}" type="slidenum">
              <a:rPr lang="en-ID" smtClean="0"/>
              <a:t>‹#›</a:t>
            </a:fld>
            <a:endParaRPr lang="en-ID"/>
          </a:p>
        </p:txBody>
      </p:sp>
    </p:spTree>
    <p:extLst>
      <p:ext uri="{BB962C8B-B14F-4D97-AF65-F5344CB8AC3E}">
        <p14:creationId xmlns:p14="http://schemas.microsoft.com/office/powerpoint/2010/main" val="4095330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D1E446B-A9B3-4C01-AD22-D576FCB2592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7B036E8C-F64A-4784-B0B3-79D5BD035D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E193E2B7-33C2-4062-914F-BE7DB96719C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1B03E03-D9DE-4D95-8BE5-ECE555D348CA}" type="datetimeFigureOut">
              <a:rPr lang="en-ID" smtClean="0"/>
              <a:t>01/06/2024</a:t>
            </a:fld>
            <a:endParaRPr lang="en-ID"/>
          </a:p>
        </p:txBody>
      </p:sp>
      <p:sp>
        <p:nvSpPr>
          <p:cNvPr id="5" name="Footer Placeholder 4">
            <a:extLst>
              <a:ext uri="{FF2B5EF4-FFF2-40B4-BE49-F238E27FC236}">
                <a16:creationId xmlns:a16="http://schemas.microsoft.com/office/drawing/2014/main" id="{3460CF44-E083-49BB-B849-81171C7C477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E671B075-C7FB-4E8C-8E0B-88AA837736B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F89122-6C24-49FD-BEBC-7A811562A5F5}" type="slidenum">
              <a:rPr lang="en-ID" smtClean="0"/>
              <a:t>‹#›</a:t>
            </a:fld>
            <a:endParaRPr lang="en-ID"/>
          </a:p>
        </p:txBody>
      </p:sp>
    </p:spTree>
    <p:extLst>
      <p:ext uri="{BB962C8B-B14F-4D97-AF65-F5344CB8AC3E}">
        <p14:creationId xmlns:p14="http://schemas.microsoft.com/office/powerpoint/2010/main" val="76205890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7" r:id="rId8"/>
    <p:sldLayoutId id="2147483658" r:id="rId9"/>
    <p:sldLayoutId id="2147483659"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slideLayout" Target="../slideLayouts/slideLayout6.xml"/><Relationship Id="rId4" Type="http://schemas.openxmlformats.org/officeDocument/2006/relationships/tags" Target="../tags/tag4.xml"/><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 Id="rId6" Type="http://schemas.openxmlformats.org/officeDocument/2006/relationships/chart" Target="../charts/chart3.xml"/><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 Id="rId4" Type="http://schemas.openxmlformats.org/officeDocument/2006/relationships/chart" Target="../charts/chart4.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135" name="Rectangle 134">
            <a:extLst>
              <a:ext uri="{FF2B5EF4-FFF2-40B4-BE49-F238E27FC236}">
                <a16:creationId xmlns:a16="http://schemas.microsoft.com/office/drawing/2014/main" id="{65948572-934F-4876-96DE-8C1436DEF572}"/>
              </a:ext>
            </a:extLst>
          </p:cNvPr>
          <p:cNvSpPr/>
          <p:nvPr/>
        </p:nvSpPr>
        <p:spPr>
          <a:xfrm>
            <a:off x="0" y="0"/>
            <a:ext cx="12191999" cy="6858000"/>
          </a:xfrm>
          <a:prstGeom prst="rect">
            <a:avLst/>
          </a:prstGeom>
          <a:solidFill>
            <a:schemeClr val="tx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34" name="Freeform 131">
            <a:extLst>
              <a:ext uri="{FF2B5EF4-FFF2-40B4-BE49-F238E27FC236}">
                <a16:creationId xmlns:a16="http://schemas.microsoft.com/office/drawing/2014/main" id="{F04BFBE0-7B0C-4F4A-A96D-225E1D206BA4}"/>
              </a:ext>
            </a:extLst>
          </p:cNvPr>
          <p:cNvSpPr>
            <a:spLocks noEditPoints="1"/>
          </p:cNvSpPr>
          <p:nvPr/>
        </p:nvSpPr>
        <p:spPr bwMode="auto">
          <a:xfrm>
            <a:off x="6475308" y="3567113"/>
            <a:ext cx="5716692" cy="6581774"/>
          </a:xfrm>
          <a:custGeom>
            <a:avLst/>
            <a:gdLst>
              <a:gd name="T0" fmla="*/ 472 w 680"/>
              <a:gd name="T1" fmla="*/ 703 h 784"/>
              <a:gd name="T2" fmla="*/ 510 w 680"/>
              <a:gd name="T3" fmla="*/ 633 h 784"/>
              <a:gd name="T4" fmla="*/ 527 w 680"/>
              <a:gd name="T5" fmla="*/ 618 h 784"/>
              <a:gd name="T6" fmla="*/ 559 w 680"/>
              <a:gd name="T7" fmla="*/ 657 h 784"/>
              <a:gd name="T8" fmla="*/ 551 w 680"/>
              <a:gd name="T9" fmla="*/ 603 h 784"/>
              <a:gd name="T10" fmla="*/ 581 w 680"/>
              <a:gd name="T11" fmla="*/ 564 h 784"/>
              <a:gd name="T12" fmla="*/ 625 w 680"/>
              <a:gd name="T13" fmla="*/ 572 h 784"/>
              <a:gd name="T14" fmla="*/ 679 w 680"/>
              <a:gd name="T15" fmla="*/ 423 h 784"/>
              <a:gd name="T16" fmla="*/ 245 w 680"/>
              <a:gd name="T17" fmla="*/ 55 h 784"/>
              <a:gd name="T18" fmla="*/ 197 w 680"/>
              <a:gd name="T19" fmla="*/ 116 h 784"/>
              <a:gd name="T20" fmla="*/ 139 w 680"/>
              <a:gd name="T21" fmla="*/ 176 h 784"/>
              <a:gd name="T22" fmla="*/ 91 w 680"/>
              <a:gd name="T23" fmla="*/ 199 h 784"/>
              <a:gd name="T24" fmla="*/ 61 w 680"/>
              <a:gd name="T25" fmla="*/ 218 h 784"/>
              <a:gd name="T26" fmla="*/ 38 w 680"/>
              <a:gd name="T27" fmla="*/ 290 h 784"/>
              <a:gd name="T28" fmla="*/ 55 w 680"/>
              <a:gd name="T29" fmla="*/ 350 h 784"/>
              <a:gd name="T30" fmla="*/ 6 w 680"/>
              <a:gd name="T31" fmla="*/ 262 h 784"/>
              <a:gd name="T32" fmla="*/ 492 w 680"/>
              <a:gd name="T33" fmla="*/ 624 h 784"/>
              <a:gd name="T34" fmla="*/ 552 w 680"/>
              <a:gd name="T35" fmla="*/ 574 h 784"/>
              <a:gd name="T36" fmla="*/ 633 w 680"/>
              <a:gd name="T37" fmla="*/ 545 h 784"/>
              <a:gd name="T38" fmla="*/ 641 w 680"/>
              <a:gd name="T39" fmla="*/ 482 h 784"/>
              <a:gd name="T40" fmla="*/ 625 w 680"/>
              <a:gd name="T41" fmla="*/ 439 h 784"/>
              <a:gd name="T42" fmla="*/ 595 w 680"/>
              <a:gd name="T43" fmla="*/ 520 h 784"/>
              <a:gd name="T44" fmla="*/ 561 w 680"/>
              <a:gd name="T45" fmla="*/ 516 h 784"/>
              <a:gd name="T46" fmla="*/ 539 w 680"/>
              <a:gd name="T47" fmla="*/ 439 h 784"/>
              <a:gd name="T48" fmla="*/ 26 w 680"/>
              <a:gd name="T49" fmla="*/ 245 h 784"/>
              <a:gd name="T50" fmla="*/ 44 w 680"/>
              <a:gd name="T51" fmla="*/ 264 h 784"/>
              <a:gd name="T52" fmla="*/ 68 w 680"/>
              <a:gd name="T53" fmla="*/ 289 h 784"/>
              <a:gd name="T54" fmla="*/ 46 w 680"/>
              <a:gd name="T55" fmla="*/ 337 h 784"/>
              <a:gd name="T56" fmla="*/ 75 w 680"/>
              <a:gd name="T57" fmla="*/ 351 h 784"/>
              <a:gd name="T58" fmla="*/ 149 w 680"/>
              <a:gd name="T59" fmla="*/ 200 h 784"/>
              <a:gd name="T60" fmla="*/ 124 w 680"/>
              <a:gd name="T61" fmla="*/ 222 h 784"/>
              <a:gd name="T62" fmla="*/ 95 w 680"/>
              <a:gd name="T63" fmla="*/ 257 h 784"/>
              <a:gd name="T64" fmla="*/ 117 w 680"/>
              <a:gd name="T65" fmla="*/ 400 h 784"/>
              <a:gd name="T66" fmla="*/ 177 w 680"/>
              <a:gd name="T67" fmla="*/ 200 h 784"/>
              <a:gd name="T68" fmla="*/ 181 w 680"/>
              <a:gd name="T69" fmla="*/ 290 h 784"/>
              <a:gd name="T70" fmla="*/ 306 w 680"/>
              <a:gd name="T71" fmla="*/ 205 h 784"/>
              <a:gd name="T72" fmla="*/ 350 w 680"/>
              <a:gd name="T73" fmla="*/ 136 h 784"/>
              <a:gd name="T74" fmla="*/ 366 w 680"/>
              <a:gd name="T75" fmla="*/ 677 h 784"/>
              <a:gd name="T76" fmla="*/ 346 w 680"/>
              <a:gd name="T77" fmla="*/ 657 h 784"/>
              <a:gd name="T78" fmla="*/ 328 w 680"/>
              <a:gd name="T79" fmla="*/ 658 h 784"/>
              <a:gd name="T80" fmla="*/ 368 w 680"/>
              <a:gd name="T81" fmla="*/ 740 h 784"/>
              <a:gd name="T82" fmla="*/ 421 w 680"/>
              <a:gd name="T83" fmla="*/ 663 h 784"/>
              <a:gd name="T84" fmla="*/ 446 w 680"/>
              <a:gd name="T85" fmla="*/ 640 h 784"/>
              <a:gd name="T86" fmla="*/ 451 w 680"/>
              <a:gd name="T87" fmla="*/ 566 h 784"/>
              <a:gd name="T88" fmla="*/ 426 w 680"/>
              <a:gd name="T89" fmla="*/ 681 h 784"/>
              <a:gd name="T90" fmla="*/ 399 w 680"/>
              <a:gd name="T91" fmla="*/ 697 h 784"/>
              <a:gd name="T92" fmla="*/ 437 w 680"/>
              <a:gd name="T93" fmla="*/ 693 h 784"/>
              <a:gd name="T94" fmla="*/ 467 w 680"/>
              <a:gd name="T95" fmla="*/ 683 h 784"/>
              <a:gd name="T96" fmla="*/ 482 w 680"/>
              <a:gd name="T97" fmla="*/ 621 h 784"/>
              <a:gd name="T98" fmla="*/ 499 w 680"/>
              <a:gd name="T99" fmla="*/ 528 h 784"/>
              <a:gd name="T100" fmla="*/ 523 w 680"/>
              <a:gd name="T101" fmla="*/ 458 h 784"/>
              <a:gd name="T102" fmla="*/ 495 w 680"/>
              <a:gd name="T103" fmla="*/ 148 h 784"/>
              <a:gd name="T104" fmla="*/ 461 w 680"/>
              <a:gd name="T105" fmla="*/ 536 h 784"/>
              <a:gd name="T106" fmla="*/ 401 w 680"/>
              <a:gd name="T107" fmla="*/ 117 h 784"/>
              <a:gd name="T108" fmla="*/ 364 w 680"/>
              <a:gd name="T109" fmla="*/ 54 h 784"/>
              <a:gd name="T110" fmla="*/ 314 w 680"/>
              <a:gd name="T111" fmla="*/ 88 h 784"/>
              <a:gd name="T112" fmla="*/ 267 w 680"/>
              <a:gd name="T113" fmla="*/ 262 h 784"/>
              <a:gd name="T114" fmla="*/ 280 w 680"/>
              <a:gd name="T115" fmla="*/ 66 h 784"/>
              <a:gd name="T116" fmla="*/ 241 w 680"/>
              <a:gd name="T117" fmla="*/ 67 h 784"/>
              <a:gd name="T118" fmla="*/ 212 w 680"/>
              <a:gd name="T119" fmla="*/ 179 h 784"/>
              <a:gd name="T120" fmla="*/ 194 w 680"/>
              <a:gd name="T121" fmla="*/ 242 h 784"/>
              <a:gd name="T122" fmla="*/ 222 w 680"/>
              <a:gd name="T123" fmla="*/ 327 h 784"/>
              <a:gd name="T124" fmla="*/ 256 w 680"/>
              <a:gd name="T125" fmla="*/ 133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0" h="784">
                <a:moveTo>
                  <a:pt x="298" y="758"/>
                </a:moveTo>
                <a:cubicBezTo>
                  <a:pt x="300" y="757"/>
                  <a:pt x="304" y="758"/>
                  <a:pt x="305" y="756"/>
                </a:cubicBezTo>
                <a:cubicBezTo>
                  <a:pt x="305" y="756"/>
                  <a:pt x="304" y="755"/>
                  <a:pt x="305" y="755"/>
                </a:cubicBezTo>
                <a:cubicBezTo>
                  <a:pt x="307" y="753"/>
                  <a:pt x="311" y="754"/>
                  <a:pt x="312" y="754"/>
                </a:cubicBezTo>
                <a:cubicBezTo>
                  <a:pt x="324" y="757"/>
                  <a:pt x="318" y="767"/>
                  <a:pt x="306" y="764"/>
                </a:cubicBezTo>
                <a:cubicBezTo>
                  <a:pt x="304" y="763"/>
                  <a:pt x="305" y="762"/>
                  <a:pt x="302" y="762"/>
                </a:cubicBezTo>
                <a:cubicBezTo>
                  <a:pt x="340" y="784"/>
                  <a:pt x="340" y="784"/>
                  <a:pt x="340" y="784"/>
                </a:cubicBezTo>
                <a:cubicBezTo>
                  <a:pt x="340" y="783"/>
                  <a:pt x="341" y="783"/>
                  <a:pt x="341" y="783"/>
                </a:cubicBezTo>
                <a:cubicBezTo>
                  <a:pt x="344" y="782"/>
                  <a:pt x="344" y="782"/>
                  <a:pt x="344" y="782"/>
                </a:cubicBezTo>
                <a:cubicBezTo>
                  <a:pt x="344" y="782"/>
                  <a:pt x="343" y="782"/>
                  <a:pt x="343" y="781"/>
                </a:cubicBezTo>
                <a:cubicBezTo>
                  <a:pt x="344" y="781"/>
                  <a:pt x="344" y="781"/>
                  <a:pt x="344" y="782"/>
                </a:cubicBezTo>
                <a:cubicBezTo>
                  <a:pt x="346" y="781"/>
                  <a:pt x="346" y="781"/>
                  <a:pt x="346" y="781"/>
                </a:cubicBezTo>
                <a:cubicBezTo>
                  <a:pt x="346" y="780"/>
                  <a:pt x="345" y="780"/>
                  <a:pt x="345" y="779"/>
                </a:cubicBezTo>
                <a:cubicBezTo>
                  <a:pt x="345" y="777"/>
                  <a:pt x="351" y="775"/>
                  <a:pt x="354" y="776"/>
                </a:cubicBezTo>
                <a:cubicBezTo>
                  <a:pt x="363" y="770"/>
                  <a:pt x="363" y="770"/>
                  <a:pt x="363" y="770"/>
                </a:cubicBezTo>
                <a:cubicBezTo>
                  <a:pt x="363" y="770"/>
                  <a:pt x="363" y="770"/>
                  <a:pt x="363" y="770"/>
                </a:cubicBezTo>
                <a:cubicBezTo>
                  <a:pt x="363" y="770"/>
                  <a:pt x="360" y="768"/>
                  <a:pt x="361" y="766"/>
                </a:cubicBezTo>
                <a:cubicBezTo>
                  <a:pt x="361" y="765"/>
                  <a:pt x="364" y="765"/>
                  <a:pt x="364" y="765"/>
                </a:cubicBezTo>
                <a:cubicBezTo>
                  <a:pt x="366" y="762"/>
                  <a:pt x="364" y="765"/>
                  <a:pt x="366" y="764"/>
                </a:cubicBezTo>
                <a:cubicBezTo>
                  <a:pt x="366" y="764"/>
                  <a:pt x="367" y="763"/>
                  <a:pt x="367" y="763"/>
                </a:cubicBezTo>
                <a:cubicBezTo>
                  <a:pt x="369" y="763"/>
                  <a:pt x="371" y="764"/>
                  <a:pt x="372" y="766"/>
                </a:cubicBezTo>
                <a:cubicBezTo>
                  <a:pt x="420" y="738"/>
                  <a:pt x="420" y="738"/>
                  <a:pt x="420" y="738"/>
                </a:cubicBezTo>
                <a:cubicBezTo>
                  <a:pt x="420" y="737"/>
                  <a:pt x="419" y="737"/>
                  <a:pt x="419" y="737"/>
                </a:cubicBezTo>
                <a:cubicBezTo>
                  <a:pt x="419" y="735"/>
                  <a:pt x="420" y="737"/>
                  <a:pt x="421" y="737"/>
                </a:cubicBezTo>
                <a:cubicBezTo>
                  <a:pt x="419" y="734"/>
                  <a:pt x="424" y="734"/>
                  <a:pt x="423" y="732"/>
                </a:cubicBezTo>
                <a:cubicBezTo>
                  <a:pt x="425" y="733"/>
                  <a:pt x="426" y="733"/>
                  <a:pt x="428" y="733"/>
                </a:cubicBezTo>
                <a:cubicBezTo>
                  <a:pt x="444" y="724"/>
                  <a:pt x="444" y="724"/>
                  <a:pt x="444" y="724"/>
                </a:cubicBezTo>
                <a:cubicBezTo>
                  <a:pt x="442" y="723"/>
                  <a:pt x="441" y="723"/>
                  <a:pt x="440" y="723"/>
                </a:cubicBezTo>
                <a:cubicBezTo>
                  <a:pt x="439" y="723"/>
                  <a:pt x="439" y="724"/>
                  <a:pt x="438" y="724"/>
                </a:cubicBezTo>
                <a:cubicBezTo>
                  <a:pt x="438" y="724"/>
                  <a:pt x="431" y="722"/>
                  <a:pt x="431" y="721"/>
                </a:cubicBezTo>
                <a:cubicBezTo>
                  <a:pt x="430" y="721"/>
                  <a:pt x="429" y="718"/>
                  <a:pt x="429" y="718"/>
                </a:cubicBezTo>
                <a:cubicBezTo>
                  <a:pt x="429" y="718"/>
                  <a:pt x="428" y="718"/>
                  <a:pt x="428" y="717"/>
                </a:cubicBezTo>
                <a:cubicBezTo>
                  <a:pt x="428" y="716"/>
                  <a:pt x="432" y="715"/>
                  <a:pt x="436" y="715"/>
                </a:cubicBezTo>
                <a:cubicBezTo>
                  <a:pt x="436" y="715"/>
                  <a:pt x="436" y="715"/>
                  <a:pt x="436" y="715"/>
                </a:cubicBezTo>
                <a:cubicBezTo>
                  <a:pt x="436" y="715"/>
                  <a:pt x="436" y="715"/>
                  <a:pt x="436" y="715"/>
                </a:cubicBezTo>
                <a:cubicBezTo>
                  <a:pt x="437" y="715"/>
                  <a:pt x="437" y="715"/>
                  <a:pt x="438" y="715"/>
                </a:cubicBezTo>
                <a:cubicBezTo>
                  <a:pt x="440" y="714"/>
                  <a:pt x="442" y="713"/>
                  <a:pt x="440" y="711"/>
                </a:cubicBezTo>
                <a:cubicBezTo>
                  <a:pt x="441" y="712"/>
                  <a:pt x="437" y="712"/>
                  <a:pt x="437" y="711"/>
                </a:cubicBezTo>
                <a:cubicBezTo>
                  <a:pt x="437" y="711"/>
                  <a:pt x="444" y="710"/>
                  <a:pt x="443" y="708"/>
                </a:cubicBezTo>
                <a:cubicBezTo>
                  <a:pt x="443" y="709"/>
                  <a:pt x="440" y="706"/>
                  <a:pt x="441" y="706"/>
                </a:cubicBezTo>
                <a:cubicBezTo>
                  <a:pt x="441" y="705"/>
                  <a:pt x="444" y="705"/>
                  <a:pt x="446" y="705"/>
                </a:cubicBezTo>
                <a:cubicBezTo>
                  <a:pt x="446" y="705"/>
                  <a:pt x="446" y="704"/>
                  <a:pt x="446" y="704"/>
                </a:cubicBezTo>
                <a:cubicBezTo>
                  <a:pt x="446" y="704"/>
                  <a:pt x="446" y="703"/>
                  <a:pt x="446" y="703"/>
                </a:cubicBezTo>
                <a:cubicBezTo>
                  <a:pt x="445" y="702"/>
                  <a:pt x="444" y="703"/>
                  <a:pt x="445" y="701"/>
                </a:cubicBezTo>
                <a:cubicBezTo>
                  <a:pt x="443" y="702"/>
                  <a:pt x="442" y="702"/>
                  <a:pt x="440" y="703"/>
                </a:cubicBezTo>
                <a:cubicBezTo>
                  <a:pt x="442" y="703"/>
                  <a:pt x="442" y="700"/>
                  <a:pt x="443" y="700"/>
                </a:cubicBezTo>
                <a:cubicBezTo>
                  <a:pt x="446" y="700"/>
                  <a:pt x="443" y="700"/>
                  <a:pt x="442" y="698"/>
                </a:cubicBezTo>
                <a:cubicBezTo>
                  <a:pt x="441" y="699"/>
                  <a:pt x="442" y="699"/>
                  <a:pt x="442" y="700"/>
                </a:cubicBezTo>
                <a:cubicBezTo>
                  <a:pt x="440" y="705"/>
                  <a:pt x="434" y="698"/>
                  <a:pt x="437" y="696"/>
                </a:cubicBezTo>
                <a:cubicBezTo>
                  <a:pt x="438" y="696"/>
                  <a:pt x="441" y="698"/>
                  <a:pt x="441" y="697"/>
                </a:cubicBezTo>
                <a:cubicBezTo>
                  <a:pt x="443" y="697"/>
                  <a:pt x="443" y="696"/>
                  <a:pt x="443" y="694"/>
                </a:cubicBezTo>
                <a:cubicBezTo>
                  <a:pt x="444" y="694"/>
                  <a:pt x="445" y="695"/>
                  <a:pt x="447" y="695"/>
                </a:cubicBezTo>
                <a:cubicBezTo>
                  <a:pt x="447" y="695"/>
                  <a:pt x="446" y="694"/>
                  <a:pt x="447" y="694"/>
                </a:cubicBezTo>
                <a:cubicBezTo>
                  <a:pt x="448" y="692"/>
                  <a:pt x="454" y="695"/>
                  <a:pt x="453" y="693"/>
                </a:cubicBezTo>
                <a:cubicBezTo>
                  <a:pt x="454" y="693"/>
                  <a:pt x="454" y="693"/>
                  <a:pt x="454" y="693"/>
                </a:cubicBezTo>
                <a:cubicBezTo>
                  <a:pt x="454" y="693"/>
                  <a:pt x="454" y="693"/>
                  <a:pt x="454" y="693"/>
                </a:cubicBezTo>
                <a:cubicBezTo>
                  <a:pt x="455" y="693"/>
                  <a:pt x="455" y="693"/>
                  <a:pt x="455" y="693"/>
                </a:cubicBezTo>
                <a:cubicBezTo>
                  <a:pt x="454" y="693"/>
                  <a:pt x="454" y="693"/>
                  <a:pt x="454" y="693"/>
                </a:cubicBezTo>
                <a:cubicBezTo>
                  <a:pt x="455" y="694"/>
                  <a:pt x="456" y="697"/>
                  <a:pt x="457" y="699"/>
                </a:cubicBezTo>
                <a:cubicBezTo>
                  <a:pt x="457" y="700"/>
                  <a:pt x="458" y="700"/>
                  <a:pt x="458" y="701"/>
                </a:cubicBezTo>
                <a:cubicBezTo>
                  <a:pt x="457" y="702"/>
                  <a:pt x="455" y="700"/>
                  <a:pt x="455" y="702"/>
                </a:cubicBezTo>
                <a:cubicBezTo>
                  <a:pt x="455" y="706"/>
                  <a:pt x="463" y="704"/>
                  <a:pt x="461" y="698"/>
                </a:cubicBezTo>
                <a:cubicBezTo>
                  <a:pt x="463" y="700"/>
                  <a:pt x="465" y="701"/>
                  <a:pt x="466" y="703"/>
                </a:cubicBezTo>
                <a:cubicBezTo>
                  <a:pt x="466" y="702"/>
                  <a:pt x="468" y="702"/>
                  <a:pt x="468" y="703"/>
                </a:cubicBezTo>
                <a:cubicBezTo>
                  <a:pt x="469" y="704"/>
                  <a:pt x="467" y="704"/>
                  <a:pt x="466" y="703"/>
                </a:cubicBezTo>
                <a:cubicBezTo>
                  <a:pt x="467" y="704"/>
                  <a:pt x="467" y="704"/>
                  <a:pt x="467" y="705"/>
                </a:cubicBezTo>
                <a:cubicBezTo>
                  <a:pt x="467" y="705"/>
                  <a:pt x="468" y="704"/>
                  <a:pt x="468" y="705"/>
                </a:cubicBezTo>
                <a:cubicBezTo>
                  <a:pt x="468" y="706"/>
                  <a:pt x="467" y="706"/>
                  <a:pt x="467" y="705"/>
                </a:cubicBezTo>
                <a:cubicBezTo>
                  <a:pt x="467" y="706"/>
                  <a:pt x="467" y="706"/>
                  <a:pt x="467" y="707"/>
                </a:cubicBezTo>
                <a:cubicBezTo>
                  <a:pt x="467" y="706"/>
                  <a:pt x="469" y="707"/>
                  <a:pt x="471" y="706"/>
                </a:cubicBezTo>
                <a:cubicBezTo>
                  <a:pt x="471" y="706"/>
                  <a:pt x="471" y="706"/>
                  <a:pt x="471" y="706"/>
                </a:cubicBezTo>
                <a:cubicBezTo>
                  <a:pt x="472" y="706"/>
                  <a:pt x="472" y="706"/>
                  <a:pt x="472" y="706"/>
                </a:cubicBezTo>
                <a:cubicBezTo>
                  <a:pt x="472" y="706"/>
                  <a:pt x="472" y="706"/>
                  <a:pt x="472" y="706"/>
                </a:cubicBezTo>
                <a:cubicBezTo>
                  <a:pt x="472" y="706"/>
                  <a:pt x="473" y="706"/>
                  <a:pt x="474" y="706"/>
                </a:cubicBezTo>
                <a:cubicBezTo>
                  <a:pt x="474" y="706"/>
                  <a:pt x="474" y="705"/>
                  <a:pt x="472" y="705"/>
                </a:cubicBezTo>
                <a:cubicBezTo>
                  <a:pt x="472" y="704"/>
                  <a:pt x="475" y="705"/>
                  <a:pt x="476" y="705"/>
                </a:cubicBezTo>
                <a:cubicBezTo>
                  <a:pt x="476" y="705"/>
                  <a:pt x="476" y="705"/>
                  <a:pt x="476" y="705"/>
                </a:cubicBezTo>
                <a:cubicBezTo>
                  <a:pt x="476" y="705"/>
                  <a:pt x="475" y="704"/>
                  <a:pt x="475" y="704"/>
                </a:cubicBezTo>
                <a:cubicBezTo>
                  <a:pt x="474" y="705"/>
                  <a:pt x="471" y="704"/>
                  <a:pt x="472" y="703"/>
                </a:cubicBezTo>
                <a:cubicBezTo>
                  <a:pt x="473" y="703"/>
                  <a:pt x="473" y="703"/>
                  <a:pt x="473" y="703"/>
                </a:cubicBezTo>
                <a:cubicBezTo>
                  <a:pt x="473" y="703"/>
                  <a:pt x="473" y="703"/>
                  <a:pt x="473" y="702"/>
                </a:cubicBezTo>
                <a:cubicBezTo>
                  <a:pt x="473" y="703"/>
                  <a:pt x="475" y="702"/>
                  <a:pt x="475" y="703"/>
                </a:cubicBezTo>
                <a:cubicBezTo>
                  <a:pt x="474" y="701"/>
                  <a:pt x="472" y="701"/>
                  <a:pt x="472" y="700"/>
                </a:cubicBezTo>
                <a:cubicBezTo>
                  <a:pt x="474" y="698"/>
                  <a:pt x="477" y="703"/>
                  <a:pt x="479" y="702"/>
                </a:cubicBezTo>
                <a:cubicBezTo>
                  <a:pt x="479" y="702"/>
                  <a:pt x="479" y="702"/>
                  <a:pt x="479" y="702"/>
                </a:cubicBezTo>
                <a:cubicBezTo>
                  <a:pt x="479" y="702"/>
                  <a:pt x="479" y="702"/>
                  <a:pt x="479" y="702"/>
                </a:cubicBezTo>
                <a:cubicBezTo>
                  <a:pt x="477" y="700"/>
                  <a:pt x="473" y="698"/>
                  <a:pt x="476" y="697"/>
                </a:cubicBezTo>
                <a:cubicBezTo>
                  <a:pt x="475" y="697"/>
                  <a:pt x="475" y="697"/>
                  <a:pt x="474" y="696"/>
                </a:cubicBezTo>
                <a:cubicBezTo>
                  <a:pt x="474" y="696"/>
                  <a:pt x="474" y="695"/>
                  <a:pt x="474" y="695"/>
                </a:cubicBezTo>
                <a:cubicBezTo>
                  <a:pt x="474" y="695"/>
                  <a:pt x="474" y="695"/>
                  <a:pt x="474" y="695"/>
                </a:cubicBezTo>
                <a:cubicBezTo>
                  <a:pt x="474" y="694"/>
                  <a:pt x="476" y="693"/>
                  <a:pt x="476" y="694"/>
                </a:cubicBezTo>
                <a:cubicBezTo>
                  <a:pt x="479" y="694"/>
                  <a:pt x="485" y="695"/>
                  <a:pt x="481" y="692"/>
                </a:cubicBezTo>
                <a:cubicBezTo>
                  <a:pt x="482" y="693"/>
                  <a:pt x="485" y="690"/>
                  <a:pt x="487" y="693"/>
                </a:cubicBezTo>
                <a:cubicBezTo>
                  <a:pt x="487" y="693"/>
                  <a:pt x="486" y="694"/>
                  <a:pt x="486" y="694"/>
                </a:cubicBezTo>
                <a:cubicBezTo>
                  <a:pt x="487" y="694"/>
                  <a:pt x="494" y="692"/>
                  <a:pt x="494" y="691"/>
                </a:cubicBezTo>
                <a:cubicBezTo>
                  <a:pt x="494" y="691"/>
                  <a:pt x="488" y="688"/>
                  <a:pt x="492" y="687"/>
                </a:cubicBezTo>
                <a:cubicBezTo>
                  <a:pt x="494" y="687"/>
                  <a:pt x="496" y="689"/>
                  <a:pt x="496" y="690"/>
                </a:cubicBezTo>
                <a:cubicBezTo>
                  <a:pt x="496" y="693"/>
                  <a:pt x="499" y="688"/>
                  <a:pt x="499" y="688"/>
                </a:cubicBezTo>
                <a:cubicBezTo>
                  <a:pt x="498" y="686"/>
                  <a:pt x="497" y="688"/>
                  <a:pt x="497" y="686"/>
                </a:cubicBezTo>
                <a:cubicBezTo>
                  <a:pt x="497" y="687"/>
                  <a:pt x="500" y="684"/>
                  <a:pt x="500" y="684"/>
                </a:cubicBezTo>
                <a:cubicBezTo>
                  <a:pt x="501" y="683"/>
                  <a:pt x="500" y="682"/>
                  <a:pt x="503" y="683"/>
                </a:cubicBezTo>
                <a:cubicBezTo>
                  <a:pt x="502" y="683"/>
                  <a:pt x="501" y="682"/>
                  <a:pt x="501" y="681"/>
                </a:cubicBezTo>
                <a:cubicBezTo>
                  <a:pt x="500" y="680"/>
                  <a:pt x="499" y="679"/>
                  <a:pt x="500" y="679"/>
                </a:cubicBezTo>
                <a:cubicBezTo>
                  <a:pt x="500" y="678"/>
                  <a:pt x="500" y="678"/>
                  <a:pt x="501" y="678"/>
                </a:cubicBezTo>
                <a:cubicBezTo>
                  <a:pt x="501" y="678"/>
                  <a:pt x="501" y="678"/>
                  <a:pt x="501" y="678"/>
                </a:cubicBezTo>
                <a:cubicBezTo>
                  <a:pt x="502" y="679"/>
                  <a:pt x="503" y="679"/>
                  <a:pt x="503" y="680"/>
                </a:cubicBezTo>
                <a:cubicBezTo>
                  <a:pt x="503" y="680"/>
                  <a:pt x="503" y="680"/>
                  <a:pt x="504" y="680"/>
                </a:cubicBezTo>
                <a:cubicBezTo>
                  <a:pt x="504" y="680"/>
                  <a:pt x="504" y="680"/>
                  <a:pt x="505" y="679"/>
                </a:cubicBezTo>
                <a:cubicBezTo>
                  <a:pt x="504" y="679"/>
                  <a:pt x="504" y="678"/>
                  <a:pt x="504" y="678"/>
                </a:cubicBezTo>
                <a:cubicBezTo>
                  <a:pt x="505" y="676"/>
                  <a:pt x="508" y="676"/>
                  <a:pt x="509" y="678"/>
                </a:cubicBezTo>
                <a:cubicBezTo>
                  <a:pt x="509" y="677"/>
                  <a:pt x="510" y="677"/>
                  <a:pt x="510" y="677"/>
                </a:cubicBezTo>
                <a:cubicBezTo>
                  <a:pt x="510" y="678"/>
                  <a:pt x="512" y="680"/>
                  <a:pt x="513" y="680"/>
                </a:cubicBezTo>
                <a:cubicBezTo>
                  <a:pt x="513" y="680"/>
                  <a:pt x="513" y="681"/>
                  <a:pt x="513" y="681"/>
                </a:cubicBezTo>
                <a:cubicBezTo>
                  <a:pt x="513" y="681"/>
                  <a:pt x="513" y="681"/>
                  <a:pt x="513" y="682"/>
                </a:cubicBezTo>
                <a:cubicBezTo>
                  <a:pt x="513" y="682"/>
                  <a:pt x="513" y="682"/>
                  <a:pt x="513" y="682"/>
                </a:cubicBezTo>
                <a:cubicBezTo>
                  <a:pt x="516" y="683"/>
                  <a:pt x="514" y="677"/>
                  <a:pt x="517" y="678"/>
                </a:cubicBezTo>
                <a:cubicBezTo>
                  <a:pt x="515" y="678"/>
                  <a:pt x="514" y="677"/>
                  <a:pt x="514" y="676"/>
                </a:cubicBezTo>
                <a:cubicBezTo>
                  <a:pt x="512" y="676"/>
                  <a:pt x="510" y="674"/>
                  <a:pt x="511" y="673"/>
                </a:cubicBezTo>
                <a:cubicBezTo>
                  <a:pt x="509" y="673"/>
                  <a:pt x="506" y="673"/>
                  <a:pt x="507" y="670"/>
                </a:cubicBezTo>
                <a:cubicBezTo>
                  <a:pt x="507" y="670"/>
                  <a:pt x="506" y="670"/>
                  <a:pt x="506" y="670"/>
                </a:cubicBezTo>
                <a:cubicBezTo>
                  <a:pt x="508" y="672"/>
                  <a:pt x="505" y="672"/>
                  <a:pt x="504" y="671"/>
                </a:cubicBezTo>
                <a:cubicBezTo>
                  <a:pt x="504" y="670"/>
                  <a:pt x="505" y="670"/>
                  <a:pt x="505" y="670"/>
                </a:cubicBezTo>
                <a:cubicBezTo>
                  <a:pt x="505" y="669"/>
                  <a:pt x="503" y="669"/>
                  <a:pt x="503" y="668"/>
                </a:cubicBezTo>
                <a:cubicBezTo>
                  <a:pt x="501" y="666"/>
                  <a:pt x="502" y="664"/>
                  <a:pt x="499" y="664"/>
                </a:cubicBezTo>
                <a:cubicBezTo>
                  <a:pt x="496" y="664"/>
                  <a:pt x="496" y="661"/>
                  <a:pt x="494" y="661"/>
                </a:cubicBezTo>
                <a:cubicBezTo>
                  <a:pt x="493" y="662"/>
                  <a:pt x="493" y="669"/>
                  <a:pt x="489" y="666"/>
                </a:cubicBezTo>
                <a:cubicBezTo>
                  <a:pt x="488" y="665"/>
                  <a:pt x="489" y="665"/>
                  <a:pt x="488" y="665"/>
                </a:cubicBezTo>
                <a:cubicBezTo>
                  <a:pt x="486" y="665"/>
                  <a:pt x="480" y="661"/>
                  <a:pt x="486" y="661"/>
                </a:cubicBezTo>
                <a:cubicBezTo>
                  <a:pt x="487" y="661"/>
                  <a:pt x="488" y="662"/>
                  <a:pt x="488" y="662"/>
                </a:cubicBezTo>
                <a:cubicBezTo>
                  <a:pt x="490" y="663"/>
                  <a:pt x="490" y="661"/>
                  <a:pt x="492" y="660"/>
                </a:cubicBezTo>
                <a:cubicBezTo>
                  <a:pt x="493" y="660"/>
                  <a:pt x="493" y="662"/>
                  <a:pt x="494" y="661"/>
                </a:cubicBezTo>
                <a:cubicBezTo>
                  <a:pt x="495" y="659"/>
                  <a:pt x="491" y="658"/>
                  <a:pt x="491" y="658"/>
                </a:cubicBezTo>
                <a:cubicBezTo>
                  <a:pt x="490" y="658"/>
                  <a:pt x="490" y="661"/>
                  <a:pt x="489" y="659"/>
                </a:cubicBezTo>
                <a:cubicBezTo>
                  <a:pt x="489" y="658"/>
                  <a:pt x="491" y="655"/>
                  <a:pt x="491" y="655"/>
                </a:cubicBezTo>
                <a:cubicBezTo>
                  <a:pt x="492" y="652"/>
                  <a:pt x="491" y="653"/>
                  <a:pt x="494" y="652"/>
                </a:cubicBezTo>
                <a:cubicBezTo>
                  <a:pt x="496" y="652"/>
                  <a:pt x="499" y="654"/>
                  <a:pt x="499" y="655"/>
                </a:cubicBezTo>
                <a:cubicBezTo>
                  <a:pt x="501" y="658"/>
                  <a:pt x="500" y="655"/>
                  <a:pt x="501" y="654"/>
                </a:cubicBezTo>
                <a:cubicBezTo>
                  <a:pt x="502" y="653"/>
                  <a:pt x="504" y="653"/>
                  <a:pt x="506" y="654"/>
                </a:cubicBezTo>
                <a:cubicBezTo>
                  <a:pt x="506" y="652"/>
                  <a:pt x="506" y="651"/>
                  <a:pt x="507" y="651"/>
                </a:cubicBezTo>
                <a:cubicBezTo>
                  <a:pt x="507" y="651"/>
                  <a:pt x="507" y="651"/>
                  <a:pt x="506" y="650"/>
                </a:cubicBezTo>
                <a:cubicBezTo>
                  <a:pt x="507" y="650"/>
                  <a:pt x="507" y="651"/>
                  <a:pt x="507" y="651"/>
                </a:cubicBezTo>
                <a:cubicBezTo>
                  <a:pt x="507" y="651"/>
                  <a:pt x="508" y="651"/>
                  <a:pt x="508" y="651"/>
                </a:cubicBezTo>
                <a:cubicBezTo>
                  <a:pt x="505" y="650"/>
                  <a:pt x="516" y="648"/>
                  <a:pt x="513" y="646"/>
                </a:cubicBezTo>
                <a:cubicBezTo>
                  <a:pt x="513" y="645"/>
                  <a:pt x="513" y="645"/>
                  <a:pt x="512" y="645"/>
                </a:cubicBezTo>
                <a:cubicBezTo>
                  <a:pt x="512" y="645"/>
                  <a:pt x="513" y="645"/>
                  <a:pt x="513" y="644"/>
                </a:cubicBezTo>
                <a:cubicBezTo>
                  <a:pt x="513" y="644"/>
                  <a:pt x="513" y="644"/>
                  <a:pt x="513" y="644"/>
                </a:cubicBezTo>
                <a:cubicBezTo>
                  <a:pt x="513" y="643"/>
                  <a:pt x="512" y="642"/>
                  <a:pt x="512" y="641"/>
                </a:cubicBezTo>
                <a:cubicBezTo>
                  <a:pt x="512" y="640"/>
                  <a:pt x="511" y="640"/>
                  <a:pt x="512" y="639"/>
                </a:cubicBezTo>
                <a:cubicBezTo>
                  <a:pt x="512" y="638"/>
                  <a:pt x="513" y="637"/>
                  <a:pt x="515" y="637"/>
                </a:cubicBezTo>
                <a:cubicBezTo>
                  <a:pt x="518" y="636"/>
                  <a:pt x="513" y="635"/>
                  <a:pt x="512" y="636"/>
                </a:cubicBezTo>
                <a:cubicBezTo>
                  <a:pt x="512" y="637"/>
                  <a:pt x="512" y="637"/>
                  <a:pt x="511" y="637"/>
                </a:cubicBezTo>
                <a:cubicBezTo>
                  <a:pt x="511" y="637"/>
                  <a:pt x="510" y="637"/>
                  <a:pt x="510" y="636"/>
                </a:cubicBezTo>
                <a:cubicBezTo>
                  <a:pt x="508" y="636"/>
                  <a:pt x="506" y="635"/>
                  <a:pt x="505" y="635"/>
                </a:cubicBezTo>
                <a:cubicBezTo>
                  <a:pt x="507" y="635"/>
                  <a:pt x="508" y="635"/>
                  <a:pt x="510" y="635"/>
                </a:cubicBezTo>
                <a:cubicBezTo>
                  <a:pt x="510" y="634"/>
                  <a:pt x="510" y="634"/>
                  <a:pt x="510" y="634"/>
                </a:cubicBezTo>
                <a:cubicBezTo>
                  <a:pt x="510" y="634"/>
                  <a:pt x="511" y="634"/>
                  <a:pt x="511" y="635"/>
                </a:cubicBezTo>
                <a:cubicBezTo>
                  <a:pt x="511" y="635"/>
                  <a:pt x="512" y="635"/>
                  <a:pt x="512" y="635"/>
                </a:cubicBezTo>
                <a:cubicBezTo>
                  <a:pt x="512" y="634"/>
                  <a:pt x="510" y="634"/>
                  <a:pt x="510" y="633"/>
                </a:cubicBezTo>
                <a:cubicBezTo>
                  <a:pt x="511" y="634"/>
                  <a:pt x="512" y="634"/>
                  <a:pt x="513" y="633"/>
                </a:cubicBezTo>
                <a:cubicBezTo>
                  <a:pt x="513" y="633"/>
                  <a:pt x="513" y="633"/>
                  <a:pt x="514" y="633"/>
                </a:cubicBezTo>
                <a:cubicBezTo>
                  <a:pt x="514" y="633"/>
                  <a:pt x="514" y="633"/>
                  <a:pt x="514" y="633"/>
                </a:cubicBezTo>
                <a:cubicBezTo>
                  <a:pt x="514" y="632"/>
                  <a:pt x="514" y="632"/>
                  <a:pt x="513" y="631"/>
                </a:cubicBezTo>
                <a:cubicBezTo>
                  <a:pt x="513" y="631"/>
                  <a:pt x="513" y="631"/>
                  <a:pt x="513" y="631"/>
                </a:cubicBezTo>
                <a:cubicBezTo>
                  <a:pt x="513" y="631"/>
                  <a:pt x="513" y="632"/>
                  <a:pt x="513" y="632"/>
                </a:cubicBezTo>
                <a:cubicBezTo>
                  <a:pt x="513" y="632"/>
                  <a:pt x="513" y="632"/>
                  <a:pt x="513" y="632"/>
                </a:cubicBezTo>
                <a:cubicBezTo>
                  <a:pt x="513" y="632"/>
                  <a:pt x="513" y="632"/>
                  <a:pt x="513" y="633"/>
                </a:cubicBezTo>
                <a:cubicBezTo>
                  <a:pt x="513" y="633"/>
                  <a:pt x="513" y="632"/>
                  <a:pt x="512" y="632"/>
                </a:cubicBezTo>
                <a:cubicBezTo>
                  <a:pt x="512" y="632"/>
                  <a:pt x="512" y="632"/>
                  <a:pt x="512" y="632"/>
                </a:cubicBezTo>
                <a:cubicBezTo>
                  <a:pt x="512" y="631"/>
                  <a:pt x="512" y="631"/>
                  <a:pt x="512" y="631"/>
                </a:cubicBezTo>
                <a:cubicBezTo>
                  <a:pt x="511" y="631"/>
                  <a:pt x="510" y="630"/>
                  <a:pt x="510" y="630"/>
                </a:cubicBezTo>
                <a:cubicBezTo>
                  <a:pt x="510" y="630"/>
                  <a:pt x="509" y="631"/>
                  <a:pt x="509" y="632"/>
                </a:cubicBezTo>
                <a:cubicBezTo>
                  <a:pt x="509" y="633"/>
                  <a:pt x="510" y="634"/>
                  <a:pt x="509" y="634"/>
                </a:cubicBezTo>
                <a:cubicBezTo>
                  <a:pt x="509" y="634"/>
                  <a:pt x="509" y="634"/>
                  <a:pt x="508" y="633"/>
                </a:cubicBezTo>
                <a:cubicBezTo>
                  <a:pt x="508" y="634"/>
                  <a:pt x="508" y="634"/>
                  <a:pt x="508" y="634"/>
                </a:cubicBezTo>
                <a:cubicBezTo>
                  <a:pt x="507" y="634"/>
                  <a:pt x="505" y="633"/>
                  <a:pt x="504" y="632"/>
                </a:cubicBezTo>
                <a:cubicBezTo>
                  <a:pt x="504" y="634"/>
                  <a:pt x="503" y="634"/>
                  <a:pt x="500" y="634"/>
                </a:cubicBezTo>
                <a:cubicBezTo>
                  <a:pt x="500" y="634"/>
                  <a:pt x="500" y="634"/>
                  <a:pt x="500" y="634"/>
                </a:cubicBezTo>
                <a:cubicBezTo>
                  <a:pt x="501" y="635"/>
                  <a:pt x="504" y="638"/>
                  <a:pt x="506" y="638"/>
                </a:cubicBezTo>
                <a:cubicBezTo>
                  <a:pt x="506" y="638"/>
                  <a:pt x="511" y="638"/>
                  <a:pt x="508" y="640"/>
                </a:cubicBezTo>
                <a:cubicBezTo>
                  <a:pt x="506" y="640"/>
                  <a:pt x="503" y="636"/>
                  <a:pt x="499" y="635"/>
                </a:cubicBezTo>
                <a:cubicBezTo>
                  <a:pt x="499" y="635"/>
                  <a:pt x="498" y="636"/>
                  <a:pt x="498" y="636"/>
                </a:cubicBezTo>
                <a:cubicBezTo>
                  <a:pt x="497" y="635"/>
                  <a:pt x="497" y="635"/>
                  <a:pt x="497" y="634"/>
                </a:cubicBezTo>
                <a:cubicBezTo>
                  <a:pt x="496" y="634"/>
                  <a:pt x="496" y="634"/>
                  <a:pt x="495" y="633"/>
                </a:cubicBezTo>
                <a:cubicBezTo>
                  <a:pt x="494" y="633"/>
                  <a:pt x="494" y="635"/>
                  <a:pt x="494" y="635"/>
                </a:cubicBezTo>
                <a:cubicBezTo>
                  <a:pt x="494" y="635"/>
                  <a:pt x="491" y="636"/>
                  <a:pt x="491" y="636"/>
                </a:cubicBezTo>
                <a:cubicBezTo>
                  <a:pt x="489" y="635"/>
                  <a:pt x="491" y="632"/>
                  <a:pt x="493" y="632"/>
                </a:cubicBezTo>
                <a:cubicBezTo>
                  <a:pt x="491" y="632"/>
                  <a:pt x="493" y="631"/>
                  <a:pt x="492" y="629"/>
                </a:cubicBezTo>
                <a:cubicBezTo>
                  <a:pt x="492" y="630"/>
                  <a:pt x="487" y="627"/>
                  <a:pt x="488" y="626"/>
                </a:cubicBezTo>
                <a:cubicBezTo>
                  <a:pt x="489" y="625"/>
                  <a:pt x="491" y="627"/>
                  <a:pt x="492" y="628"/>
                </a:cubicBezTo>
                <a:cubicBezTo>
                  <a:pt x="492" y="628"/>
                  <a:pt x="492" y="628"/>
                  <a:pt x="493" y="627"/>
                </a:cubicBezTo>
                <a:cubicBezTo>
                  <a:pt x="492" y="627"/>
                  <a:pt x="492" y="627"/>
                  <a:pt x="492" y="626"/>
                </a:cubicBezTo>
                <a:cubicBezTo>
                  <a:pt x="493" y="626"/>
                  <a:pt x="494" y="626"/>
                  <a:pt x="494" y="626"/>
                </a:cubicBezTo>
                <a:cubicBezTo>
                  <a:pt x="494" y="626"/>
                  <a:pt x="494" y="626"/>
                  <a:pt x="494" y="626"/>
                </a:cubicBezTo>
                <a:cubicBezTo>
                  <a:pt x="495" y="626"/>
                  <a:pt x="495" y="627"/>
                  <a:pt x="495" y="628"/>
                </a:cubicBezTo>
                <a:cubicBezTo>
                  <a:pt x="495" y="630"/>
                  <a:pt x="496" y="629"/>
                  <a:pt x="497" y="628"/>
                </a:cubicBezTo>
                <a:cubicBezTo>
                  <a:pt x="497" y="627"/>
                  <a:pt x="497" y="627"/>
                  <a:pt x="497" y="627"/>
                </a:cubicBezTo>
                <a:cubicBezTo>
                  <a:pt x="498" y="627"/>
                  <a:pt x="498" y="627"/>
                  <a:pt x="498" y="627"/>
                </a:cubicBezTo>
                <a:cubicBezTo>
                  <a:pt x="499" y="627"/>
                  <a:pt x="499" y="627"/>
                  <a:pt x="500" y="627"/>
                </a:cubicBezTo>
                <a:cubicBezTo>
                  <a:pt x="501" y="627"/>
                  <a:pt x="500" y="626"/>
                  <a:pt x="500" y="625"/>
                </a:cubicBezTo>
                <a:cubicBezTo>
                  <a:pt x="501" y="624"/>
                  <a:pt x="502" y="625"/>
                  <a:pt x="503" y="624"/>
                </a:cubicBezTo>
                <a:cubicBezTo>
                  <a:pt x="503" y="624"/>
                  <a:pt x="503" y="624"/>
                  <a:pt x="503" y="624"/>
                </a:cubicBezTo>
                <a:cubicBezTo>
                  <a:pt x="501" y="621"/>
                  <a:pt x="497" y="616"/>
                  <a:pt x="496" y="621"/>
                </a:cubicBezTo>
                <a:cubicBezTo>
                  <a:pt x="496" y="617"/>
                  <a:pt x="492" y="620"/>
                  <a:pt x="491" y="621"/>
                </a:cubicBezTo>
                <a:cubicBezTo>
                  <a:pt x="489" y="621"/>
                  <a:pt x="492" y="620"/>
                  <a:pt x="492" y="620"/>
                </a:cubicBezTo>
                <a:cubicBezTo>
                  <a:pt x="491" y="618"/>
                  <a:pt x="488" y="620"/>
                  <a:pt x="486" y="618"/>
                </a:cubicBezTo>
                <a:cubicBezTo>
                  <a:pt x="486" y="618"/>
                  <a:pt x="485" y="615"/>
                  <a:pt x="485" y="616"/>
                </a:cubicBezTo>
                <a:cubicBezTo>
                  <a:pt x="483" y="615"/>
                  <a:pt x="482" y="617"/>
                  <a:pt x="483" y="615"/>
                </a:cubicBezTo>
                <a:cubicBezTo>
                  <a:pt x="483" y="612"/>
                  <a:pt x="480" y="610"/>
                  <a:pt x="479" y="609"/>
                </a:cubicBezTo>
                <a:cubicBezTo>
                  <a:pt x="479" y="609"/>
                  <a:pt x="480" y="605"/>
                  <a:pt x="478" y="604"/>
                </a:cubicBezTo>
                <a:cubicBezTo>
                  <a:pt x="480" y="609"/>
                  <a:pt x="474" y="610"/>
                  <a:pt x="474" y="608"/>
                </a:cubicBezTo>
                <a:cubicBezTo>
                  <a:pt x="474" y="608"/>
                  <a:pt x="471" y="608"/>
                  <a:pt x="471" y="605"/>
                </a:cubicBezTo>
                <a:cubicBezTo>
                  <a:pt x="472" y="603"/>
                  <a:pt x="472" y="604"/>
                  <a:pt x="471" y="601"/>
                </a:cubicBezTo>
                <a:cubicBezTo>
                  <a:pt x="470" y="599"/>
                  <a:pt x="478" y="604"/>
                  <a:pt x="479" y="603"/>
                </a:cubicBezTo>
                <a:cubicBezTo>
                  <a:pt x="481" y="603"/>
                  <a:pt x="478" y="601"/>
                  <a:pt x="481" y="602"/>
                </a:cubicBezTo>
                <a:cubicBezTo>
                  <a:pt x="487" y="603"/>
                  <a:pt x="499" y="603"/>
                  <a:pt x="499" y="612"/>
                </a:cubicBezTo>
                <a:cubicBezTo>
                  <a:pt x="499" y="614"/>
                  <a:pt x="497" y="615"/>
                  <a:pt x="498" y="617"/>
                </a:cubicBezTo>
                <a:cubicBezTo>
                  <a:pt x="499" y="619"/>
                  <a:pt x="501" y="621"/>
                  <a:pt x="503" y="622"/>
                </a:cubicBezTo>
                <a:cubicBezTo>
                  <a:pt x="503" y="622"/>
                  <a:pt x="503" y="622"/>
                  <a:pt x="503" y="622"/>
                </a:cubicBezTo>
                <a:cubicBezTo>
                  <a:pt x="504" y="622"/>
                  <a:pt x="505" y="623"/>
                  <a:pt x="505" y="622"/>
                </a:cubicBezTo>
                <a:cubicBezTo>
                  <a:pt x="506" y="622"/>
                  <a:pt x="506" y="621"/>
                  <a:pt x="506" y="621"/>
                </a:cubicBezTo>
                <a:cubicBezTo>
                  <a:pt x="506" y="620"/>
                  <a:pt x="505" y="619"/>
                  <a:pt x="506" y="619"/>
                </a:cubicBezTo>
                <a:cubicBezTo>
                  <a:pt x="506" y="619"/>
                  <a:pt x="506" y="619"/>
                  <a:pt x="506" y="619"/>
                </a:cubicBezTo>
                <a:cubicBezTo>
                  <a:pt x="507" y="619"/>
                  <a:pt x="507" y="619"/>
                  <a:pt x="507" y="619"/>
                </a:cubicBezTo>
                <a:cubicBezTo>
                  <a:pt x="508" y="618"/>
                  <a:pt x="510" y="620"/>
                  <a:pt x="510" y="618"/>
                </a:cubicBezTo>
                <a:cubicBezTo>
                  <a:pt x="510" y="619"/>
                  <a:pt x="512" y="620"/>
                  <a:pt x="513" y="620"/>
                </a:cubicBezTo>
                <a:cubicBezTo>
                  <a:pt x="513" y="620"/>
                  <a:pt x="514" y="620"/>
                  <a:pt x="514" y="620"/>
                </a:cubicBezTo>
                <a:cubicBezTo>
                  <a:pt x="514" y="619"/>
                  <a:pt x="513" y="617"/>
                  <a:pt x="513" y="617"/>
                </a:cubicBezTo>
                <a:cubicBezTo>
                  <a:pt x="514" y="616"/>
                  <a:pt x="516" y="618"/>
                  <a:pt x="517" y="620"/>
                </a:cubicBezTo>
                <a:cubicBezTo>
                  <a:pt x="517" y="620"/>
                  <a:pt x="518" y="621"/>
                  <a:pt x="518" y="620"/>
                </a:cubicBezTo>
                <a:cubicBezTo>
                  <a:pt x="518" y="620"/>
                  <a:pt x="514" y="615"/>
                  <a:pt x="517" y="615"/>
                </a:cubicBezTo>
                <a:cubicBezTo>
                  <a:pt x="517" y="615"/>
                  <a:pt x="517" y="615"/>
                  <a:pt x="517" y="614"/>
                </a:cubicBezTo>
                <a:cubicBezTo>
                  <a:pt x="517" y="615"/>
                  <a:pt x="516" y="612"/>
                  <a:pt x="516" y="612"/>
                </a:cubicBezTo>
                <a:cubicBezTo>
                  <a:pt x="518" y="610"/>
                  <a:pt x="520" y="614"/>
                  <a:pt x="522" y="615"/>
                </a:cubicBezTo>
                <a:cubicBezTo>
                  <a:pt x="523" y="614"/>
                  <a:pt x="524" y="613"/>
                  <a:pt x="525" y="614"/>
                </a:cubicBezTo>
                <a:cubicBezTo>
                  <a:pt x="525" y="614"/>
                  <a:pt x="526" y="615"/>
                  <a:pt x="526" y="615"/>
                </a:cubicBezTo>
                <a:cubicBezTo>
                  <a:pt x="526" y="615"/>
                  <a:pt x="526" y="615"/>
                  <a:pt x="527" y="616"/>
                </a:cubicBezTo>
                <a:cubicBezTo>
                  <a:pt x="527" y="616"/>
                  <a:pt x="527" y="617"/>
                  <a:pt x="527" y="618"/>
                </a:cubicBezTo>
                <a:cubicBezTo>
                  <a:pt x="526" y="618"/>
                  <a:pt x="526" y="618"/>
                  <a:pt x="525" y="618"/>
                </a:cubicBezTo>
                <a:cubicBezTo>
                  <a:pt x="525" y="618"/>
                  <a:pt x="525" y="618"/>
                  <a:pt x="525" y="618"/>
                </a:cubicBezTo>
                <a:cubicBezTo>
                  <a:pt x="527" y="619"/>
                  <a:pt x="529" y="619"/>
                  <a:pt x="530" y="621"/>
                </a:cubicBezTo>
                <a:cubicBezTo>
                  <a:pt x="531" y="622"/>
                  <a:pt x="531" y="622"/>
                  <a:pt x="531" y="622"/>
                </a:cubicBezTo>
                <a:cubicBezTo>
                  <a:pt x="532" y="622"/>
                  <a:pt x="532" y="622"/>
                  <a:pt x="532" y="621"/>
                </a:cubicBezTo>
                <a:cubicBezTo>
                  <a:pt x="531" y="620"/>
                  <a:pt x="531" y="619"/>
                  <a:pt x="530" y="617"/>
                </a:cubicBezTo>
                <a:cubicBezTo>
                  <a:pt x="531" y="618"/>
                  <a:pt x="532" y="620"/>
                  <a:pt x="533" y="621"/>
                </a:cubicBezTo>
                <a:cubicBezTo>
                  <a:pt x="533" y="621"/>
                  <a:pt x="533" y="621"/>
                  <a:pt x="533" y="621"/>
                </a:cubicBezTo>
                <a:cubicBezTo>
                  <a:pt x="533" y="621"/>
                  <a:pt x="533" y="620"/>
                  <a:pt x="533" y="620"/>
                </a:cubicBezTo>
                <a:cubicBezTo>
                  <a:pt x="534" y="620"/>
                  <a:pt x="534" y="622"/>
                  <a:pt x="534" y="622"/>
                </a:cubicBezTo>
                <a:cubicBezTo>
                  <a:pt x="535" y="623"/>
                  <a:pt x="536" y="627"/>
                  <a:pt x="537" y="628"/>
                </a:cubicBezTo>
                <a:cubicBezTo>
                  <a:pt x="537" y="628"/>
                  <a:pt x="537" y="627"/>
                  <a:pt x="537" y="627"/>
                </a:cubicBezTo>
                <a:cubicBezTo>
                  <a:pt x="538" y="626"/>
                  <a:pt x="539" y="627"/>
                  <a:pt x="540" y="627"/>
                </a:cubicBezTo>
                <a:cubicBezTo>
                  <a:pt x="540" y="627"/>
                  <a:pt x="540" y="627"/>
                  <a:pt x="541" y="627"/>
                </a:cubicBezTo>
                <a:cubicBezTo>
                  <a:pt x="542" y="628"/>
                  <a:pt x="543" y="630"/>
                  <a:pt x="543" y="631"/>
                </a:cubicBezTo>
                <a:cubicBezTo>
                  <a:pt x="543" y="631"/>
                  <a:pt x="542" y="631"/>
                  <a:pt x="542" y="631"/>
                </a:cubicBezTo>
                <a:cubicBezTo>
                  <a:pt x="542" y="631"/>
                  <a:pt x="542" y="631"/>
                  <a:pt x="542" y="631"/>
                </a:cubicBezTo>
                <a:cubicBezTo>
                  <a:pt x="542" y="631"/>
                  <a:pt x="542" y="632"/>
                  <a:pt x="542" y="632"/>
                </a:cubicBezTo>
                <a:cubicBezTo>
                  <a:pt x="540" y="633"/>
                  <a:pt x="541" y="631"/>
                  <a:pt x="541" y="630"/>
                </a:cubicBezTo>
                <a:cubicBezTo>
                  <a:pt x="541" y="630"/>
                  <a:pt x="540" y="630"/>
                  <a:pt x="540" y="630"/>
                </a:cubicBezTo>
                <a:cubicBezTo>
                  <a:pt x="540" y="631"/>
                  <a:pt x="540" y="631"/>
                  <a:pt x="540" y="632"/>
                </a:cubicBezTo>
                <a:cubicBezTo>
                  <a:pt x="541" y="633"/>
                  <a:pt x="540" y="633"/>
                  <a:pt x="539" y="632"/>
                </a:cubicBezTo>
                <a:cubicBezTo>
                  <a:pt x="538" y="635"/>
                  <a:pt x="537" y="640"/>
                  <a:pt x="537" y="640"/>
                </a:cubicBezTo>
                <a:cubicBezTo>
                  <a:pt x="537" y="641"/>
                  <a:pt x="544" y="646"/>
                  <a:pt x="539" y="644"/>
                </a:cubicBezTo>
                <a:cubicBezTo>
                  <a:pt x="539" y="644"/>
                  <a:pt x="539" y="645"/>
                  <a:pt x="539" y="645"/>
                </a:cubicBezTo>
                <a:cubicBezTo>
                  <a:pt x="539" y="645"/>
                  <a:pt x="539" y="645"/>
                  <a:pt x="539" y="645"/>
                </a:cubicBezTo>
                <a:cubicBezTo>
                  <a:pt x="540" y="645"/>
                  <a:pt x="540" y="646"/>
                  <a:pt x="539" y="646"/>
                </a:cubicBezTo>
                <a:cubicBezTo>
                  <a:pt x="539" y="646"/>
                  <a:pt x="540" y="646"/>
                  <a:pt x="540" y="646"/>
                </a:cubicBezTo>
                <a:cubicBezTo>
                  <a:pt x="540" y="647"/>
                  <a:pt x="539" y="648"/>
                  <a:pt x="538" y="647"/>
                </a:cubicBezTo>
                <a:cubicBezTo>
                  <a:pt x="537" y="648"/>
                  <a:pt x="537" y="648"/>
                  <a:pt x="536" y="649"/>
                </a:cubicBezTo>
                <a:cubicBezTo>
                  <a:pt x="536" y="648"/>
                  <a:pt x="535" y="651"/>
                  <a:pt x="535" y="650"/>
                </a:cubicBezTo>
                <a:cubicBezTo>
                  <a:pt x="534" y="651"/>
                  <a:pt x="532" y="649"/>
                  <a:pt x="532" y="649"/>
                </a:cubicBezTo>
                <a:cubicBezTo>
                  <a:pt x="532" y="648"/>
                  <a:pt x="531" y="648"/>
                  <a:pt x="530" y="648"/>
                </a:cubicBezTo>
                <a:cubicBezTo>
                  <a:pt x="532" y="649"/>
                  <a:pt x="532" y="649"/>
                  <a:pt x="531" y="651"/>
                </a:cubicBezTo>
                <a:cubicBezTo>
                  <a:pt x="531" y="651"/>
                  <a:pt x="531" y="651"/>
                  <a:pt x="530" y="651"/>
                </a:cubicBezTo>
                <a:cubicBezTo>
                  <a:pt x="530" y="653"/>
                  <a:pt x="529" y="653"/>
                  <a:pt x="527" y="652"/>
                </a:cubicBezTo>
                <a:cubicBezTo>
                  <a:pt x="527" y="652"/>
                  <a:pt x="527" y="651"/>
                  <a:pt x="527" y="650"/>
                </a:cubicBezTo>
                <a:cubicBezTo>
                  <a:pt x="527" y="650"/>
                  <a:pt x="525" y="649"/>
                  <a:pt x="525" y="648"/>
                </a:cubicBezTo>
                <a:cubicBezTo>
                  <a:pt x="526" y="648"/>
                  <a:pt x="527" y="647"/>
                  <a:pt x="527" y="647"/>
                </a:cubicBezTo>
                <a:cubicBezTo>
                  <a:pt x="527" y="645"/>
                  <a:pt x="524" y="647"/>
                  <a:pt x="525" y="644"/>
                </a:cubicBezTo>
                <a:cubicBezTo>
                  <a:pt x="524" y="646"/>
                  <a:pt x="521" y="646"/>
                  <a:pt x="520" y="649"/>
                </a:cubicBezTo>
                <a:cubicBezTo>
                  <a:pt x="520" y="649"/>
                  <a:pt x="520" y="654"/>
                  <a:pt x="521" y="655"/>
                </a:cubicBezTo>
                <a:cubicBezTo>
                  <a:pt x="522" y="655"/>
                  <a:pt x="522" y="654"/>
                  <a:pt x="523" y="655"/>
                </a:cubicBezTo>
                <a:cubicBezTo>
                  <a:pt x="523" y="655"/>
                  <a:pt x="523" y="655"/>
                  <a:pt x="523" y="655"/>
                </a:cubicBezTo>
                <a:cubicBezTo>
                  <a:pt x="523" y="655"/>
                  <a:pt x="523" y="655"/>
                  <a:pt x="523" y="655"/>
                </a:cubicBezTo>
                <a:cubicBezTo>
                  <a:pt x="523" y="655"/>
                  <a:pt x="523" y="655"/>
                  <a:pt x="523" y="655"/>
                </a:cubicBezTo>
                <a:cubicBezTo>
                  <a:pt x="523" y="655"/>
                  <a:pt x="523" y="655"/>
                  <a:pt x="523" y="655"/>
                </a:cubicBezTo>
                <a:cubicBezTo>
                  <a:pt x="523" y="656"/>
                  <a:pt x="521" y="658"/>
                  <a:pt x="522" y="660"/>
                </a:cubicBezTo>
                <a:cubicBezTo>
                  <a:pt x="522" y="659"/>
                  <a:pt x="523" y="661"/>
                  <a:pt x="523" y="661"/>
                </a:cubicBezTo>
                <a:cubicBezTo>
                  <a:pt x="524" y="661"/>
                  <a:pt x="524" y="660"/>
                  <a:pt x="523" y="660"/>
                </a:cubicBezTo>
                <a:cubicBezTo>
                  <a:pt x="523" y="659"/>
                  <a:pt x="522" y="659"/>
                  <a:pt x="522" y="658"/>
                </a:cubicBezTo>
                <a:cubicBezTo>
                  <a:pt x="523" y="658"/>
                  <a:pt x="523" y="658"/>
                  <a:pt x="524" y="659"/>
                </a:cubicBezTo>
                <a:cubicBezTo>
                  <a:pt x="525" y="658"/>
                  <a:pt x="526" y="660"/>
                  <a:pt x="527" y="660"/>
                </a:cubicBezTo>
                <a:cubicBezTo>
                  <a:pt x="529" y="660"/>
                  <a:pt x="528" y="659"/>
                  <a:pt x="530" y="659"/>
                </a:cubicBezTo>
                <a:cubicBezTo>
                  <a:pt x="528" y="661"/>
                  <a:pt x="529" y="660"/>
                  <a:pt x="531" y="661"/>
                </a:cubicBezTo>
                <a:cubicBezTo>
                  <a:pt x="531" y="660"/>
                  <a:pt x="531" y="660"/>
                  <a:pt x="531" y="661"/>
                </a:cubicBezTo>
                <a:cubicBezTo>
                  <a:pt x="531" y="661"/>
                  <a:pt x="532" y="661"/>
                  <a:pt x="532" y="661"/>
                </a:cubicBezTo>
                <a:cubicBezTo>
                  <a:pt x="532" y="661"/>
                  <a:pt x="532" y="661"/>
                  <a:pt x="532" y="661"/>
                </a:cubicBezTo>
                <a:cubicBezTo>
                  <a:pt x="532" y="661"/>
                  <a:pt x="532" y="661"/>
                  <a:pt x="532" y="661"/>
                </a:cubicBezTo>
                <a:cubicBezTo>
                  <a:pt x="534" y="662"/>
                  <a:pt x="535" y="664"/>
                  <a:pt x="536" y="664"/>
                </a:cubicBezTo>
                <a:cubicBezTo>
                  <a:pt x="537" y="664"/>
                  <a:pt x="537" y="664"/>
                  <a:pt x="537" y="664"/>
                </a:cubicBezTo>
                <a:cubicBezTo>
                  <a:pt x="537" y="664"/>
                  <a:pt x="537" y="664"/>
                  <a:pt x="538" y="665"/>
                </a:cubicBezTo>
                <a:cubicBezTo>
                  <a:pt x="538" y="665"/>
                  <a:pt x="538" y="665"/>
                  <a:pt x="539" y="666"/>
                </a:cubicBezTo>
                <a:cubicBezTo>
                  <a:pt x="538" y="665"/>
                  <a:pt x="538" y="663"/>
                  <a:pt x="539" y="662"/>
                </a:cubicBezTo>
                <a:cubicBezTo>
                  <a:pt x="541" y="661"/>
                  <a:pt x="542" y="663"/>
                  <a:pt x="544" y="663"/>
                </a:cubicBezTo>
                <a:cubicBezTo>
                  <a:pt x="544" y="663"/>
                  <a:pt x="545" y="661"/>
                  <a:pt x="546" y="661"/>
                </a:cubicBezTo>
                <a:cubicBezTo>
                  <a:pt x="546" y="660"/>
                  <a:pt x="545" y="658"/>
                  <a:pt x="545" y="656"/>
                </a:cubicBezTo>
                <a:cubicBezTo>
                  <a:pt x="546" y="656"/>
                  <a:pt x="546" y="659"/>
                  <a:pt x="547" y="659"/>
                </a:cubicBezTo>
                <a:cubicBezTo>
                  <a:pt x="547" y="659"/>
                  <a:pt x="547" y="658"/>
                  <a:pt x="547" y="658"/>
                </a:cubicBezTo>
                <a:cubicBezTo>
                  <a:pt x="547" y="658"/>
                  <a:pt x="547" y="658"/>
                  <a:pt x="547" y="658"/>
                </a:cubicBezTo>
                <a:cubicBezTo>
                  <a:pt x="547" y="658"/>
                  <a:pt x="546" y="657"/>
                  <a:pt x="546" y="656"/>
                </a:cubicBezTo>
                <a:cubicBezTo>
                  <a:pt x="547" y="655"/>
                  <a:pt x="548" y="655"/>
                  <a:pt x="548" y="656"/>
                </a:cubicBezTo>
                <a:cubicBezTo>
                  <a:pt x="549" y="655"/>
                  <a:pt x="550" y="655"/>
                  <a:pt x="551" y="656"/>
                </a:cubicBezTo>
                <a:cubicBezTo>
                  <a:pt x="552" y="656"/>
                  <a:pt x="552" y="656"/>
                  <a:pt x="552" y="657"/>
                </a:cubicBezTo>
                <a:cubicBezTo>
                  <a:pt x="552" y="658"/>
                  <a:pt x="552" y="659"/>
                  <a:pt x="552" y="660"/>
                </a:cubicBezTo>
                <a:cubicBezTo>
                  <a:pt x="552" y="660"/>
                  <a:pt x="552" y="661"/>
                  <a:pt x="552" y="661"/>
                </a:cubicBezTo>
                <a:cubicBezTo>
                  <a:pt x="556" y="659"/>
                  <a:pt x="556" y="659"/>
                  <a:pt x="556" y="659"/>
                </a:cubicBezTo>
                <a:cubicBezTo>
                  <a:pt x="556" y="659"/>
                  <a:pt x="556" y="659"/>
                  <a:pt x="557" y="659"/>
                </a:cubicBezTo>
                <a:cubicBezTo>
                  <a:pt x="559" y="657"/>
                  <a:pt x="559" y="657"/>
                  <a:pt x="559" y="657"/>
                </a:cubicBezTo>
                <a:cubicBezTo>
                  <a:pt x="559" y="657"/>
                  <a:pt x="559" y="656"/>
                  <a:pt x="558" y="656"/>
                </a:cubicBezTo>
                <a:cubicBezTo>
                  <a:pt x="558" y="656"/>
                  <a:pt x="557" y="656"/>
                  <a:pt x="556" y="655"/>
                </a:cubicBezTo>
                <a:cubicBezTo>
                  <a:pt x="556" y="655"/>
                  <a:pt x="556" y="655"/>
                  <a:pt x="555" y="656"/>
                </a:cubicBezTo>
                <a:cubicBezTo>
                  <a:pt x="556" y="656"/>
                  <a:pt x="556" y="655"/>
                  <a:pt x="556" y="655"/>
                </a:cubicBezTo>
                <a:cubicBezTo>
                  <a:pt x="556" y="655"/>
                  <a:pt x="555" y="655"/>
                  <a:pt x="555" y="654"/>
                </a:cubicBezTo>
                <a:cubicBezTo>
                  <a:pt x="555" y="654"/>
                  <a:pt x="557" y="653"/>
                  <a:pt x="557" y="653"/>
                </a:cubicBezTo>
                <a:cubicBezTo>
                  <a:pt x="557" y="652"/>
                  <a:pt x="556" y="651"/>
                  <a:pt x="556" y="650"/>
                </a:cubicBezTo>
                <a:cubicBezTo>
                  <a:pt x="555" y="651"/>
                  <a:pt x="554" y="652"/>
                  <a:pt x="553" y="652"/>
                </a:cubicBezTo>
                <a:cubicBezTo>
                  <a:pt x="553" y="652"/>
                  <a:pt x="553" y="653"/>
                  <a:pt x="553" y="653"/>
                </a:cubicBezTo>
                <a:cubicBezTo>
                  <a:pt x="552" y="653"/>
                  <a:pt x="552" y="652"/>
                  <a:pt x="552" y="652"/>
                </a:cubicBezTo>
                <a:cubicBezTo>
                  <a:pt x="552" y="652"/>
                  <a:pt x="551" y="652"/>
                  <a:pt x="551" y="652"/>
                </a:cubicBezTo>
                <a:cubicBezTo>
                  <a:pt x="551" y="652"/>
                  <a:pt x="551" y="652"/>
                  <a:pt x="551" y="652"/>
                </a:cubicBezTo>
                <a:cubicBezTo>
                  <a:pt x="551" y="653"/>
                  <a:pt x="550" y="653"/>
                  <a:pt x="550" y="653"/>
                </a:cubicBezTo>
                <a:cubicBezTo>
                  <a:pt x="550" y="653"/>
                  <a:pt x="550" y="652"/>
                  <a:pt x="550" y="652"/>
                </a:cubicBezTo>
                <a:cubicBezTo>
                  <a:pt x="548" y="652"/>
                  <a:pt x="546" y="651"/>
                  <a:pt x="545" y="649"/>
                </a:cubicBezTo>
                <a:cubicBezTo>
                  <a:pt x="544" y="648"/>
                  <a:pt x="544" y="647"/>
                  <a:pt x="544" y="646"/>
                </a:cubicBezTo>
                <a:cubicBezTo>
                  <a:pt x="543" y="646"/>
                  <a:pt x="541" y="644"/>
                  <a:pt x="542" y="643"/>
                </a:cubicBezTo>
                <a:cubicBezTo>
                  <a:pt x="543" y="643"/>
                  <a:pt x="544" y="643"/>
                  <a:pt x="544" y="644"/>
                </a:cubicBezTo>
                <a:cubicBezTo>
                  <a:pt x="544" y="644"/>
                  <a:pt x="544" y="644"/>
                  <a:pt x="544" y="643"/>
                </a:cubicBezTo>
                <a:cubicBezTo>
                  <a:pt x="544" y="643"/>
                  <a:pt x="544" y="643"/>
                  <a:pt x="544" y="643"/>
                </a:cubicBezTo>
                <a:cubicBezTo>
                  <a:pt x="545" y="641"/>
                  <a:pt x="546" y="640"/>
                  <a:pt x="548" y="638"/>
                </a:cubicBezTo>
                <a:cubicBezTo>
                  <a:pt x="548" y="638"/>
                  <a:pt x="548" y="638"/>
                  <a:pt x="548" y="638"/>
                </a:cubicBezTo>
                <a:cubicBezTo>
                  <a:pt x="548" y="638"/>
                  <a:pt x="548" y="638"/>
                  <a:pt x="548" y="638"/>
                </a:cubicBezTo>
                <a:cubicBezTo>
                  <a:pt x="549" y="637"/>
                  <a:pt x="549" y="637"/>
                  <a:pt x="549" y="638"/>
                </a:cubicBezTo>
                <a:cubicBezTo>
                  <a:pt x="551" y="637"/>
                  <a:pt x="554" y="636"/>
                  <a:pt x="556" y="638"/>
                </a:cubicBezTo>
                <a:cubicBezTo>
                  <a:pt x="556" y="638"/>
                  <a:pt x="558" y="640"/>
                  <a:pt x="558" y="640"/>
                </a:cubicBezTo>
                <a:cubicBezTo>
                  <a:pt x="558" y="640"/>
                  <a:pt x="557" y="642"/>
                  <a:pt x="557" y="642"/>
                </a:cubicBezTo>
                <a:cubicBezTo>
                  <a:pt x="557" y="642"/>
                  <a:pt x="557" y="642"/>
                  <a:pt x="557" y="642"/>
                </a:cubicBezTo>
                <a:cubicBezTo>
                  <a:pt x="558" y="642"/>
                  <a:pt x="558" y="643"/>
                  <a:pt x="559" y="644"/>
                </a:cubicBezTo>
                <a:cubicBezTo>
                  <a:pt x="559" y="643"/>
                  <a:pt x="559" y="643"/>
                  <a:pt x="559" y="643"/>
                </a:cubicBezTo>
                <a:cubicBezTo>
                  <a:pt x="560" y="642"/>
                  <a:pt x="561" y="644"/>
                  <a:pt x="560" y="644"/>
                </a:cubicBezTo>
                <a:cubicBezTo>
                  <a:pt x="559" y="644"/>
                  <a:pt x="559" y="644"/>
                  <a:pt x="559" y="644"/>
                </a:cubicBezTo>
                <a:cubicBezTo>
                  <a:pt x="560" y="645"/>
                  <a:pt x="561" y="646"/>
                  <a:pt x="562" y="645"/>
                </a:cubicBezTo>
                <a:cubicBezTo>
                  <a:pt x="563" y="645"/>
                  <a:pt x="561" y="642"/>
                  <a:pt x="564" y="642"/>
                </a:cubicBezTo>
                <a:cubicBezTo>
                  <a:pt x="562" y="645"/>
                  <a:pt x="564" y="643"/>
                  <a:pt x="567" y="645"/>
                </a:cubicBezTo>
                <a:cubicBezTo>
                  <a:pt x="570" y="646"/>
                  <a:pt x="569" y="646"/>
                  <a:pt x="567" y="643"/>
                </a:cubicBezTo>
                <a:cubicBezTo>
                  <a:pt x="566" y="641"/>
                  <a:pt x="568" y="642"/>
                  <a:pt x="566" y="640"/>
                </a:cubicBezTo>
                <a:cubicBezTo>
                  <a:pt x="566" y="639"/>
                  <a:pt x="564" y="638"/>
                  <a:pt x="562" y="638"/>
                </a:cubicBezTo>
                <a:cubicBezTo>
                  <a:pt x="562" y="638"/>
                  <a:pt x="562" y="638"/>
                  <a:pt x="562" y="638"/>
                </a:cubicBezTo>
                <a:cubicBezTo>
                  <a:pt x="561" y="638"/>
                  <a:pt x="560" y="638"/>
                  <a:pt x="560" y="638"/>
                </a:cubicBezTo>
                <a:cubicBezTo>
                  <a:pt x="562" y="637"/>
                  <a:pt x="558" y="640"/>
                  <a:pt x="558" y="639"/>
                </a:cubicBezTo>
                <a:cubicBezTo>
                  <a:pt x="558" y="638"/>
                  <a:pt x="558" y="638"/>
                  <a:pt x="558" y="637"/>
                </a:cubicBezTo>
                <a:cubicBezTo>
                  <a:pt x="557" y="637"/>
                  <a:pt x="554" y="634"/>
                  <a:pt x="554" y="634"/>
                </a:cubicBezTo>
                <a:cubicBezTo>
                  <a:pt x="551" y="632"/>
                  <a:pt x="551" y="631"/>
                  <a:pt x="554" y="633"/>
                </a:cubicBezTo>
                <a:cubicBezTo>
                  <a:pt x="555" y="634"/>
                  <a:pt x="557" y="635"/>
                  <a:pt x="558" y="636"/>
                </a:cubicBezTo>
                <a:cubicBezTo>
                  <a:pt x="558" y="634"/>
                  <a:pt x="556" y="635"/>
                  <a:pt x="555" y="634"/>
                </a:cubicBezTo>
                <a:cubicBezTo>
                  <a:pt x="555" y="633"/>
                  <a:pt x="554" y="632"/>
                  <a:pt x="554" y="630"/>
                </a:cubicBezTo>
                <a:cubicBezTo>
                  <a:pt x="554" y="630"/>
                  <a:pt x="553" y="629"/>
                  <a:pt x="553" y="629"/>
                </a:cubicBezTo>
                <a:cubicBezTo>
                  <a:pt x="553" y="629"/>
                  <a:pt x="553" y="629"/>
                  <a:pt x="553" y="628"/>
                </a:cubicBezTo>
                <a:cubicBezTo>
                  <a:pt x="553" y="628"/>
                  <a:pt x="553" y="628"/>
                  <a:pt x="553" y="628"/>
                </a:cubicBezTo>
                <a:cubicBezTo>
                  <a:pt x="551" y="629"/>
                  <a:pt x="552" y="625"/>
                  <a:pt x="553" y="626"/>
                </a:cubicBezTo>
                <a:cubicBezTo>
                  <a:pt x="553" y="626"/>
                  <a:pt x="553" y="625"/>
                  <a:pt x="553" y="625"/>
                </a:cubicBezTo>
                <a:cubicBezTo>
                  <a:pt x="554" y="625"/>
                  <a:pt x="554" y="625"/>
                  <a:pt x="554" y="625"/>
                </a:cubicBezTo>
                <a:cubicBezTo>
                  <a:pt x="554" y="625"/>
                  <a:pt x="554" y="625"/>
                  <a:pt x="554" y="625"/>
                </a:cubicBezTo>
                <a:cubicBezTo>
                  <a:pt x="554" y="625"/>
                  <a:pt x="557" y="625"/>
                  <a:pt x="559" y="624"/>
                </a:cubicBezTo>
                <a:cubicBezTo>
                  <a:pt x="558" y="624"/>
                  <a:pt x="559" y="623"/>
                  <a:pt x="559" y="623"/>
                </a:cubicBezTo>
                <a:cubicBezTo>
                  <a:pt x="559" y="623"/>
                  <a:pt x="560" y="623"/>
                  <a:pt x="560" y="623"/>
                </a:cubicBezTo>
                <a:cubicBezTo>
                  <a:pt x="560" y="623"/>
                  <a:pt x="560" y="622"/>
                  <a:pt x="559" y="621"/>
                </a:cubicBezTo>
                <a:cubicBezTo>
                  <a:pt x="559" y="621"/>
                  <a:pt x="559" y="621"/>
                  <a:pt x="558" y="621"/>
                </a:cubicBezTo>
                <a:cubicBezTo>
                  <a:pt x="559" y="620"/>
                  <a:pt x="561" y="613"/>
                  <a:pt x="557" y="616"/>
                </a:cubicBezTo>
                <a:cubicBezTo>
                  <a:pt x="557" y="616"/>
                  <a:pt x="558" y="617"/>
                  <a:pt x="558" y="617"/>
                </a:cubicBezTo>
                <a:cubicBezTo>
                  <a:pt x="558" y="617"/>
                  <a:pt x="557" y="617"/>
                  <a:pt x="557" y="617"/>
                </a:cubicBezTo>
                <a:cubicBezTo>
                  <a:pt x="556" y="618"/>
                  <a:pt x="558" y="620"/>
                  <a:pt x="557" y="621"/>
                </a:cubicBezTo>
                <a:cubicBezTo>
                  <a:pt x="557" y="619"/>
                  <a:pt x="553" y="620"/>
                  <a:pt x="553" y="618"/>
                </a:cubicBezTo>
                <a:cubicBezTo>
                  <a:pt x="553" y="616"/>
                  <a:pt x="557" y="615"/>
                  <a:pt x="558" y="613"/>
                </a:cubicBezTo>
                <a:cubicBezTo>
                  <a:pt x="559" y="611"/>
                  <a:pt x="557" y="609"/>
                  <a:pt x="555" y="607"/>
                </a:cubicBezTo>
                <a:cubicBezTo>
                  <a:pt x="555" y="608"/>
                  <a:pt x="555" y="610"/>
                  <a:pt x="554" y="611"/>
                </a:cubicBezTo>
                <a:cubicBezTo>
                  <a:pt x="554" y="612"/>
                  <a:pt x="555" y="613"/>
                  <a:pt x="552" y="614"/>
                </a:cubicBezTo>
                <a:cubicBezTo>
                  <a:pt x="550" y="614"/>
                  <a:pt x="546" y="617"/>
                  <a:pt x="545" y="614"/>
                </a:cubicBezTo>
                <a:cubicBezTo>
                  <a:pt x="543" y="610"/>
                  <a:pt x="541" y="602"/>
                  <a:pt x="536" y="600"/>
                </a:cubicBezTo>
                <a:cubicBezTo>
                  <a:pt x="539" y="606"/>
                  <a:pt x="533" y="604"/>
                  <a:pt x="534" y="599"/>
                </a:cubicBezTo>
                <a:cubicBezTo>
                  <a:pt x="535" y="601"/>
                  <a:pt x="535" y="598"/>
                  <a:pt x="536" y="597"/>
                </a:cubicBezTo>
                <a:cubicBezTo>
                  <a:pt x="537" y="597"/>
                  <a:pt x="537" y="598"/>
                  <a:pt x="537" y="598"/>
                </a:cubicBezTo>
                <a:cubicBezTo>
                  <a:pt x="537" y="598"/>
                  <a:pt x="537" y="598"/>
                  <a:pt x="537" y="598"/>
                </a:cubicBezTo>
                <a:cubicBezTo>
                  <a:pt x="539" y="596"/>
                  <a:pt x="541" y="601"/>
                  <a:pt x="538" y="599"/>
                </a:cubicBezTo>
                <a:cubicBezTo>
                  <a:pt x="538" y="599"/>
                  <a:pt x="538" y="599"/>
                  <a:pt x="538" y="599"/>
                </a:cubicBezTo>
                <a:cubicBezTo>
                  <a:pt x="539" y="600"/>
                  <a:pt x="539" y="600"/>
                  <a:pt x="540" y="601"/>
                </a:cubicBezTo>
                <a:cubicBezTo>
                  <a:pt x="542" y="603"/>
                  <a:pt x="546" y="604"/>
                  <a:pt x="549" y="604"/>
                </a:cubicBezTo>
                <a:cubicBezTo>
                  <a:pt x="550" y="603"/>
                  <a:pt x="550" y="603"/>
                  <a:pt x="551" y="603"/>
                </a:cubicBezTo>
                <a:cubicBezTo>
                  <a:pt x="551" y="603"/>
                  <a:pt x="552" y="603"/>
                  <a:pt x="552" y="603"/>
                </a:cubicBezTo>
                <a:cubicBezTo>
                  <a:pt x="553" y="602"/>
                  <a:pt x="553" y="601"/>
                  <a:pt x="550" y="598"/>
                </a:cubicBezTo>
                <a:cubicBezTo>
                  <a:pt x="557" y="600"/>
                  <a:pt x="550" y="591"/>
                  <a:pt x="548" y="592"/>
                </a:cubicBezTo>
                <a:cubicBezTo>
                  <a:pt x="548" y="592"/>
                  <a:pt x="547" y="594"/>
                  <a:pt x="546" y="594"/>
                </a:cubicBezTo>
                <a:cubicBezTo>
                  <a:pt x="545" y="594"/>
                  <a:pt x="543" y="592"/>
                  <a:pt x="542" y="591"/>
                </a:cubicBezTo>
                <a:cubicBezTo>
                  <a:pt x="541" y="590"/>
                  <a:pt x="536" y="584"/>
                  <a:pt x="540" y="587"/>
                </a:cubicBezTo>
                <a:cubicBezTo>
                  <a:pt x="542" y="588"/>
                  <a:pt x="543" y="589"/>
                  <a:pt x="545" y="589"/>
                </a:cubicBezTo>
                <a:cubicBezTo>
                  <a:pt x="545" y="589"/>
                  <a:pt x="544" y="588"/>
                  <a:pt x="545" y="589"/>
                </a:cubicBezTo>
                <a:cubicBezTo>
                  <a:pt x="545" y="589"/>
                  <a:pt x="545" y="589"/>
                  <a:pt x="545" y="589"/>
                </a:cubicBezTo>
                <a:cubicBezTo>
                  <a:pt x="546" y="590"/>
                  <a:pt x="547" y="590"/>
                  <a:pt x="549" y="591"/>
                </a:cubicBezTo>
                <a:cubicBezTo>
                  <a:pt x="551" y="592"/>
                  <a:pt x="552" y="594"/>
                  <a:pt x="553" y="594"/>
                </a:cubicBezTo>
                <a:cubicBezTo>
                  <a:pt x="553" y="594"/>
                  <a:pt x="553" y="594"/>
                  <a:pt x="554" y="593"/>
                </a:cubicBezTo>
                <a:cubicBezTo>
                  <a:pt x="554" y="593"/>
                  <a:pt x="555" y="593"/>
                  <a:pt x="555" y="593"/>
                </a:cubicBezTo>
                <a:cubicBezTo>
                  <a:pt x="555" y="594"/>
                  <a:pt x="555" y="594"/>
                  <a:pt x="556" y="594"/>
                </a:cubicBezTo>
                <a:cubicBezTo>
                  <a:pt x="556" y="594"/>
                  <a:pt x="556" y="594"/>
                  <a:pt x="556" y="594"/>
                </a:cubicBezTo>
                <a:cubicBezTo>
                  <a:pt x="557" y="591"/>
                  <a:pt x="549" y="589"/>
                  <a:pt x="546" y="588"/>
                </a:cubicBezTo>
                <a:cubicBezTo>
                  <a:pt x="547" y="588"/>
                  <a:pt x="547" y="588"/>
                  <a:pt x="546" y="588"/>
                </a:cubicBezTo>
                <a:cubicBezTo>
                  <a:pt x="546" y="589"/>
                  <a:pt x="545" y="588"/>
                  <a:pt x="546" y="587"/>
                </a:cubicBezTo>
                <a:cubicBezTo>
                  <a:pt x="546" y="587"/>
                  <a:pt x="546" y="587"/>
                  <a:pt x="545" y="587"/>
                </a:cubicBezTo>
                <a:cubicBezTo>
                  <a:pt x="545" y="587"/>
                  <a:pt x="545" y="587"/>
                  <a:pt x="544" y="586"/>
                </a:cubicBezTo>
                <a:cubicBezTo>
                  <a:pt x="544" y="586"/>
                  <a:pt x="544" y="586"/>
                  <a:pt x="544" y="586"/>
                </a:cubicBezTo>
                <a:cubicBezTo>
                  <a:pt x="543" y="586"/>
                  <a:pt x="543" y="586"/>
                  <a:pt x="543" y="586"/>
                </a:cubicBezTo>
                <a:cubicBezTo>
                  <a:pt x="541" y="585"/>
                  <a:pt x="539" y="583"/>
                  <a:pt x="539" y="583"/>
                </a:cubicBezTo>
                <a:cubicBezTo>
                  <a:pt x="538" y="579"/>
                  <a:pt x="551" y="590"/>
                  <a:pt x="548" y="583"/>
                </a:cubicBezTo>
                <a:cubicBezTo>
                  <a:pt x="548" y="582"/>
                  <a:pt x="546" y="576"/>
                  <a:pt x="545" y="576"/>
                </a:cubicBezTo>
                <a:cubicBezTo>
                  <a:pt x="544" y="576"/>
                  <a:pt x="545" y="579"/>
                  <a:pt x="544" y="579"/>
                </a:cubicBezTo>
                <a:cubicBezTo>
                  <a:pt x="543" y="580"/>
                  <a:pt x="540" y="578"/>
                  <a:pt x="540" y="577"/>
                </a:cubicBezTo>
                <a:cubicBezTo>
                  <a:pt x="540" y="575"/>
                  <a:pt x="542" y="576"/>
                  <a:pt x="542" y="575"/>
                </a:cubicBezTo>
                <a:cubicBezTo>
                  <a:pt x="542" y="573"/>
                  <a:pt x="541" y="572"/>
                  <a:pt x="539" y="570"/>
                </a:cubicBezTo>
                <a:cubicBezTo>
                  <a:pt x="539" y="571"/>
                  <a:pt x="539" y="571"/>
                  <a:pt x="539" y="571"/>
                </a:cubicBezTo>
                <a:cubicBezTo>
                  <a:pt x="539" y="571"/>
                  <a:pt x="539" y="570"/>
                  <a:pt x="539" y="570"/>
                </a:cubicBezTo>
                <a:cubicBezTo>
                  <a:pt x="537" y="569"/>
                  <a:pt x="536" y="568"/>
                  <a:pt x="535" y="566"/>
                </a:cubicBezTo>
                <a:cubicBezTo>
                  <a:pt x="533" y="563"/>
                  <a:pt x="530" y="561"/>
                  <a:pt x="530" y="561"/>
                </a:cubicBezTo>
                <a:cubicBezTo>
                  <a:pt x="530" y="560"/>
                  <a:pt x="533" y="559"/>
                  <a:pt x="534" y="558"/>
                </a:cubicBezTo>
                <a:cubicBezTo>
                  <a:pt x="534" y="556"/>
                  <a:pt x="532" y="555"/>
                  <a:pt x="535" y="556"/>
                </a:cubicBezTo>
                <a:cubicBezTo>
                  <a:pt x="537" y="556"/>
                  <a:pt x="535" y="554"/>
                  <a:pt x="537" y="556"/>
                </a:cubicBezTo>
                <a:cubicBezTo>
                  <a:pt x="539" y="556"/>
                  <a:pt x="543" y="561"/>
                  <a:pt x="540" y="563"/>
                </a:cubicBezTo>
                <a:cubicBezTo>
                  <a:pt x="539" y="564"/>
                  <a:pt x="536" y="564"/>
                  <a:pt x="538" y="566"/>
                </a:cubicBezTo>
                <a:cubicBezTo>
                  <a:pt x="539" y="567"/>
                  <a:pt x="541" y="567"/>
                  <a:pt x="542" y="568"/>
                </a:cubicBezTo>
                <a:cubicBezTo>
                  <a:pt x="544" y="570"/>
                  <a:pt x="546" y="575"/>
                  <a:pt x="548" y="577"/>
                </a:cubicBezTo>
                <a:cubicBezTo>
                  <a:pt x="550" y="579"/>
                  <a:pt x="553" y="580"/>
                  <a:pt x="555" y="582"/>
                </a:cubicBezTo>
                <a:cubicBezTo>
                  <a:pt x="556" y="584"/>
                  <a:pt x="557" y="590"/>
                  <a:pt x="559" y="591"/>
                </a:cubicBezTo>
                <a:cubicBezTo>
                  <a:pt x="560" y="591"/>
                  <a:pt x="561" y="591"/>
                  <a:pt x="561" y="590"/>
                </a:cubicBezTo>
                <a:cubicBezTo>
                  <a:pt x="562" y="590"/>
                  <a:pt x="562" y="590"/>
                  <a:pt x="562" y="590"/>
                </a:cubicBezTo>
                <a:cubicBezTo>
                  <a:pt x="562" y="590"/>
                  <a:pt x="562" y="590"/>
                  <a:pt x="562" y="590"/>
                </a:cubicBezTo>
                <a:cubicBezTo>
                  <a:pt x="565" y="589"/>
                  <a:pt x="567" y="585"/>
                  <a:pt x="567" y="582"/>
                </a:cubicBezTo>
                <a:cubicBezTo>
                  <a:pt x="567" y="582"/>
                  <a:pt x="567" y="582"/>
                  <a:pt x="567" y="582"/>
                </a:cubicBezTo>
                <a:cubicBezTo>
                  <a:pt x="566" y="582"/>
                  <a:pt x="565" y="581"/>
                  <a:pt x="565" y="581"/>
                </a:cubicBezTo>
                <a:cubicBezTo>
                  <a:pt x="561" y="578"/>
                  <a:pt x="560" y="569"/>
                  <a:pt x="565" y="567"/>
                </a:cubicBezTo>
                <a:cubicBezTo>
                  <a:pt x="565" y="567"/>
                  <a:pt x="565" y="567"/>
                  <a:pt x="565" y="567"/>
                </a:cubicBezTo>
                <a:cubicBezTo>
                  <a:pt x="565" y="566"/>
                  <a:pt x="565" y="566"/>
                  <a:pt x="565" y="566"/>
                </a:cubicBezTo>
                <a:cubicBezTo>
                  <a:pt x="564" y="565"/>
                  <a:pt x="565" y="566"/>
                  <a:pt x="565" y="567"/>
                </a:cubicBezTo>
                <a:cubicBezTo>
                  <a:pt x="566" y="566"/>
                  <a:pt x="566" y="566"/>
                  <a:pt x="566" y="566"/>
                </a:cubicBezTo>
                <a:cubicBezTo>
                  <a:pt x="566" y="565"/>
                  <a:pt x="566" y="564"/>
                  <a:pt x="565" y="564"/>
                </a:cubicBezTo>
                <a:cubicBezTo>
                  <a:pt x="567" y="563"/>
                  <a:pt x="565" y="561"/>
                  <a:pt x="565" y="559"/>
                </a:cubicBezTo>
                <a:cubicBezTo>
                  <a:pt x="565" y="558"/>
                  <a:pt x="568" y="557"/>
                  <a:pt x="566" y="556"/>
                </a:cubicBezTo>
                <a:cubicBezTo>
                  <a:pt x="570" y="558"/>
                  <a:pt x="566" y="547"/>
                  <a:pt x="564" y="546"/>
                </a:cubicBezTo>
                <a:cubicBezTo>
                  <a:pt x="565" y="547"/>
                  <a:pt x="561" y="552"/>
                  <a:pt x="562" y="552"/>
                </a:cubicBezTo>
                <a:cubicBezTo>
                  <a:pt x="562" y="552"/>
                  <a:pt x="562" y="552"/>
                  <a:pt x="562" y="552"/>
                </a:cubicBezTo>
                <a:cubicBezTo>
                  <a:pt x="562" y="552"/>
                  <a:pt x="562" y="552"/>
                  <a:pt x="562" y="553"/>
                </a:cubicBezTo>
                <a:cubicBezTo>
                  <a:pt x="562" y="553"/>
                  <a:pt x="563" y="554"/>
                  <a:pt x="562" y="554"/>
                </a:cubicBezTo>
                <a:cubicBezTo>
                  <a:pt x="560" y="555"/>
                  <a:pt x="561" y="553"/>
                  <a:pt x="560" y="552"/>
                </a:cubicBezTo>
                <a:cubicBezTo>
                  <a:pt x="560" y="552"/>
                  <a:pt x="560" y="552"/>
                  <a:pt x="559" y="552"/>
                </a:cubicBezTo>
                <a:cubicBezTo>
                  <a:pt x="559" y="553"/>
                  <a:pt x="558" y="553"/>
                  <a:pt x="557" y="552"/>
                </a:cubicBezTo>
                <a:cubicBezTo>
                  <a:pt x="557" y="552"/>
                  <a:pt x="557" y="552"/>
                  <a:pt x="557" y="552"/>
                </a:cubicBezTo>
                <a:cubicBezTo>
                  <a:pt x="556" y="552"/>
                  <a:pt x="555" y="552"/>
                  <a:pt x="555" y="552"/>
                </a:cubicBezTo>
                <a:cubicBezTo>
                  <a:pt x="555" y="552"/>
                  <a:pt x="553" y="548"/>
                  <a:pt x="553" y="547"/>
                </a:cubicBezTo>
                <a:cubicBezTo>
                  <a:pt x="552" y="547"/>
                  <a:pt x="548" y="543"/>
                  <a:pt x="549" y="542"/>
                </a:cubicBezTo>
                <a:cubicBezTo>
                  <a:pt x="551" y="540"/>
                  <a:pt x="551" y="543"/>
                  <a:pt x="552" y="543"/>
                </a:cubicBezTo>
                <a:cubicBezTo>
                  <a:pt x="553" y="543"/>
                  <a:pt x="553" y="540"/>
                  <a:pt x="554" y="540"/>
                </a:cubicBezTo>
                <a:cubicBezTo>
                  <a:pt x="554" y="539"/>
                  <a:pt x="556" y="541"/>
                  <a:pt x="557" y="540"/>
                </a:cubicBezTo>
                <a:cubicBezTo>
                  <a:pt x="556" y="540"/>
                  <a:pt x="556" y="537"/>
                  <a:pt x="558" y="537"/>
                </a:cubicBezTo>
                <a:cubicBezTo>
                  <a:pt x="560" y="537"/>
                  <a:pt x="558" y="539"/>
                  <a:pt x="559" y="540"/>
                </a:cubicBezTo>
                <a:cubicBezTo>
                  <a:pt x="559" y="541"/>
                  <a:pt x="561" y="540"/>
                  <a:pt x="561" y="540"/>
                </a:cubicBezTo>
                <a:cubicBezTo>
                  <a:pt x="562" y="540"/>
                  <a:pt x="561" y="542"/>
                  <a:pt x="563" y="543"/>
                </a:cubicBezTo>
                <a:cubicBezTo>
                  <a:pt x="563" y="543"/>
                  <a:pt x="565" y="543"/>
                  <a:pt x="565" y="543"/>
                </a:cubicBezTo>
                <a:cubicBezTo>
                  <a:pt x="567" y="546"/>
                  <a:pt x="567" y="553"/>
                  <a:pt x="572" y="553"/>
                </a:cubicBezTo>
                <a:cubicBezTo>
                  <a:pt x="573" y="554"/>
                  <a:pt x="573" y="552"/>
                  <a:pt x="573" y="551"/>
                </a:cubicBezTo>
                <a:cubicBezTo>
                  <a:pt x="575" y="553"/>
                  <a:pt x="582" y="559"/>
                  <a:pt x="581" y="564"/>
                </a:cubicBezTo>
                <a:cubicBezTo>
                  <a:pt x="581" y="564"/>
                  <a:pt x="579" y="567"/>
                  <a:pt x="579" y="567"/>
                </a:cubicBezTo>
                <a:cubicBezTo>
                  <a:pt x="578" y="568"/>
                  <a:pt x="577" y="568"/>
                  <a:pt x="576" y="568"/>
                </a:cubicBezTo>
                <a:cubicBezTo>
                  <a:pt x="576" y="569"/>
                  <a:pt x="575" y="569"/>
                  <a:pt x="575" y="569"/>
                </a:cubicBezTo>
                <a:cubicBezTo>
                  <a:pt x="575" y="569"/>
                  <a:pt x="575" y="569"/>
                  <a:pt x="575" y="569"/>
                </a:cubicBezTo>
                <a:cubicBezTo>
                  <a:pt x="574" y="569"/>
                  <a:pt x="574" y="569"/>
                  <a:pt x="573" y="569"/>
                </a:cubicBezTo>
                <a:cubicBezTo>
                  <a:pt x="574" y="571"/>
                  <a:pt x="575" y="573"/>
                  <a:pt x="575" y="574"/>
                </a:cubicBezTo>
                <a:cubicBezTo>
                  <a:pt x="577" y="574"/>
                  <a:pt x="576" y="572"/>
                  <a:pt x="576" y="571"/>
                </a:cubicBezTo>
                <a:cubicBezTo>
                  <a:pt x="577" y="572"/>
                  <a:pt x="577" y="572"/>
                  <a:pt x="577" y="572"/>
                </a:cubicBezTo>
                <a:cubicBezTo>
                  <a:pt x="578" y="571"/>
                  <a:pt x="578" y="570"/>
                  <a:pt x="579" y="570"/>
                </a:cubicBezTo>
                <a:cubicBezTo>
                  <a:pt x="580" y="570"/>
                  <a:pt x="579" y="572"/>
                  <a:pt x="580" y="572"/>
                </a:cubicBezTo>
                <a:cubicBezTo>
                  <a:pt x="581" y="573"/>
                  <a:pt x="580" y="571"/>
                  <a:pt x="582" y="573"/>
                </a:cubicBezTo>
                <a:cubicBezTo>
                  <a:pt x="583" y="575"/>
                  <a:pt x="581" y="577"/>
                  <a:pt x="582" y="579"/>
                </a:cubicBezTo>
                <a:cubicBezTo>
                  <a:pt x="582" y="579"/>
                  <a:pt x="582" y="579"/>
                  <a:pt x="582" y="579"/>
                </a:cubicBezTo>
                <a:cubicBezTo>
                  <a:pt x="583" y="579"/>
                  <a:pt x="584" y="578"/>
                  <a:pt x="584" y="578"/>
                </a:cubicBezTo>
                <a:cubicBezTo>
                  <a:pt x="584" y="578"/>
                  <a:pt x="585" y="580"/>
                  <a:pt x="587" y="580"/>
                </a:cubicBezTo>
                <a:cubicBezTo>
                  <a:pt x="588" y="580"/>
                  <a:pt x="587" y="579"/>
                  <a:pt x="587" y="579"/>
                </a:cubicBezTo>
                <a:cubicBezTo>
                  <a:pt x="588" y="579"/>
                  <a:pt x="592" y="580"/>
                  <a:pt x="592" y="579"/>
                </a:cubicBezTo>
                <a:cubicBezTo>
                  <a:pt x="593" y="581"/>
                  <a:pt x="591" y="582"/>
                  <a:pt x="591" y="584"/>
                </a:cubicBezTo>
                <a:cubicBezTo>
                  <a:pt x="591" y="584"/>
                  <a:pt x="592" y="588"/>
                  <a:pt x="592" y="588"/>
                </a:cubicBezTo>
                <a:cubicBezTo>
                  <a:pt x="592" y="588"/>
                  <a:pt x="594" y="587"/>
                  <a:pt x="595" y="588"/>
                </a:cubicBezTo>
                <a:cubicBezTo>
                  <a:pt x="596" y="589"/>
                  <a:pt x="596" y="591"/>
                  <a:pt x="598" y="592"/>
                </a:cubicBezTo>
                <a:cubicBezTo>
                  <a:pt x="599" y="592"/>
                  <a:pt x="601" y="596"/>
                  <a:pt x="601" y="598"/>
                </a:cubicBezTo>
                <a:cubicBezTo>
                  <a:pt x="599" y="602"/>
                  <a:pt x="593" y="597"/>
                  <a:pt x="592" y="604"/>
                </a:cubicBezTo>
                <a:cubicBezTo>
                  <a:pt x="587" y="602"/>
                  <a:pt x="595" y="611"/>
                  <a:pt x="594" y="612"/>
                </a:cubicBezTo>
                <a:cubicBezTo>
                  <a:pt x="594" y="612"/>
                  <a:pt x="594" y="612"/>
                  <a:pt x="594" y="612"/>
                </a:cubicBezTo>
                <a:cubicBezTo>
                  <a:pt x="595" y="612"/>
                  <a:pt x="595" y="613"/>
                  <a:pt x="594" y="613"/>
                </a:cubicBezTo>
                <a:cubicBezTo>
                  <a:pt x="594" y="613"/>
                  <a:pt x="594" y="613"/>
                  <a:pt x="594" y="613"/>
                </a:cubicBezTo>
                <a:cubicBezTo>
                  <a:pt x="592" y="613"/>
                  <a:pt x="593" y="612"/>
                  <a:pt x="594" y="612"/>
                </a:cubicBezTo>
                <a:cubicBezTo>
                  <a:pt x="592" y="612"/>
                  <a:pt x="589" y="606"/>
                  <a:pt x="589" y="611"/>
                </a:cubicBezTo>
                <a:cubicBezTo>
                  <a:pt x="589" y="613"/>
                  <a:pt x="592" y="612"/>
                  <a:pt x="593" y="613"/>
                </a:cubicBezTo>
                <a:cubicBezTo>
                  <a:pt x="593" y="615"/>
                  <a:pt x="591" y="617"/>
                  <a:pt x="591" y="619"/>
                </a:cubicBezTo>
                <a:cubicBezTo>
                  <a:pt x="591" y="619"/>
                  <a:pt x="593" y="622"/>
                  <a:pt x="594" y="622"/>
                </a:cubicBezTo>
                <a:cubicBezTo>
                  <a:pt x="596" y="622"/>
                  <a:pt x="596" y="620"/>
                  <a:pt x="598" y="622"/>
                </a:cubicBezTo>
                <a:cubicBezTo>
                  <a:pt x="599" y="622"/>
                  <a:pt x="597" y="621"/>
                  <a:pt x="598" y="621"/>
                </a:cubicBezTo>
                <a:cubicBezTo>
                  <a:pt x="598" y="623"/>
                  <a:pt x="600" y="622"/>
                  <a:pt x="599" y="620"/>
                </a:cubicBezTo>
                <a:cubicBezTo>
                  <a:pt x="601" y="623"/>
                  <a:pt x="600" y="626"/>
                  <a:pt x="603" y="625"/>
                </a:cubicBezTo>
                <a:cubicBezTo>
                  <a:pt x="603" y="625"/>
                  <a:pt x="608" y="621"/>
                  <a:pt x="608" y="621"/>
                </a:cubicBezTo>
                <a:cubicBezTo>
                  <a:pt x="608" y="617"/>
                  <a:pt x="604" y="622"/>
                  <a:pt x="601" y="620"/>
                </a:cubicBezTo>
                <a:cubicBezTo>
                  <a:pt x="599" y="618"/>
                  <a:pt x="606" y="619"/>
                  <a:pt x="607" y="618"/>
                </a:cubicBezTo>
                <a:cubicBezTo>
                  <a:pt x="608" y="617"/>
                  <a:pt x="606" y="617"/>
                  <a:pt x="607" y="616"/>
                </a:cubicBezTo>
                <a:cubicBezTo>
                  <a:pt x="607" y="615"/>
                  <a:pt x="610" y="614"/>
                  <a:pt x="609" y="613"/>
                </a:cubicBezTo>
                <a:cubicBezTo>
                  <a:pt x="608" y="613"/>
                  <a:pt x="607" y="616"/>
                  <a:pt x="606" y="614"/>
                </a:cubicBezTo>
                <a:cubicBezTo>
                  <a:pt x="605" y="613"/>
                  <a:pt x="608" y="611"/>
                  <a:pt x="608" y="612"/>
                </a:cubicBezTo>
                <a:cubicBezTo>
                  <a:pt x="609" y="610"/>
                  <a:pt x="609" y="610"/>
                  <a:pt x="610" y="609"/>
                </a:cubicBezTo>
                <a:cubicBezTo>
                  <a:pt x="610" y="609"/>
                  <a:pt x="609" y="608"/>
                  <a:pt x="609" y="608"/>
                </a:cubicBezTo>
                <a:cubicBezTo>
                  <a:pt x="610" y="608"/>
                  <a:pt x="611" y="609"/>
                  <a:pt x="611" y="609"/>
                </a:cubicBezTo>
                <a:cubicBezTo>
                  <a:pt x="613" y="610"/>
                  <a:pt x="615" y="611"/>
                  <a:pt x="616" y="612"/>
                </a:cubicBezTo>
                <a:cubicBezTo>
                  <a:pt x="616" y="612"/>
                  <a:pt x="616" y="612"/>
                  <a:pt x="616" y="612"/>
                </a:cubicBezTo>
                <a:cubicBezTo>
                  <a:pt x="617" y="611"/>
                  <a:pt x="616" y="611"/>
                  <a:pt x="616" y="610"/>
                </a:cubicBezTo>
                <a:cubicBezTo>
                  <a:pt x="616" y="610"/>
                  <a:pt x="617" y="609"/>
                  <a:pt x="617" y="609"/>
                </a:cubicBezTo>
                <a:cubicBezTo>
                  <a:pt x="615" y="608"/>
                  <a:pt x="613" y="606"/>
                  <a:pt x="613" y="605"/>
                </a:cubicBezTo>
                <a:cubicBezTo>
                  <a:pt x="613" y="603"/>
                  <a:pt x="616" y="603"/>
                  <a:pt x="614" y="601"/>
                </a:cubicBezTo>
                <a:cubicBezTo>
                  <a:pt x="613" y="601"/>
                  <a:pt x="610" y="602"/>
                  <a:pt x="610" y="602"/>
                </a:cubicBezTo>
                <a:cubicBezTo>
                  <a:pt x="610" y="602"/>
                  <a:pt x="608" y="602"/>
                  <a:pt x="608" y="602"/>
                </a:cubicBezTo>
                <a:cubicBezTo>
                  <a:pt x="607" y="603"/>
                  <a:pt x="608" y="605"/>
                  <a:pt x="608" y="606"/>
                </a:cubicBezTo>
                <a:cubicBezTo>
                  <a:pt x="606" y="607"/>
                  <a:pt x="605" y="604"/>
                  <a:pt x="604" y="603"/>
                </a:cubicBezTo>
                <a:cubicBezTo>
                  <a:pt x="608" y="604"/>
                  <a:pt x="605" y="600"/>
                  <a:pt x="605" y="598"/>
                </a:cubicBezTo>
                <a:cubicBezTo>
                  <a:pt x="604" y="597"/>
                  <a:pt x="605" y="595"/>
                  <a:pt x="605" y="594"/>
                </a:cubicBezTo>
                <a:cubicBezTo>
                  <a:pt x="604" y="593"/>
                  <a:pt x="602" y="594"/>
                  <a:pt x="602" y="592"/>
                </a:cubicBezTo>
                <a:cubicBezTo>
                  <a:pt x="603" y="591"/>
                  <a:pt x="604" y="592"/>
                  <a:pt x="604" y="592"/>
                </a:cubicBezTo>
                <a:cubicBezTo>
                  <a:pt x="605" y="592"/>
                  <a:pt x="603" y="589"/>
                  <a:pt x="605" y="588"/>
                </a:cubicBezTo>
                <a:cubicBezTo>
                  <a:pt x="605" y="588"/>
                  <a:pt x="607" y="589"/>
                  <a:pt x="608" y="590"/>
                </a:cubicBezTo>
                <a:cubicBezTo>
                  <a:pt x="609" y="590"/>
                  <a:pt x="610" y="590"/>
                  <a:pt x="611" y="591"/>
                </a:cubicBezTo>
                <a:cubicBezTo>
                  <a:pt x="611" y="588"/>
                  <a:pt x="613" y="584"/>
                  <a:pt x="614" y="584"/>
                </a:cubicBezTo>
                <a:cubicBezTo>
                  <a:pt x="615" y="582"/>
                  <a:pt x="617" y="585"/>
                  <a:pt x="617" y="582"/>
                </a:cubicBezTo>
                <a:cubicBezTo>
                  <a:pt x="618" y="585"/>
                  <a:pt x="621" y="582"/>
                  <a:pt x="622" y="582"/>
                </a:cubicBezTo>
                <a:cubicBezTo>
                  <a:pt x="623" y="582"/>
                  <a:pt x="622" y="584"/>
                  <a:pt x="623" y="584"/>
                </a:cubicBezTo>
                <a:cubicBezTo>
                  <a:pt x="623" y="585"/>
                  <a:pt x="624" y="584"/>
                  <a:pt x="625" y="585"/>
                </a:cubicBezTo>
                <a:cubicBezTo>
                  <a:pt x="625" y="585"/>
                  <a:pt x="625" y="585"/>
                  <a:pt x="625" y="585"/>
                </a:cubicBezTo>
                <a:cubicBezTo>
                  <a:pt x="626" y="585"/>
                  <a:pt x="628" y="585"/>
                  <a:pt x="629" y="585"/>
                </a:cubicBezTo>
                <a:cubicBezTo>
                  <a:pt x="629" y="585"/>
                  <a:pt x="629" y="584"/>
                  <a:pt x="630" y="584"/>
                </a:cubicBezTo>
                <a:cubicBezTo>
                  <a:pt x="629" y="584"/>
                  <a:pt x="628" y="584"/>
                  <a:pt x="628" y="584"/>
                </a:cubicBezTo>
                <a:cubicBezTo>
                  <a:pt x="627" y="583"/>
                  <a:pt x="626" y="583"/>
                  <a:pt x="626" y="582"/>
                </a:cubicBezTo>
                <a:cubicBezTo>
                  <a:pt x="626" y="581"/>
                  <a:pt x="625" y="581"/>
                  <a:pt x="625" y="580"/>
                </a:cubicBezTo>
                <a:cubicBezTo>
                  <a:pt x="625" y="580"/>
                  <a:pt x="625" y="580"/>
                  <a:pt x="624" y="580"/>
                </a:cubicBezTo>
                <a:cubicBezTo>
                  <a:pt x="624" y="580"/>
                  <a:pt x="624" y="579"/>
                  <a:pt x="624" y="579"/>
                </a:cubicBezTo>
                <a:cubicBezTo>
                  <a:pt x="624" y="577"/>
                  <a:pt x="624" y="575"/>
                  <a:pt x="622" y="574"/>
                </a:cubicBezTo>
                <a:cubicBezTo>
                  <a:pt x="624" y="576"/>
                  <a:pt x="625" y="573"/>
                  <a:pt x="625" y="573"/>
                </a:cubicBezTo>
                <a:cubicBezTo>
                  <a:pt x="625" y="573"/>
                  <a:pt x="625" y="573"/>
                  <a:pt x="625" y="572"/>
                </a:cubicBezTo>
                <a:cubicBezTo>
                  <a:pt x="625" y="572"/>
                  <a:pt x="625" y="572"/>
                  <a:pt x="625" y="572"/>
                </a:cubicBezTo>
                <a:cubicBezTo>
                  <a:pt x="625" y="572"/>
                  <a:pt x="625" y="573"/>
                  <a:pt x="625" y="573"/>
                </a:cubicBezTo>
                <a:cubicBezTo>
                  <a:pt x="623" y="574"/>
                  <a:pt x="619" y="571"/>
                  <a:pt x="619" y="570"/>
                </a:cubicBezTo>
                <a:cubicBezTo>
                  <a:pt x="619" y="569"/>
                  <a:pt x="619" y="570"/>
                  <a:pt x="620" y="569"/>
                </a:cubicBezTo>
                <a:cubicBezTo>
                  <a:pt x="620" y="567"/>
                  <a:pt x="618" y="565"/>
                  <a:pt x="620" y="562"/>
                </a:cubicBezTo>
                <a:cubicBezTo>
                  <a:pt x="621" y="563"/>
                  <a:pt x="620" y="565"/>
                  <a:pt x="621" y="566"/>
                </a:cubicBezTo>
                <a:cubicBezTo>
                  <a:pt x="621" y="567"/>
                  <a:pt x="622" y="565"/>
                  <a:pt x="622" y="565"/>
                </a:cubicBezTo>
                <a:cubicBezTo>
                  <a:pt x="624" y="565"/>
                  <a:pt x="627" y="568"/>
                  <a:pt x="626" y="571"/>
                </a:cubicBezTo>
                <a:cubicBezTo>
                  <a:pt x="627" y="572"/>
                  <a:pt x="628" y="572"/>
                  <a:pt x="628" y="573"/>
                </a:cubicBezTo>
                <a:cubicBezTo>
                  <a:pt x="629" y="573"/>
                  <a:pt x="629" y="572"/>
                  <a:pt x="629" y="572"/>
                </a:cubicBezTo>
                <a:cubicBezTo>
                  <a:pt x="628" y="570"/>
                  <a:pt x="628" y="568"/>
                  <a:pt x="627" y="566"/>
                </a:cubicBezTo>
                <a:cubicBezTo>
                  <a:pt x="626" y="565"/>
                  <a:pt x="625" y="565"/>
                  <a:pt x="624" y="565"/>
                </a:cubicBezTo>
                <a:cubicBezTo>
                  <a:pt x="624" y="564"/>
                  <a:pt x="624" y="563"/>
                  <a:pt x="623" y="563"/>
                </a:cubicBezTo>
                <a:cubicBezTo>
                  <a:pt x="622" y="562"/>
                  <a:pt x="622" y="564"/>
                  <a:pt x="621" y="563"/>
                </a:cubicBezTo>
                <a:cubicBezTo>
                  <a:pt x="620" y="562"/>
                  <a:pt x="621" y="561"/>
                  <a:pt x="621" y="561"/>
                </a:cubicBezTo>
                <a:cubicBezTo>
                  <a:pt x="622" y="560"/>
                  <a:pt x="624" y="562"/>
                  <a:pt x="625" y="562"/>
                </a:cubicBezTo>
                <a:cubicBezTo>
                  <a:pt x="626" y="561"/>
                  <a:pt x="626" y="560"/>
                  <a:pt x="627" y="559"/>
                </a:cubicBezTo>
                <a:cubicBezTo>
                  <a:pt x="628" y="558"/>
                  <a:pt x="630" y="559"/>
                  <a:pt x="629" y="555"/>
                </a:cubicBezTo>
                <a:cubicBezTo>
                  <a:pt x="631" y="560"/>
                  <a:pt x="631" y="555"/>
                  <a:pt x="632" y="554"/>
                </a:cubicBezTo>
                <a:cubicBezTo>
                  <a:pt x="632" y="555"/>
                  <a:pt x="638" y="557"/>
                  <a:pt x="639" y="557"/>
                </a:cubicBezTo>
                <a:cubicBezTo>
                  <a:pt x="640" y="557"/>
                  <a:pt x="641" y="560"/>
                  <a:pt x="643" y="561"/>
                </a:cubicBezTo>
                <a:cubicBezTo>
                  <a:pt x="643" y="560"/>
                  <a:pt x="643" y="560"/>
                  <a:pt x="642" y="560"/>
                </a:cubicBezTo>
                <a:cubicBezTo>
                  <a:pt x="643" y="560"/>
                  <a:pt x="644" y="560"/>
                  <a:pt x="644" y="561"/>
                </a:cubicBezTo>
                <a:cubicBezTo>
                  <a:pt x="644" y="561"/>
                  <a:pt x="644" y="561"/>
                  <a:pt x="645" y="561"/>
                </a:cubicBezTo>
                <a:cubicBezTo>
                  <a:pt x="644" y="561"/>
                  <a:pt x="644" y="561"/>
                  <a:pt x="644" y="560"/>
                </a:cubicBezTo>
                <a:cubicBezTo>
                  <a:pt x="644" y="560"/>
                  <a:pt x="644" y="560"/>
                  <a:pt x="644" y="559"/>
                </a:cubicBezTo>
                <a:cubicBezTo>
                  <a:pt x="644" y="559"/>
                  <a:pt x="644" y="559"/>
                  <a:pt x="644" y="559"/>
                </a:cubicBezTo>
                <a:cubicBezTo>
                  <a:pt x="644" y="559"/>
                  <a:pt x="644" y="559"/>
                  <a:pt x="644" y="559"/>
                </a:cubicBezTo>
                <a:cubicBezTo>
                  <a:pt x="644" y="557"/>
                  <a:pt x="646" y="551"/>
                  <a:pt x="647" y="548"/>
                </a:cubicBezTo>
                <a:cubicBezTo>
                  <a:pt x="646" y="547"/>
                  <a:pt x="646" y="547"/>
                  <a:pt x="646" y="546"/>
                </a:cubicBezTo>
                <a:cubicBezTo>
                  <a:pt x="646" y="545"/>
                  <a:pt x="647" y="546"/>
                  <a:pt x="648" y="546"/>
                </a:cubicBezTo>
                <a:cubicBezTo>
                  <a:pt x="648" y="546"/>
                  <a:pt x="649" y="545"/>
                  <a:pt x="649" y="546"/>
                </a:cubicBezTo>
                <a:cubicBezTo>
                  <a:pt x="650" y="546"/>
                  <a:pt x="650" y="547"/>
                  <a:pt x="650" y="549"/>
                </a:cubicBezTo>
                <a:cubicBezTo>
                  <a:pt x="650" y="548"/>
                  <a:pt x="651" y="548"/>
                  <a:pt x="651" y="548"/>
                </a:cubicBezTo>
                <a:cubicBezTo>
                  <a:pt x="652" y="548"/>
                  <a:pt x="653" y="550"/>
                  <a:pt x="653" y="551"/>
                </a:cubicBezTo>
                <a:cubicBezTo>
                  <a:pt x="654" y="551"/>
                  <a:pt x="655" y="551"/>
                  <a:pt x="655" y="552"/>
                </a:cubicBezTo>
                <a:cubicBezTo>
                  <a:pt x="656" y="553"/>
                  <a:pt x="655" y="554"/>
                  <a:pt x="655" y="555"/>
                </a:cubicBezTo>
                <a:cubicBezTo>
                  <a:pt x="655" y="555"/>
                  <a:pt x="656" y="554"/>
                  <a:pt x="656" y="552"/>
                </a:cubicBezTo>
                <a:cubicBezTo>
                  <a:pt x="656" y="551"/>
                  <a:pt x="654" y="549"/>
                  <a:pt x="654" y="548"/>
                </a:cubicBezTo>
                <a:cubicBezTo>
                  <a:pt x="654" y="548"/>
                  <a:pt x="653" y="548"/>
                  <a:pt x="653" y="548"/>
                </a:cubicBezTo>
                <a:cubicBezTo>
                  <a:pt x="654" y="544"/>
                  <a:pt x="661" y="548"/>
                  <a:pt x="659" y="550"/>
                </a:cubicBezTo>
                <a:cubicBezTo>
                  <a:pt x="659" y="550"/>
                  <a:pt x="657" y="550"/>
                  <a:pt x="657" y="550"/>
                </a:cubicBezTo>
                <a:cubicBezTo>
                  <a:pt x="657" y="551"/>
                  <a:pt x="659" y="555"/>
                  <a:pt x="659" y="557"/>
                </a:cubicBezTo>
                <a:cubicBezTo>
                  <a:pt x="659" y="558"/>
                  <a:pt x="659" y="559"/>
                  <a:pt x="659" y="559"/>
                </a:cubicBezTo>
                <a:cubicBezTo>
                  <a:pt x="660" y="560"/>
                  <a:pt x="662" y="559"/>
                  <a:pt x="663" y="560"/>
                </a:cubicBezTo>
                <a:cubicBezTo>
                  <a:pt x="663" y="560"/>
                  <a:pt x="663" y="561"/>
                  <a:pt x="663" y="561"/>
                </a:cubicBezTo>
                <a:cubicBezTo>
                  <a:pt x="664" y="562"/>
                  <a:pt x="666" y="564"/>
                  <a:pt x="666" y="564"/>
                </a:cubicBezTo>
                <a:cubicBezTo>
                  <a:pt x="667" y="564"/>
                  <a:pt x="667" y="562"/>
                  <a:pt x="666" y="562"/>
                </a:cubicBezTo>
                <a:cubicBezTo>
                  <a:pt x="666" y="562"/>
                  <a:pt x="669" y="561"/>
                  <a:pt x="669" y="563"/>
                </a:cubicBezTo>
                <a:cubicBezTo>
                  <a:pt x="669" y="563"/>
                  <a:pt x="669" y="563"/>
                  <a:pt x="669" y="564"/>
                </a:cubicBezTo>
                <a:cubicBezTo>
                  <a:pt x="670" y="563"/>
                  <a:pt x="670" y="563"/>
                  <a:pt x="671" y="563"/>
                </a:cubicBezTo>
                <a:cubicBezTo>
                  <a:pt x="670" y="562"/>
                  <a:pt x="669" y="562"/>
                  <a:pt x="669" y="561"/>
                </a:cubicBezTo>
                <a:cubicBezTo>
                  <a:pt x="669" y="561"/>
                  <a:pt x="669" y="562"/>
                  <a:pt x="668" y="562"/>
                </a:cubicBezTo>
                <a:cubicBezTo>
                  <a:pt x="668" y="562"/>
                  <a:pt x="667" y="562"/>
                  <a:pt x="667" y="561"/>
                </a:cubicBezTo>
                <a:cubicBezTo>
                  <a:pt x="667" y="561"/>
                  <a:pt x="666" y="560"/>
                  <a:pt x="667" y="559"/>
                </a:cubicBezTo>
                <a:cubicBezTo>
                  <a:pt x="668" y="559"/>
                  <a:pt x="668" y="560"/>
                  <a:pt x="668" y="560"/>
                </a:cubicBezTo>
                <a:cubicBezTo>
                  <a:pt x="668" y="560"/>
                  <a:pt x="668" y="560"/>
                  <a:pt x="668" y="560"/>
                </a:cubicBezTo>
                <a:cubicBezTo>
                  <a:pt x="668" y="560"/>
                  <a:pt x="668" y="560"/>
                  <a:pt x="668" y="560"/>
                </a:cubicBezTo>
                <a:cubicBezTo>
                  <a:pt x="668" y="560"/>
                  <a:pt x="669" y="560"/>
                  <a:pt x="669" y="560"/>
                </a:cubicBezTo>
                <a:cubicBezTo>
                  <a:pt x="668" y="559"/>
                  <a:pt x="669" y="558"/>
                  <a:pt x="671" y="557"/>
                </a:cubicBezTo>
                <a:cubicBezTo>
                  <a:pt x="672" y="557"/>
                  <a:pt x="673" y="558"/>
                  <a:pt x="674" y="559"/>
                </a:cubicBezTo>
                <a:cubicBezTo>
                  <a:pt x="673" y="559"/>
                  <a:pt x="673" y="559"/>
                  <a:pt x="674" y="559"/>
                </a:cubicBezTo>
                <a:cubicBezTo>
                  <a:pt x="674" y="557"/>
                  <a:pt x="674" y="559"/>
                  <a:pt x="675" y="559"/>
                </a:cubicBezTo>
                <a:cubicBezTo>
                  <a:pt x="675" y="558"/>
                  <a:pt x="675" y="558"/>
                  <a:pt x="675" y="557"/>
                </a:cubicBezTo>
                <a:cubicBezTo>
                  <a:pt x="675" y="557"/>
                  <a:pt x="675" y="557"/>
                  <a:pt x="675" y="557"/>
                </a:cubicBezTo>
                <a:cubicBezTo>
                  <a:pt x="675" y="557"/>
                  <a:pt x="675" y="556"/>
                  <a:pt x="675" y="556"/>
                </a:cubicBezTo>
                <a:cubicBezTo>
                  <a:pt x="677" y="554"/>
                  <a:pt x="678" y="556"/>
                  <a:pt x="679" y="557"/>
                </a:cubicBezTo>
                <a:cubicBezTo>
                  <a:pt x="679" y="553"/>
                  <a:pt x="679" y="553"/>
                  <a:pt x="679" y="553"/>
                </a:cubicBezTo>
                <a:cubicBezTo>
                  <a:pt x="679" y="553"/>
                  <a:pt x="678" y="553"/>
                  <a:pt x="677" y="552"/>
                </a:cubicBezTo>
                <a:cubicBezTo>
                  <a:pt x="673" y="549"/>
                  <a:pt x="676" y="544"/>
                  <a:pt x="679" y="544"/>
                </a:cubicBezTo>
                <a:cubicBezTo>
                  <a:pt x="679" y="543"/>
                  <a:pt x="679" y="543"/>
                  <a:pt x="679" y="543"/>
                </a:cubicBezTo>
                <a:cubicBezTo>
                  <a:pt x="679" y="543"/>
                  <a:pt x="679" y="542"/>
                  <a:pt x="679" y="542"/>
                </a:cubicBezTo>
                <a:cubicBezTo>
                  <a:pt x="679" y="542"/>
                  <a:pt x="679" y="543"/>
                  <a:pt x="679" y="543"/>
                </a:cubicBezTo>
                <a:cubicBezTo>
                  <a:pt x="679" y="511"/>
                  <a:pt x="679" y="511"/>
                  <a:pt x="679" y="511"/>
                </a:cubicBezTo>
                <a:cubicBezTo>
                  <a:pt x="678" y="509"/>
                  <a:pt x="677" y="507"/>
                  <a:pt x="677" y="506"/>
                </a:cubicBezTo>
                <a:cubicBezTo>
                  <a:pt x="678" y="507"/>
                  <a:pt x="679" y="508"/>
                  <a:pt x="679" y="509"/>
                </a:cubicBezTo>
                <a:cubicBezTo>
                  <a:pt x="679" y="508"/>
                  <a:pt x="679" y="508"/>
                  <a:pt x="679" y="508"/>
                </a:cubicBezTo>
                <a:cubicBezTo>
                  <a:pt x="679" y="507"/>
                  <a:pt x="678" y="507"/>
                  <a:pt x="679" y="507"/>
                </a:cubicBezTo>
                <a:cubicBezTo>
                  <a:pt x="679" y="423"/>
                  <a:pt x="679" y="423"/>
                  <a:pt x="679" y="423"/>
                </a:cubicBezTo>
                <a:cubicBezTo>
                  <a:pt x="679" y="423"/>
                  <a:pt x="679" y="422"/>
                  <a:pt x="679" y="422"/>
                </a:cubicBezTo>
                <a:cubicBezTo>
                  <a:pt x="679" y="422"/>
                  <a:pt x="679" y="422"/>
                  <a:pt x="679" y="422"/>
                </a:cubicBezTo>
                <a:cubicBezTo>
                  <a:pt x="679" y="196"/>
                  <a:pt x="679" y="196"/>
                  <a:pt x="679" y="196"/>
                </a:cubicBezTo>
                <a:cubicBezTo>
                  <a:pt x="521" y="105"/>
                  <a:pt x="521" y="105"/>
                  <a:pt x="521" y="105"/>
                </a:cubicBezTo>
                <a:cubicBezTo>
                  <a:pt x="520" y="105"/>
                  <a:pt x="517" y="104"/>
                  <a:pt x="516" y="103"/>
                </a:cubicBezTo>
                <a:cubicBezTo>
                  <a:pt x="516" y="103"/>
                  <a:pt x="517" y="102"/>
                  <a:pt x="517" y="102"/>
                </a:cubicBezTo>
                <a:cubicBezTo>
                  <a:pt x="340" y="0"/>
                  <a:pt x="340" y="0"/>
                  <a:pt x="340" y="0"/>
                </a:cubicBezTo>
                <a:cubicBezTo>
                  <a:pt x="329" y="7"/>
                  <a:pt x="329" y="7"/>
                  <a:pt x="329" y="7"/>
                </a:cubicBezTo>
                <a:cubicBezTo>
                  <a:pt x="330" y="7"/>
                  <a:pt x="330" y="7"/>
                  <a:pt x="328" y="7"/>
                </a:cubicBezTo>
                <a:cubicBezTo>
                  <a:pt x="315" y="15"/>
                  <a:pt x="315" y="15"/>
                  <a:pt x="315" y="15"/>
                </a:cubicBezTo>
                <a:cubicBezTo>
                  <a:pt x="315" y="15"/>
                  <a:pt x="315" y="15"/>
                  <a:pt x="315" y="15"/>
                </a:cubicBezTo>
                <a:cubicBezTo>
                  <a:pt x="315" y="15"/>
                  <a:pt x="314" y="15"/>
                  <a:pt x="314" y="15"/>
                </a:cubicBezTo>
                <a:cubicBezTo>
                  <a:pt x="298" y="25"/>
                  <a:pt x="298" y="25"/>
                  <a:pt x="298" y="25"/>
                </a:cubicBezTo>
                <a:cubicBezTo>
                  <a:pt x="299" y="24"/>
                  <a:pt x="301" y="24"/>
                  <a:pt x="301" y="25"/>
                </a:cubicBezTo>
                <a:cubicBezTo>
                  <a:pt x="302" y="27"/>
                  <a:pt x="300" y="27"/>
                  <a:pt x="301" y="28"/>
                </a:cubicBezTo>
                <a:cubicBezTo>
                  <a:pt x="301" y="30"/>
                  <a:pt x="303" y="30"/>
                  <a:pt x="306" y="31"/>
                </a:cubicBezTo>
                <a:cubicBezTo>
                  <a:pt x="305" y="30"/>
                  <a:pt x="305" y="30"/>
                  <a:pt x="305" y="30"/>
                </a:cubicBezTo>
                <a:cubicBezTo>
                  <a:pt x="306" y="30"/>
                  <a:pt x="306" y="30"/>
                  <a:pt x="306" y="31"/>
                </a:cubicBezTo>
                <a:cubicBezTo>
                  <a:pt x="308" y="31"/>
                  <a:pt x="310" y="31"/>
                  <a:pt x="311" y="32"/>
                </a:cubicBezTo>
                <a:cubicBezTo>
                  <a:pt x="314" y="34"/>
                  <a:pt x="318" y="34"/>
                  <a:pt x="318" y="34"/>
                </a:cubicBezTo>
                <a:cubicBezTo>
                  <a:pt x="318" y="35"/>
                  <a:pt x="316" y="37"/>
                  <a:pt x="317" y="39"/>
                </a:cubicBezTo>
                <a:cubicBezTo>
                  <a:pt x="317" y="41"/>
                  <a:pt x="319" y="40"/>
                  <a:pt x="317" y="41"/>
                </a:cubicBezTo>
                <a:cubicBezTo>
                  <a:pt x="315" y="42"/>
                  <a:pt x="318" y="42"/>
                  <a:pt x="315" y="42"/>
                </a:cubicBezTo>
                <a:cubicBezTo>
                  <a:pt x="313" y="42"/>
                  <a:pt x="307" y="41"/>
                  <a:pt x="309" y="37"/>
                </a:cubicBezTo>
                <a:cubicBezTo>
                  <a:pt x="309" y="36"/>
                  <a:pt x="311" y="35"/>
                  <a:pt x="309" y="34"/>
                </a:cubicBezTo>
                <a:cubicBezTo>
                  <a:pt x="308" y="34"/>
                  <a:pt x="306" y="35"/>
                  <a:pt x="305" y="34"/>
                </a:cubicBezTo>
                <a:cubicBezTo>
                  <a:pt x="302" y="33"/>
                  <a:pt x="298" y="30"/>
                  <a:pt x="295" y="29"/>
                </a:cubicBezTo>
                <a:cubicBezTo>
                  <a:pt x="293" y="29"/>
                  <a:pt x="292" y="29"/>
                  <a:pt x="290" y="29"/>
                </a:cubicBezTo>
                <a:cubicBezTo>
                  <a:pt x="280" y="35"/>
                  <a:pt x="280" y="35"/>
                  <a:pt x="280" y="35"/>
                </a:cubicBezTo>
                <a:cubicBezTo>
                  <a:pt x="284" y="37"/>
                  <a:pt x="288" y="43"/>
                  <a:pt x="285" y="47"/>
                </a:cubicBezTo>
                <a:cubicBezTo>
                  <a:pt x="286" y="47"/>
                  <a:pt x="285" y="47"/>
                  <a:pt x="285" y="47"/>
                </a:cubicBezTo>
                <a:cubicBezTo>
                  <a:pt x="285" y="47"/>
                  <a:pt x="285" y="47"/>
                  <a:pt x="285" y="47"/>
                </a:cubicBezTo>
                <a:cubicBezTo>
                  <a:pt x="286" y="48"/>
                  <a:pt x="285" y="47"/>
                  <a:pt x="285" y="47"/>
                </a:cubicBezTo>
                <a:cubicBezTo>
                  <a:pt x="285" y="47"/>
                  <a:pt x="285" y="48"/>
                  <a:pt x="284" y="48"/>
                </a:cubicBezTo>
                <a:cubicBezTo>
                  <a:pt x="285" y="49"/>
                  <a:pt x="286" y="50"/>
                  <a:pt x="286" y="49"/>
                </a:cubicBezTo>
                <a:cubicBezTo>
                  <a:pt x="285" y="51"/>
                  <a:pt x="288" y="52"/>
                  <a:pt x="289" y="53"/>
                </a:cubicBezTo>
                <a:cubicBezTo>
                  <a:pt x="290" y="54"/>
                  <a:pt x="288" y="56"/>
                  <a:pt x="290" y="56"/>
                </a:cubicBezTo>
                <a:cubicBezTo>
                  <a:pt x="285" y="57"/>
                  <a:pt x="295" y="64"/>
                  <a:pt x="296" y="64"/>
                </a:cubicBezTo>
                <a:cubicBezTo>
                  <a:pt x="296" y="64"/>
                  <a:pt x="296" y="57"/>
                  <a:pt x="296" y="58"/>
                </a:cubicBezTo>
                <a:cubicBezTo>
                  <a:pt x="296" y="58"/>
                  <a:pt x="296" y="58"/>
                  <a:pt x="296" y="58"/>
                </a:cubicBezTo>
                <a:cubicBezTo>
                  <a:pt x="295" y="58"/>
                  <a:pt x="295" y="57"/>
                  <a:pt x="295" y="57"/>
                </a:cubicBezTo>
                <a:cubicBezTo>
                  <a:pt x="295" y="57"/>
                  <a:pt x="294" y="56"/>
                  <a:pt x="294" y="56"/>
                </a:cubicBezTo>
                <a:cubicBezTo>
                  <a:pt x="296" y="54"/>
                  <a:pt x="296" y="57"/>
                  <a:pt x="297" y="57"/>
                </a:cubicBezTo>
                <a:cubicBezTo>
                  <a:pt x="297" y="57"/>
                  <a:pt x="297" y="57"/>
                  <a:pt x="297" y="57"/>
                </a:cubicBezTo>
                <a:cubicBezTo>
                  <a:pt x="297" y="56"/>
                  <a:pt x="298" y="55"/>
                  <a:pt x="299" y="55"/>
                </a:cubicBezTo>
                <a:cubicBezTo>
                  <a:pt x="299" y="55"/>
                  <a:pt x="299" y="55"/>
                  <a:pt x="299" y="55"/>
                </a:cubicBezTo>
                <a:cubicBezTo>
                  <a:pt x="300" y="55"/>
                  <a:pt x="301" y="54"/>
                  <a:pt x="302" y="54"/>
                </a:cubicBezTo>
                <a:cubicBezTo>
                  <a:pt x="302" y="54"/>
                  <a:pt x="305" y="57"/>
                  <a:pt x="306" y="57"/>
                </a:cubicBezTo>
                <a:cubicBezTo>
                  <a:pt x="306" y="58"/>
                  <a:pt x="312" y="59"/>
                  <a:pt x="311" y="60"/>
                </a:cubicBezTo>
                <a:cubicBezTo>
                  <a:pt x="311" y="62"/>
                  <a:pt x="309" y="60"/>
                  <a:pt x="308" y="61"/>
                </a:cubicBezTo>
                <a:cubicBezTo>
                  <a:pt x="307" y="61"/>
                  <a:pt x="309" y="63"/>
                  <a:pt x="309" y="64"/>
                </a:cubicBezTo>
                <a:cubicBezTo>
                  <a:pt x="308" y="65"/>
                  <a:pt x="307" y="65"/>
                  <a:pt x="306" y="66"/>
                </a:cubicBezTo>
                <a:cubicBezTo>
                  <a:pt x="306" y="65"/>
                  <a:pt x="308" y="68"/>
                  <a:pt x="306" y="69"/>
                </a:cubicBezTo>
                <a:cubicBezTo>
                  <a:pt x="304" y="70"/>
                  <a:pt x="305" y="67"/>
                  <a:pt x="304" y="67"/>
                </a:cubicBezTo>
                <a:cubicBezTo>
                  <a:pt x="303" y="66"/>
                  <a:pt x="303" y="68"/>
                  <a:pt x="302" y="68"/>
                </a:cubicBezTo>
                <a:cubicBezTo>
                  <a:pt x="301" y="68"/>
                  <a:pt x="301" y="66"/>
                  <a:pt x="299" y="66"/>
                </a:cubicBezTo>
                <a:cubicBezTo>
                  <a:pt x="298" y="66"/>
                  <a:pt x="298" y="67"/>
                  <a:pt x="297" y="67"/>
                </a:cubicBezTo>
                <a:cubicBezTo>
                  <a:pt x="294" y="65"/>
                  <a:pt x="291" y="60"/>
                  <a:pt x="286" y="62"/>
                </a:cubicBezTo>
                <a:cubicBezTo>
                  <a:pt x="285" y="62"/>
                  <a:pt x="286" y="63"/>
                  <a:pt x="287" y="64"/>
                </a:cubicBezTo>
                <a:cubicBezTo>
                  <a:pt x="283" y="64"/>
                  <a:pt x="275" y="63"/>
                  <a:pt x="273" y="57"/>
                </a:cubicBezTo>
                <a:cubicBezTo>
                  <a:pt x="273" y="57"/>
                  <a:pt x="273" y="54"/>
                  <a:pt x="273" y="53"/>
                </a:cubicBezTo>
                <a:cubicBezTo>
                  <a:pt x="273" y="53"/>
                  <a:pt x="274" y="52"/>
                  <a:pt x="275" y="51"/>
                </a:cubicBezTo>
                <a:cubicBezTo>
                  <a:pt x="275" y="51"/>
                  <a:pt x="275" y="50"/>
                  <a:pt x="276" y="50"/>
                </a:cubicBezTo>
                <a:cubicBezTo>
                  <a:pt x="276" y="50"/>
                  <a:pt x="276" y="50"/>
                  <a:pt x="276" y="50"/>
                </a:cubicBezTo>
                <a:cubicBezTo>
                  <a:pt x="276" y="50"/>
                  <a:pt x="276" y="49"/>
                  <a:pt x="277" y="49"/>
                </a:cubicBezTo>
                <a:cubicBezTo>
                  <a:pt x="275" y="48"/>
                  <a:pt x="274" y="46"/>
                  <a:pt x="273" y="45"/>
                </a:cubicBezTo>
                <a:cubicBezTo>
                  <a:pt x="271" y="47"/>
                  <a:pt x="273" y="48"/>
                  <a:pt x="273" y="49"/>
                </a:cubicBezTo>
                <a:cubicBezTo>
                  <a:pt x="273" y="49"/>
                  <a:pt x="272" y="48"/>
                  <a:pt x="272" y="48"/>
                </a:cubicBezTo>
                <a:cubicBezTo>
                  <a:pt x="272" y="49"/>
                  <a:pt x="272" y="50"/>
                  <a:pt x="271" y="51"/>
                </a:cubicBezTo>
                <a:cubicBezTo>
                  <a:pt x="270" y="51"/>
                  <a:pt x="270" y="50"/>
                  <a:pt x="270" y="50"/>
                </a:cubicBezTo>
                <a:cubicBezTo>
                  <a:pt x="268" y="49"/>
                  <a:pt x="270" y="51"/>
                  <a:pt x="267" y="50"/>
                </a:cubicBezTo>
                <a:cubicBezTo>
                  <a:pt x="266" y="49"/>
                  <a:pt x="266" y="46"/>
                  <a:pt x="265" y="45"/>
                </a:cubicBezTo>
                <a:cubicBezTo>
                  <a:pt x="265" y="45"/>
                  <a:pt x="264" y="45"/>
                  <a:pt x="264" y="45"/>
                </a:cubicBezTo>
                <a:cubicBezTo>
                  <a:pt x="264" y="46"/>
                  <a:pt x="263" y="47"/>
                  <a:pt x="263" y="47"/>
                </a:cubicBezTo>
                <a:cubicBezTo>
                  <a:pt x="263" y="47"/>
                  <a:pt x="261" y="45"/>
                  <a:pt x="260" y="47"/>
                </a:cubicBezTo>
                <a:cubicBezTo>
                  <a:pt x="259" y="47"/>
                  <a:pt x="260" y="48"/>
                  <a:pt x="260" y="48"/>
                </a:cubicBezTo>
                <a:cubicBezTo>
                  <a:pt x="259" y="48"/>
                  <a:pt x="255" y="50"/>
                  <a:pt x="256" y="50"/>
                </a:cubicBezTo>
                <a:cubicBezTo>
                  <a:pt x="255" y="50"/>
                  <a:pt x="255" y="49"/>
                  <a:pt x="255" y="49"/>
                </a:cubicBezTo>
                <a:cubicBezTo>
                  <a:pt x="245" y="55"/>
                  <a:pt x="245" y="55"/>
                  <a:pt x="245" y="55"/>
                </a:cubicBezTo>
                <a:cubicBezTo>
                  <a:pt x="246" y="56"/>
                  <a:pt x="246" y="57"/>
                  <a:pt x="247" y="58"/>
                </a:cubicBezTo>
                <a:cubicBezTo>
                  <a:pt x="245" y="59"/>
                  <a:pt x="243" y="58"/>
                  <a:pt x="241" y="57"/>
                </a:cubicBezTo>
                <a:cubicBezTo>
                  <a:pt x="227" y="66"/>
                  <a:pt x="227" y="66"/>
                  <a:pt x="227" y="66"/>
                </a:cubicBezTo>
                <a:cubicBezTo>
                  <a:pt x="227" y="66"/>
                  <a:pt x="227" y="66"/>
                  <a:pt x="227" y="66"/>
                </a:cubicBezTo>
                <a:cubicBezTo>
                  <a:pt x="227" y="66"/>
                  <a:pt x="227" y="66"/>
                  <a:pt x="227" y="66"/>
                </a:cubicBezTo>
                <a:cubicBezTo>
                  <a:pt x="228" y="65"/>
                  <a:pt x="228" y="66"/>
                  <a:pt x="228" y="66"/>
                </a:cubicBezTo>
                <a:cubicBezTo>
                  <a:pt x="229" y="68"/>
                  <a:pt x="230" y="69"/>
                  <a:pt x="232" y="70"/>
                </a:cubicBezTo>
                <a:cubicBezTo>
                  <a:pt x="229" y="69"/>
                  <a:pt x="231" y="72"/>
                  <a:pt x="230" y="73"/>
                </a:cubicBezTo>
                <a:cubicBezTo>
                  <a:pt x="230" y="73"/>
                  <a:pt x="230" y="73"/>
                  <a:pt x="230" y="73"/>
                </a:cubicBezTo>
                <a:cubicBezTo>
                  <a:pt x="230" y="73"/>
                  <a:pt x="230" y="73"/>
                  <a:pt x="230" y="73"/>
                </a:cubicBezTo>
                <a:cubicBezTo>
                  <a:pt x="231" y="73"/>
                  <a:pt x="231" y="72"/>
                  <a:pt x="231" y="72"/>
                </a:cubicBezTo>
                <a:cubicBezTo>
                  <a:pt x="232" y="70"/>
                  <a:pt x="236" y="71"/>
                  <a:pt x="237" y="71"/>
                </a:cubicBezTo>
                <a:cubicBezTo>
                  <a:pt x="238" y="72"/>
                  <a:pt x="237" y="72"/>
                  <a:pt x="237" y="73"/>
                </a:cubicBezTo>
                <a:cubicBezTo>
                  <a:pt x="237" y="74"/>
                  <a:pt x="241" y="76"/>
                  <a:pt x="240" y="79"/>
                </a:cubicBezTo>
                <a:cubicBezTo>
                  <a:pt x="239" y="78"/>
                  <a:pt x="239" y="76"/>
                  <a:pt x="238" y="76"/>
                </a:cubicBezTo>
                <a:cubicBezTo>
                  <a:pt x="237" y="76"/>
                  <a:pt x="237" y="77"/>
                  <a:pt x="237" y="78"/>
                </a:cubicBezTo>
                <a:cubicBezTo>
                  <a:pt x="236" y="79"/>
                  <a:pt x="231" y="77"/>
                  <a:pt x="230" y="74"/>
                </a:cubicBezTo>
                <a:cubicBezTo>
                  <a:pt x="229" y="74"/>
                  <a:pt x="229" y="74"/>
                  <a:pt x="228" y="74"/>
                </a:cubicBezTo>
                <a:cubicBezTo>
                  <a:pt x="227" y="74"/>
                  <a:pt x="227" y="74"/>
                  <a:pt x="227" y="75"/>
                </a:cubicBezTo>
                <a:cubicBezTo>
                  <a:pt x="229" y="76"/>
                  <a:pt x="230" y="78"/>
                  <a:pt x="232" y="79"/>
                </a:cubicBezTo>
                <a:cubicBezTo>
                  <a:pt x="233" y="79"/>
                  <a:pt x="234" y="79"/>
                  <a:pt x="235" y="79"/>
                </a:cubicBezTo>
                <a:cubicBezTo>
                  <a:pt x="236" y="79"/>
                  <a:pt x="236" y="80"/>
                  <a:pt x="237" y="80"/>
                </a:cubicBezTo>
                <a:cubicBezTo>
                  <a:pt x="239" y="80"/>
                  <a:pt x="237" y="78"/>
                  <a:pt x="239" y="79"/>
                </a:cubicBezTo>
                <a:cubicBezTo>
                  <a:pt x="240" y="79"/>
                  <a:pt x="240" y="80"/>
                  <a:pt x="240" y="81"/>
                </a:cubicBezTo>
                <a:cubicBezTo>
                  <a:pt x="240" y="82"/>
                  <a:pt x="237" y="81"/>
                  <a:pt x="236" y="82"/>
                </a:cubicBezTo>
                <a:cubicBezTo>
                  <a:pt x="236" y="82"/>
                  <a:pt x="236" y="84"/>
                  <a:pt x="236" y="85"/>
                </a:cubicBezTo>
                <a:cubicBezTo>
                  <a:pt x="235" y="87"/>
                  <a:pt x="233" y="86"/>
                  <a:pt x="236" y="89"/>
                </a:cubicBezTo>
                <a:cubicBezTo>
                  <a:pt x="232" y="86"/>
                  <a:pt x="234" y="91"/>
                  <a:pt x="234" y="92"/>
                </a:cubicBezTo>
                <a:cubicBezTo>
                  <a:pt x="234" y="91"/>
                  <a:pt x="227" y="93"/>
                  <a:pt x="227" y="93"/>
                </a:cubicBezTo>
                <a:cubicBezTo>
                  <a:pt x="226" y="93"/>
                  <a:pt x="223" y="92"/>
                  <a:pt x="221" y="92"/>
                </a:cubicBezTo>
                <a:cubicBezTo>
                  <a:pt x="221" y="92"/>
                  <a:pt x="222" y="92"/>
                  <a:pt x="222" y="92"/>
                </a:cubicBezTo>
                <a:cubicBezTo>
                  <a:pt x="221" y="93"/>
                  <a:pt x="221" y="92"/>
                  <a:pt x="220" y="92"/>
                </a:cubicBezTo>
                <a:cubicBezTo>
                  <a:pt x="220" y="92"/>
                  <a:pt x="220" y="92"/>
                  <a:pt x="220" y="92"/>
                </a:cubicBezTo>
                <a:cubicBezTo>
                  <a:pt x="220" y="92"/>
                  <a:pt x="220" y="92"/>
                  <a:pt x="221" y="93"/>
                </a:cubicBezTo>
                <a:cubicBezTo>
                  <a:pt x="221" y="93"/>
                  <a:pt x="221" y="93"/>
                  <a:pt x="221" y="93"/>
                </a:cubicBezTo>
                <a:cubicBezTo>
                  <a:pt x="221" y="93"/>
                  <a:pt x="221" y="93"/>
                  <a:pt x="221" y="93"/>
                </a:cubicBezTo>
                <a:cubicBezTo>
                  <a:pt x="221" y="93"/>
                  <a:pt x="221" y="93"/>
                  <a:pt x="221" y="93"/>
                </a:cubicBezTo>
                <a:cubicBezTo>
                  <a:pt x="223" y="96"/>
                  <a:pt x="224" y="101"/>
                  <a:pt x="224" y="105"/>
                </a:cubicBezTo>
                <a:cubicBezTo>
                  <a:pt x="225" y="105"/>
                  <a:pt x="226" y="105"/>
                  <a:pt x="226" y="106"/>
                </a:cubicBezTo>
                <a:cubicBezTo>
                  <a:pt x="226" y="107"/>
                  <a:pt x="225" y="107"/>
                  <a:pt x="224" y="107"/>
                </a:cubicBezTo>
                <a:cubicBezTo>
                  <a:pt x="224" y="107"/>
                  <a:pt x="224" y="108"/>
                  <a:pt x="224" y="108"/>
                </a:cubicBezTo>
                <a:cubicBezTo>
                  <a:pt x="223" y="108"/>
                  <a:pt x="222" y="107"/>
                  <a:pt x="221" y="106"/>
                </a:cubicBezTo>
                <a:cubicBezTo>
                  <a:pt x="221" y="106"/>
                  <a:pt x="221" y="107"/>
                  <a:pt x="221" y="107"/>
                </a:cubicBezTo>
                <a:cubicBezTo>
                  <a:pt x="219" y="107"/>
                  <a:pt x="218" y="106"/>
                  <a:pt x="218" y="105"/>
                </a:cubicBezTo>
                <a:cubicBezTo>
                  <a:pt x="217" y="106"/>
                  <a:pt x="216" y="106"/>
                  <a:pt x="215" y="105"/>
                </a:cubicBezTo>
                <a:cubicBezTo>
                  <a:pt x="214" y="105"/>
                  <a:pt x="214" y="104"/>
                  <a:pt x="214" y="103"/>
                </a:cubicBezTo>
                <a:cubicBezTo>
                  <a:pt x="214" y="103"/>
                  <a:pt x="213" y="104"/>
                  <a:pt x="214" y="105"/>
                </a:cubicBezTo>
                <a:cubicBezTo>
                  <a:pt x="215" y="106"/>
                  <a:pt x="218" y="108"/>
                  <a:pt x="218" y="108"/>
                </a:cubicBezTo>
                <a:cubicBezTo>
                  <a:pt x="218" y="108"/>
                  <a:pt x="219" y="108"/>
                  <a:pt x="219" y="108"/>
                </a:cubicBezTo>
                <a:cubicBezTo>
                  <a:pt x="220" y="111"/>
                  <a:pt x="212" y="112"/>
                  <a:pt x="213" y="109"/>
                </a:cubicBezTo>
                <a:cubicBezTo>
                  <a:pt x="213" y="109"/>
                  <a:pt x="214" y="108"/>
                  <a:pt x="214" y="108"/>
                </a:cubicBezTo>
                <a:cubicBezTo>
                  <a:pt x="214" y="107"/>
                  <a:pt x="210" y="104"/>
                  <a:pt x="209" y="103"/>
                </a:cubicBezTo>
                <a:cubicBezTo>
                  <a:pt x="209" y="102"/>
                  <a:pt x="208" y="102"/>
                  <a:pt x="208" y="101"/>
                </a:cubicBezTo>
                <a:cubicBezTo>
                  <a:pt x="207" y="101"/>
                  <a:pt x="206" y="103"/>
                  <a:pt x="205" y="103"/>
                </a:cubicBezTo>
                <a:cubicBezTo>
                  <a:pt x="204" y="103"/>
                  <a:pt x="204" y="102"/>
                  <a:pt x="203" y="101"/>
                </a:cubicBezTo>
                <a:cubicBezTo>
                  <a:pt x="203" y="101"/>
                  <a:pt x="200" y="100"/>
                  <a:pt x="199" y="101"/>
                </a:cubicBezTo>
                <a:cubicBezTo>
                  <a:pt x="199" y="101"/>
                  <a:pt x="200" y="103"/>
                  <a:pt x="200" y="102"/>
                </a:cubicBezTo>
                <a:cubicBezTo>
                  <a:pt x="200" y="102"/>
                  <a:pt x="199" y="104"/>
                  <a:pt x="197" y="103"/>
                </a:cubicBezTo>
                <a:cubicBezTo>
                  <a:pt x="197" y="103"/>
                  <a:pt x="197" y="103"/>
                  <a:pt x="197" y="103"/>
                </a:cubicBezTo>
                <a:cubicBezTo>
                  <a:pt x="197" y="103"/>
                  <a:pt x="197" y="103"/>
                  <a:pt x="196" y="104"/>
                </a:cubicBezTo>
                <a:cubicBezTo>
                  <a:pt x="197" y="104"/>
                  <a:pt x="198" y="104"/>
                  <a:pt x="199" y="105"/>
                </a:cubicBezTo>
                <a:cubicBezTo>
                  <a:pt x="198" y="104"/>
                  <a:pt x="198" y="104"/>
                  <a:pt x="199" y="104"/>
                </a:cubicBezTo>
                <a:cubicBezTo>
                  <a:pt x="199" y="103"/>
                  <a:pt x="200" y="103"/>
                  <a:pt x="200" y="104"/>
                </a:cubicBezTo>
                <a:cubicBezTo>
                  <a:pt x="201" y="104"/>
                  <a:pt x="202" y="104"/>
                  <a:pt x="201" y="105"/>
                </a:cubicBezTo>
                <a:cubicBezTo>
                  <a:pt x="201" y="106"/>
                  <a:pt x="200" y="105"/>
                  <a:pt x="200" y="105"/>
                </a:cubicBezTo>
                <a:cubicBezTo>
                  <a:pt x="200" y="105"/>
                  <a:pt x="200" y="105"/>
                  <a:pt x="200" y="105"/>
                </a:cubicBezTo>
                <a:cubicBezTo>
                  <a:pt x="200" y="105"/>
                  <a:pt x="200" y="105"/>
                  <a:pt x="200" y="105"/>
                </a:cubicBezTo>
                <a:cubicBezTo>
                  <a:pt x="200" y="105"/>
                  <a:pt x="199" y="105"/>
                  <a:pt x="199" y="105"/>
                </a:cubicBezTo>
                <a:cubicBezTo>
                  <a:pt x="200" y="106"/>
                  <a:pt x="201" y="107"/>
                  <a:pt x="199" y="109"/>
                </a:cubicBezTo>
                <a:cubicBezTo>
                  <a:pt x="198" y="110"/>
                  <a:pt x="197" y="109"/>
                  <a:pt x="196" y="108"/>
                </a:cubicBezTo>
                <a:cubicBezTo>
                  <a:pt x="196" y="109"/>
                  <a:pt x="196" y="109"/>
                  <a:pt x="196" y="109"/>
                </a:cubicBezTo>
                <a:cubicBezTo>
                  <a:pt x="196" y="111"/>
                  <a:pt x="195" y="109"/>
                  <a:pt x="195" y="110"/>
                </a:cubicBezTo>
                <a:cubicBezTo>
                  <a:pt x="194" y="110"/>
                  <a:pt x="195" y="110"/>
                  <a:pt x="195" y="111"/>
                </a:cubicBezTo>
                <a:cubicBezTo>
                  <a:pt x="196" y="111"/>
                  <a:pt x="196" y="111"/>
                  <a:pt x="195" y="111"/>
                </a:cubicBezTo>
                <a:cubicBezTo>
                  <a:pt x="196" y="111"/>
                  <a:pt x="196" y="112"/>
                  <a:pt x="196" y="112"/>
                </a:cubicBezTo>
                <a:cubicBezTo>
                  <a:pt x="195" y="115"/>
                  <a:pt x="191" y="113"/>
                  <a:pt x="189" y="114"/>
                </a:cubicBezTo>
                <a:cubicBezTo>
                  <a:pt x="190" y="115"/>
                  <a:pt x="190" y="117"/>
                  <a:pt x="190" y="117"/>
                </a:cubicBezTo>
                <a:cubicBezTo>
                  <a:pt x="191" y="118"/>
                  <a:pt x="192" y="118"/>
                  <a:pt x="193" y="118"/>
                </a:cubicBezTo>
                <a:cubicBezTo>
                  <a:pt x="194" y="117"/>
                  <a:pt x="195" y="116"/>
                  <a:pt x="197" y="116"/>
                </a:cubicBezTo>
                <a:cubicBezTo>
                  <a:pt x="201" y="117"/>
                  <a:pt x="201" y="123"/>
                  <a:pt x="198" y="125"/>
                </a:cubicBezTo>
                <a:cubicBezTo>
                  <a:pt x="198" y="125"/>
                  <a:pt x="198" y="126"/>
                  <a:pt x="200" y="126"/>
                </a:cubicBezTo>
                <a:cubicBezTo>
                  <a:pt x="199" y="126"/>
                  <a:pt x="199" y="126"/>
                  <a:pt x="198" y="126"/>
                </a:cubicBezTo>
                <a:cubicBezTo>
                  <a:pt x="200" y="127"/>
                  <a:pt x="201" y="130"/>
                  <a:pt x="200" y="132"/>
                </a:cubicBezTo>
                <a:cubicBezTo>
                  <a:pt x="201" y="133"/>
                  <a:pt x="202" y="134"/>
                  <a:pt x="201" y="135"/>
                </a:cubicBezTo>
                <a:cubicBezTo>
                  <a:pt x="201" y="135"/>
                  <a:pt x="200" y="134"/>
                  <a:pt x="200" y="133"/>
                </a:cubicBezTo>
                <a:cubicBezTo>
                  <a:pt x="200" y="133"/>
                  <a:pt x="200" y="133"/>
                  <a:pt x="199" y="133"/>
                </a:cubicBezTo>
                <a:cubicBezTo>
                  <a:pt x="199" y="134"/>
                  <a:pt x="198" y="134"/>
                  <a:pt x="197" y="134"/>
                </a:cubicBezTo>
                <a:cubicBezTo>
                  <a:pt x="196" y="136"/>
                  <a:pt x="196" y="138"/>
                  <a:pt x="193" y="136"/>
                </a:cubicBezTo>
                <a:cubicBezTo>
                  <a:pt x="191" y="136"/>
                  <a:pt x="190" y="137"/>
                  <a:pt x="189" y="137"/>
                </a:cubicBezTo>
                <a:cubicBezTo>
                  <a:pt x="189" y="137"/>
                  <a:pt x="188" y="136"/>
                  <a:pt x="187" y="136"/>
                </a:cubicBezTo>
                <a:cubicBezTo>
                  <a:pt x="189" y="138"/>
                  <a:pt x="191" y="139"/>
                  <a:pt x="193" y="141"/>
                </a:cubicBezTo>
                <a:cubicBezTo>
                  <a:pt x="195" y="138"/>
                  <a:pt x="197" y="136"/>
                  <a:pt x="199" y="140"/>
                </a:cubicBezTo>
                <a:cubicBezTo>
                  <a:pt x="200" y="140"/>
                  <a:pt x="200" y="141"/>
                  <a:pt x="200" y="142"/>
                </a:cubicBezTo>
                <a:cubicBezTo>
                  <a:pt x="200" y="140"/>
                  <a:pt x="205" y="140"/>
                  <a:pt x="203" y="143"/>
                </a:cubicBezTo>
                <a:cubicBezTo>
                  <a:pt x="203" y="144"/>
                  <a:pt x="202" y="143"/>
                  <a:pt x="201" y="143"/>
                </a:cubicBezTo>
                <a:cubicBezTo>
                  <a:pt x="201" y="143"/>
                  <a:pt x="201" y="142"/>
                  <a:pt x="200" y="142"/>
                </a:cubicBezTo>
                <a:cubicBezTo>
                  <a:pt x="201" y="144"/>
                  <a:pt x="202" y="147"/>
                  <a:pt x="203" y="147"/>
                </a:cubicBezTo>
                <a:cubicBezTo>
                  <a:pt x="205" y="149"/>
                  <a:pt x="205" y="148"/>
                  <a:pt x="204" y="150"/>
                </a:cubicBezTo>
                <a:cubicBezTo>
                  <a:pt x="204" y="151"/>
                  <a:pt x="203" y="152"/>
                  <a:pt x="204" y="153"/>
                </a:cubicBezTo>
                <a:cubicBezTo>
                  <a:pt x="204" y="153"/>
                  <a:pt x="209" y="155"/>
                  <a:pt x="206" y="156"/>
                </a:cubicBezTo>
                <a:cubicBezTo>
                  <a:pt x="205" y="156"/>
                  <a:pt x="205" y="155"/>
                  <a:pt x="204" y="155"/>
                </a:cubicBezTo>
                <a:cubicBezTo>
                  <a:pt x="203" y="156"/>
                  <a:pt x="204" y="159"/>
                  <a:pt x="204" y="160"/>
                </a:cubicBezTo>
                <a:cubicBezTo>
                  <a:pt x="203" y="160"/>
                  <a:pt x="200" y="156"/>
                  <a:pt x="199" y="159"/>
                </a:cubicBezTo>
                <a:cubicBezTo>
                  <a:pt x="198" y="160"/>
                  <a:pt x="198" y="160"/>
                  <a:pt x="198" y="160"/>
                </a:cubicBezTo>
                <a:cubicBezTo>
                  <a:pt x="198" y="160"/>
                  <a:pt x="198" y="160"/>
                  <a:pt x="198" y="160"/>
                </a:cubicBezTo>
                <a:cubicBezTo>
                  <a:pt x="196" y="159"/>
                  <a:pt x="196" y="159"/>
                  <a:pt x="195" y="160"/>
                </a:cubicBezTo>
                <a:cubicBezTo>
                  <a:pt x="196" y="161"/>
                  <a:pt x="196" y="162"/>
                  <a:pt x="195" y="163"/>
                </a:cubicBezTo>
                <a:cubicBezTo>
                  <a:pt x="194" y="163"/>
                  <a:pt x="194" y="162"/>
                  <a:pt x="193" y="162"/>
                </a:cubicBezTo>
                <a:cubicBezTo>
                  <a:pt x="193" y="161"/>
                  <a:pt x="193" y="161"/>
                  <a:pt x="193" y="161"/>
                </a:cubicBezTo>
                <a:cubicBezTo>
                  <a:pt x="192" y="162"/>
                  <a:pt x="192" y="163"/>
                  <a:pt x="192" y="164"/>
                </a:cubicBezTo>
                <a:cubicBezTo>
                  <a:pt x="191" y="165"/>
                  <a:pt x="189" y="163"/>
                  <a:pt x="188" y="163"/>
                </a:cubicBezTo>
                <a:cubicBezTo>
                  <a:pt x="185" y="165"/>
                  <a:pt x="189" y="167"/>
                  <a:pt x="189" y="170"/>
                </a:cubicBezTo>
                <a:cubicBezTo>
                  <a:pt x="189" y="170"/>
                  <a:pt x="187" y="172"/>
                  <a:pt x="189" y="173"/>
                </a:cubicBezTo>
                <a:cubicBezTo>
                  <a:pt x="190" y="174"/>
                  <a:pt x="192" y="172"/>
                  <a:pt x="194" y="176"/>
                </a:cubicBezTo>
                <a:cubicBezTo>
                  <a:pt x="194" y="177"/>
                  <a:pt x="197" y="182"/>
                  <a:pt x="195" y="183"/>
                </a:cubicBezTo>
                <a:cubicBezTo>
                  <a:pt x="194" y="183"/>
                  <a:pt x="194" y="181"/>
                  <a:pt x="194" y="181"/>
                </a:cubicBezTo>
                <a:cubicBezTo>
                  <a:pt x="193" y="180"/>
                  <a:pt x="190" y="182"/>
                  <a:pt x="190" y="182"/>
                </a:cubicBezTo>
                <a:cubicBezTo>
                  <a:pt x="189" y="181"/>
                  <a:pt x="189" y="179"/>
                  <a:pt x="188" y="179"/>
                </a:cubicBezTo>
                <a:cubicBezTo>
                  <a:pt x="188" y="179"/>
                  <a:pt x="188" y="179"/>
                  <a:pt x="187" y="180"/>
                </a:cubicBezTo>
                <a:cubicBezTo>
                  <a:pt x="187" y="180"/>
                  <a:pt x="187" y="179"/>
                  <a:pt x="186" y="179"/>
                </a:cubicBezTo>
                <a:cubicBezTo>
                  <a:pt x="185" y="179"/>
                  <a:pt x="184" y="180"/>
                  <a:pt x="183" y="178"/>
                </a:cubicBezTo>
                <a:cubicBezTo>
                  <a:pt x="182" y="179"/>
                  <a:pt x="182" y="179"/>
                  <a:pt x="182" y="179"/>
                </a:cubicBezTo>
                <a:cubicBezTo>
                  <a:pt x="182" y="179"/>
                  <a:pt x="182" y="179"/>
                  <a:pt x="182" y="179"/>
                </a:cubicBezTo>
                <a:cubicBezTo>
                  <a:pt x="182" y="180"/>
                  <a:pt x="181" y="180"/>
                  <a:pt x="180" y="178"/>
                </a:cubicBezTo>
                <a:cubicBezTo>
                  <a:pt x="179" y="178"/>
                  <a:pt x="179" y="178"/>
                  <a:pt x="179" y="178"/>
                </a:cubicBezTo>
                <a:cubicBezTo>
                  <a:pt x="179" y="178"/>
                  <a:pt x="179" y="179"/>
                  <a:pt x="179" y="179"/>
                </a:cubicBezTo>
                <a:cubicBezTo>
                  <a:pt x="179" y="180"/>
                  <a:pt x="179" y="181"/>
                  <a:pt x="179" y="181"/>
                </a:cubicBezTo>
                <a:cubicBezTo>
                  <a:pt x="179" y="182"/>
                  <a:pt x="179" y="182"/>
                  <a:pt x="178" y="182"/>
                </a:cubicBezTo>
                <a:cubicBezTo>
                  <a:pt x="178" y="182"/>
                  <a:pt x="177" y="182"/>
                  <a:pt x="177" y="181"/>
                </a:cubicBezTo>
                <a:cubicBezTo>
                  <a:pt x="176" y="181"/>
                  <a:pt x="175" y="181"/>
                  <a:pt x="175" y="182"/>
                </a:cubicBezTo>
                <a:cubicBezTo>
                  <a:pt x="174" y="181"/>
                  <a:pt x="175" y="178"/>
                  <a:pt x="173" y="176"/>
                </a:cubicBezTo>
                <a:cubicBezTo>
                  <a:pt x="174" y="177"/>
                  <a:pt x="176" y="176"/>
                  <a:pt x="174" y="174"/>
                </a:cubicBezTo>
                <a:cubicBezTo>
                  <a:pt x="173" y="173"/>
                  <a:pt x="173" y="175"/>
                  <a:pt x="173" y="175"/>
                </a:cubicBezTo>
                <a:cubicBezTo>
                  <a:pt x="173" y="175"/>
                  <a:pt x="172" y="174"/>
                  <a:pt x="171" y="174"/>
                </a:cubicBezTo>
                <a:cubicBezTo>
                  <a:pt x="171" y="175"/>
                  <a:pt x="171" y="175"/>
                  <a:pt x="171" y="175"/>
                </a:cubicBezTo>
                <a:cubicBezTo>
                  <a:pt x="172" y="177"/>
                  <a:pt x="173" y="179"/>
                  <a:pt x="172" y="181"/>
                </a:cubicBezTo>
                <a:cubicBezTo>
                  <a:pt x="172" y="181"/>
                  <a:pt x="172" y="181"/>
                  <a:pt x="173" y="181"/>
                </a:cubicBezTo>
                <a:cubicBezTo>
                  <a:pt x="173" y="181"/>
                  <a:pt x="173" y="180"/>
                  <a:pt x="173" y="180"/>
                </a:cubicBezTo>
                <a:cubicBezTo>
                  <a:pt x="174" y="181"/>
                  <a:pt x="173" y="181"/>
                  <a:pt x="172" y="181"/>
                </a:cubicBezTo>
                <a:cubicBezTo>
                  <a:pt x="172" y="182"/>
                  <a:pt x="171" y="182"/>
                  <a:pt x="170" y="182"/>
                </a:cubicBezTo>
                <a:cubicBezTo>
                  <a:pt x="168" y="182"/>
                  <a:pt x="167" y="180"/>
                  <a:pt x="166" y="177"/>
                </a:cubicBezTo>
                <a:cubicBezTo>
                  <a:pt x="166" y="177"/>
                  <a:pt x="165" y="178"/>
                  <a:pt x="164" y="178"/>
                </a:cubicBezTo>
                <a:cubicBezTo>
                  <a:pt x="162" y="177"/>
                  <a:pt x="161" y="174"/>
                  <a:pt x="160" y="175"/>
                </a:cubicBezTo>
                <a:cubicBezTo>
                  <a:pt x="160" y="173"/>
                  <a:pt x="159" y="171"/>
                  <a:pt x="160" y="170"/>
                </a:cubicBezTo>
                <a:cubicBezTo>
                  <a:pt x="161" y="167"/>
                  <a:pt x="162" y="168"/>
                  <a:pt x="160" y="164"/>
                </a:cubicBezTo>
                <a:cubicBezTo>
                  <a:pt x="160" y="164"/>
                  <a:pt x="160" y="163"/>
                  <a:pt x="160" y="162"/>
                </a:cubicBezTo>
                <a:cubicBezTo>
                  <a:pt x="159" y="159"/>
                  <a:pt x="159" y="160"/>
                  <a:pt x="156" y="161"/>
                </a:cubicBezTo>
                <a:cubicBezTo>
                  <a:pt x="158" y="159"/>
                  <a:pt x="156" y="160"/>
                  <a:pt x="155" y="162"/>
                </a:cubicBezTo>
                <a:cubicBezTo>
                  <a:pt x="155" y="162"/>
                  <a:pt x="156" y="162"/>
                  <a:pt x="156" y="162"/>
                </a:cubicBezTo>
                <a:cubicBezTo>
                  <a:pt x="156" y="162"/>
                  <a:pt x="155" y="162"/>
                  <a:pt x="155" y="162"/>
                </a:cubicBezTo>
                <a:cubicBezTo>
                  <a:pt x="155" y="163"/>
                  <a:pt x="155" y="163"/>
                  <a:pt x="155" y="163"/>
                </a:cubicBezTo>
                <a:cubicBezTo>
                  <a:pt x="155" y="163"/>
                  <a:pt x="158" y="164"/>
                  <a:pt x="156" y="165"/>
                </a:cubicBezTo>
                <a:cubicBezTo>
                  <a:pt x="156" y="166"/>
                  <a:pt x="152" y="162"/>
                  <a:pt x="152" y="166"/>
                </a:cubicBezTo>
                <a:cubicBezTo>
                  <a:pt x="150" y="160"/>
                  <a:pt x="148" y="168"/>
                  <a:pt x="147" y="171"/>
                </a:cubicBezTo>
                <a:cubicBezTo>
                  <a:pt x="146" y="172"/>
                  <a:pt x="144" y="172"/>
                  <a:pt x="143" y="173"/>
                </a:cubicBezTo>
                <a:cubicBezTo>
                  <a:pt x="142" y="174"/>
                  <a:pt x="142" y="174"/>
                  <a:pt x="141" y="174"/>
                </a:cubicBezTo>
                <a:cubicBezTo>
                  <a:pt x="141" y="174"/>
                  <a:pt x="141" y="174"/>
                  <a:pt x="141" y="174"/>
                </a:cubicBezTo>
                <a:cubicBezTo>
                  <a:pt x="140" y="175"/>
                  <a:pt x="140" y="175"/>
                  <a:pt x="139" y="176"/>
                </a:cubicBezTo>
                <a:cubicBezTo>
                  <a:pt x="140" y="176"/>
                  <a:pt x="140" y="177"/>
                  <a:pt x="139" y="177"/>
                </a:cubicBezTo>
                <a:cubicBezTo>
                  <a:pt x="140" y="177"/>
                  <a:pt x="140" y="177"/>
                  <a:pt x="140" y="178"/>
                </a:cubicBezTo>
                <a:cubicBezTo>
                  <a:pt x="141" y="178"/>
                  <a:pt x="142" y="179"/>
                  <a:pt x="142" y="181"/>
                </a:cubicBezTo>
                <a:cubicBezTo>
                  <a:pt x="143" y="182"/>
                  <a:pt x="142" y="183"/>
                  <a:pt x="141" y="183"/>
                </a:cubicBezTo>
                <a:cubicBezTo>
                  <a:pt x="141" y="184"/>
                  <a:pt x="142" y="185"/>
                  <a:pt x="142" y="186"/>
                </a:cubicBezTo>
                <a:cubicBezTo>
                  <a:pt x="141" y="187"/>
                  <a:pt x="141" y="185"/>
                  <a:pt x="140" y="184"/>
                </a:cubicBezTo>
                <a:cubicBezTo>
                  <a:pt x="139" y="184"/>
                  <a:pt x="138" y="184"/>
                  <a:pt x="138" y="183"/>
                </a:cubicBezTo>
                <a:cubicBezTo>
                  <a:pt x="138" y="184"/>
                  <a:pt x="138" y="187"/>
                  <a:pt x="138" y="187"/>
                </a:cubicBezTo>
                <a:cubicBezTo>
                  <a:pt x="138" y="187"/>
                  <a:pt x="138" y="187"/>
                  <a:pt x="138" y="188"/>
                </a:cubicBezTo>
                <a:cubicBezTo>
                  <a:pt x="139" y="186"/>
                  <a:pt x="139" y="185"/>
                  <a:pt x="139" y="185"/>
                </a:cubicBezTo>
                <a:cubicBezTo>
                  <a:pt x="139" y="186"/>
                  <a:pt x="139" y="187"/>
                  <a:pt x="139" y="189"/>
                </a:cubicBezTo>
                <a:cubicBezTo>
                  <a:pt x="140" y="189"/>
                  <a:pt x="140" y="189"/>
                  <a:pt x="140" y="189"/>
                </a:cubicBezTo>
                <a:cubicBezTo>
                  <a:pt x="140" y="188"/>
                  <a:pt x="142" y="189"/>
                  <a:pt x="142" y="191"/>
                </a:cubicBezTo>
                <a:cubicBezTo>
                  <a:pt x="143" y="191"/>
                  <a:pt x="143" y="192"/>
                  <a:pt x="142" y="193"/>
                </a:cubicBezTo>
                <a:cubicBezTo>
                  <a:pt x="142" y="193"/>
                  <a:pt x="141" y="192"/>
                  <a:pt x="141" y="192"/>
                </a:cubicBezTo>
                <a:cubicBezTo>
                  <a:pt x="140" y="192"/>
                  <a:pt x="139" y="193"/>
                  <a:pt x="140" y="192"/>
                </a:cubicBezTo>
                <a:cubicBezTo>
                  <a:pt x="140" y="192"/>
                  <a:pt x="140" y="191"/>
                  <a:pt x="140" y="191"/>
                </a:cubicBezTo>
                <a:cubicBezTo>
                  <a:pt x="140" y="191"/>
                  <a:pt x="140" y="191"/>
                  <a:pt x="140" y="191"/>
                </a:cubicBezTo>
                <a:cubicBezTo>
                  <a:pt x="140" y="191"/>
                  <a:pt x="140" y="190"/>
                  <a:pt x="139" y="190"/>
                </a:cubicBezTo>
                <a:cubicBezTo>
                  <a:pt x="139" y="191"/>
                  <a:pt x="139" y="192"/>
                  <a:pt x="138" y="192"/>
                </a:cubicBezTo>
                <a:cubicBezTo>
                  <a:pt x="138" y="192"/>
                  <a:pt x="138" y="191"/>
                  <a:pt x="138" y="190"/>
                </a:cubicBezTo>
                <a:cubicBezTo>
                  <a:pt x="138" y="190"/>
                  <a:pt x="137" y="190"/>
                  <a:pt x="137" y="191"/>
                </a:cubicBezTo>
                <a:cubicBezTo>
                  <a:pt x="137" y="192"/>
                  <a:pt x="138" y="192"/>
                  <a:pt x="138" y="193"/>
                </a:cubicBezTo>
                <a:cubicBezTo>
                  <a:pt x="138" y="194"/>
                  <a:pt x="134" y="195"/>
                  <a:pt x="137" y="197"/>
                </a:cubicBezTo>
                <a:cubicBezTo>
                  <a:pt x="137" y="197"/>
                  <a:pt x="138" y="196"/>
                  <a:pt x="138" y="196"/>
                </a:cubicBezTo>
                <a:cubicBezTo>
                  <a:pt x="138" y="196"/>
                  <a:pt x="138" y="196"/>
                  <a:pt x="138" y="196"/>
                </a:cubicBezTo>
                <a:cubicBezTo>
                  <a:pt x="138" y="196"/>
                  <a:pt x="138" y="195"/>
                  <a:pt x="138" y="195"/>
                </a:cubicBezTo>
                <a:cubicBezTo>
                  <a:pt x="139" y="194"/>
                  <a:pt x="140" y="195"/>
                  <a:pt x="139" y="196"/>
                </a:cubicBezTo>
                <a:cubicBezTo>
                  <a:pt x="139" y="196"/>
                  <a:pt x="139" y="196"/>
                  <a:pt x="139" y="196"/>
                </a:cubicBezTo>
                <a:cubicBezTo>
                  <a:pt x="140" y="197"/>
                  <a:pt x="138" y="201"/>
                  <a:pt x="139" y="202"/>
                </a:cubicBezTo>
                <a:cubicBezTo>
                  <a:pt x="138" y="200"/>
                  <a:pt x="137" y="202"/>
                  <a:pt x="136" y="203"/>
                </a:cubicBezTo>
                <a:cubicBezTo>
                  <a:pt x="137" y="205"/>
                  <a:pt x="138" y="207"/>
                  <a:pt x="139" y="208"/>
                </a:cubicBezTo>
                <a:cubicBezTo>
                  <a:pt x="138" y="207"/>
                  <a:pt x="136" y="205"/>
                  <a:pt x="136" y="203"/>
                </a:cubicBezTo>
                <a:cubicBezTo>
                  <a:pt x="135" y="204"/>
                  <a:pt x="134" y="205"/>
                  <a:pt x="134" y="204"/>
                </a:cubicBezTo>
                <a:cubicBezTo>
                  <a:pt x="132" y="203"/>
                  <a:pt x="133" y="199"/>
                  <a:pt x="131" y="198"/>
                </a:cubicBezTo>
                <a:cubicBezTo>
                  <a:pt x="130" y="198"/>
                  <a:pt x="131" y="199"/>
                  <a:pt x="131" y="199"/>
                </a:cubicBezTo>
                <a:cubicBezTo>
                  <a:pt x="129" y="199"/>
                  <a:pt x="128" y="197"/>
                  <a:pt x="127" y="200"/>
                </a:cubicBezTo>
                <a:cubicBezTo>
                  <a:pt x="127" y="200"/>
                  <a:pt x="126" y="205"/>
                  <a:pt x="127" y="207"/>
                </a:cubicBezTo>
                <a:cubicBezTo>
                  <a:pt x="127" y="210"/>
                  <a:pt x="127" y="211"/>
                  <a:pt x="126" y="214"/>
                </a:cubicBezTo>
                <a:cubicBezTo>
                  <a:pt x="126" y="211"/>
                  <a:pt x="123" y="210"/>
                  <a:pt x="123" y="207"/>
                </a:cubicBezTo>
                <a:cubicBezTo>
                  <a:pt x="122" y="203"/>
                  <a:pt x="125" y="199"/>
                  <a:pt x="124" y="197"/>
                </a:cubicBezTo>
                <a:cubicBezTo>
                  <a:pt x="124" y="197"/>
                  <a:pt x="120" y="193"/>
                  <a:pt x="120" y="193"/>
                </a:cubicBezTo>
                <a:cubicBezTo>
                  <a:pt x="120" y="192"/>
                  <a:pt x="121" y="191"/>
                  <a:pt x="120" y="190"/>
                </a:cubicBezTo>
                <a:cubicBezTo>
                  <a:pt x="120" y="191"/>
                  <a:pt x="120" y="191"/>
                  <a:pt x="119" y="192"/>
                </a:cubicBezTo>
                <a:cubicBezTo>
                  <a:pt x="120" y="192"/>
                  <a:pt x="120" y="192"/>
                  <a:pt x="120" y="192"/>
                </a:cubicBezTo>
                <a:cubicBezTo>
                  <a:pt x="120" y="193"/>
                  <a:pt x="121" y="194"/>
                  <a:pt x="121" y="195"/>
                </a:cubicBezTo>
                <a:cubicBezTo>
                  <a:pt x="121" y="195"/>
                  <a:pt x="121" y="195"/>
                  <a:pt x="121" y="195"/>
                </a:cubicBezTo>
                <a:cubicBezTo>
                  <a:pt x="121" y="195"/>
                  <a:pt x="121" y="195"/>
                  <a:pt x="121" y="195"/>
                </a:cubicBezTo>
                <a:cubicBezTo>
                  <a:pt x="121" y="197"/>
                  <a:pt x="121" y="198"/>
                  <a:pt x="120" y="198"/>
                </a:cubicBezTo>
                <a:cubicBezTo>
                  <a:pt x="120" y="198"/>
                  <a:pt x="119" y="198"/>
                  <a:pt x="119" y="198"/>
                </a:cubicBezTo>
                <a:cubicBezTo>
                  <a:pt x="118" y="198"/>
                  <a:pt x="117" y="197"/>
                  <a:pt x="117" y="196"/>
                </a:cubicBezTo>
                <a:cubicBezTo>
                  <a:pt x="116" y="195"/>
                  <a:pt x="117" y="192"/>
                  <a:pt x="118" y="192"/>
                </a:cubicBezTo>
                <a:cubicBezTo>
                  <a:pt x="118" y="192"/>
                  <a:pt x="118" y="192"/>
                  <a:pt x="118" y="192"/>
                </a:cubicBezTo>
                <a:cubicBezTo>
                  <a:pt x="117" y="192"/>
                  <a:pt x="117" y="190"/>
                  <a:pt x="117" y="189"/>
                </a:cubicBezTo>
                <a:cubicBezTo>
                  <a:pt x="116" y="189"/>
                  <a:pt x="116" y="189"/>
                  <a:pt x="116" y="190"/>
                </a:cubicBezTo>
                <a:cubicBezTo>
                  <a:pt x="116" y="190"/>
                  <a:pt x="116" y="190"/>
                  <a:pt x="116" y="190"/>
                </a:cubicBezTo>
                <a:cubicBezTo>
                  <a:pt x="116" y="191"/>
                  <a:pt x="116" y="191"/>
                  <a:pt x="115" y="190"/>
                </a:cubicBezTo>
                <a:cubicBezTo>
                  <a:pt x="114" y="192"/>
                  <a:pt x="114" y="194"/>
                  <a:pt x="113" y="196"/>
                </a:cubicBezTo>
                <a:cubicBezTo>
                  <a:pt x="112" y="194"/>
                  <a:pt x="112" y="194"/>
                  <a:pt x="111" y="194"/>
                </a:cubicBezTo>
                <a:cubicBezTo>
                  <a:pt x="112" y="196"/>
                  <a:pt x="112" y="199"/>
                  <a:pt x="110" y="197"/>
                </a:cubicBezTo>
                <a:cubicBezTo>
                  <a:pt x="110" y="197"/>
                  <a:pt x="110" y="196"/>
                  <a:pt x="110" y="196"/>
                </a:cubicBezTo>
                <a:cubicBezTo>
                  <a:pt x="109" y="197"/>
                  <a:pt x="109" y="197"/>
                  <a:pt x="108" y="197"/>
                </a:cubicBezTo>
                <a:cubicBezTo>
                  <a:pt x="110" y="200"/>
                  <a:pt x="111" y="202"/>
                  <a:pt x="112" y="205"/>
                </a:cubicBezTo>
                <a:cubicBezTo>
                  <a:pt x="113" y="208"/>
                  <a:pt x="109" y="203"/>
                  <a:pt x="109" y="202"/>
                </a:cubicBezTo>
                <a:cubicBezTo>
                  <a:pt x="108" y="201"/>
                  <a:pt x="108" y="199"/>
                  <a:pt x="107" y="197"/>
                </a:cubicBezTo>
                <a:cubicBezTo>
                  <a:pt x="107" y="197"/>
                  <a:pt x="106" y="196"/>
                  <a:pt x="106" y="196"/>
                </a:cubicBezTo>
                <a:cubicBezTo>
                  <a:pt x="106" y="196"/>
                  <a:pt x="106" y="195"/>
                  <a:pt x="106" y="194"/>
                </a:cubicBezTo>
                <a:cubicBezTo>
                  <a:pt x="105" y="193"/>
                  <a:pt x="104" y="192"/>
                  <a:pt x="103" y="191"/>
                </a:cubicBezTo>
                <a:cubicBezTo>
                  <a:pt x="102" y="190"/>
                  <a:pt x="101" y="189"/>
                  <a:pt x="100" y="190"/>
                </a:cubicBezTo>
                <a:cubicBezTo>
                  <a:pt x="100" y="190"/>
                  <a:pt x="100" y="191"/>
                  <a:pt x="99" y="191"/>
                </a:cubicBezTo>
                <a:cubicBezTo>
                  <a:pt x="99" y="191"/>
                  <a:pt x="99" y="191"/>
                  <a:pt x="99" y="191"/>
                </a:cubicBezTo>
                <a:cubicBezTo>
                  <a:pt x="99" y="192"/>
                  <a:pt x="99" y="192"/>
                  <a:pt x="99" y="192"/>
                </a:cubicBezTo>
                <a:cubicBezTo>
                  <a:pt x="99" y="193"/>
                  <a:pt x="99" y="195"/>
                  <a:pt x="98" y="194"/>
                </a:cubicBezTo>
                <a:cubicBezTo>
                  <a:pt x="98" y="195"/>
                  <a:pt x="98" y="195"/>
                  <a:pt x="98" y="195"/>
                </a:cubicBezTo>
                <a:cubicBezTo>
                  <a:pt x="96" y="195"/>
                  <a:pt x="96" y="194"/>
                  <a:pt x="95" y="192"/>
                </a:cubicBezTo>
                <a:cubicBezTo>
                  <a:pt x="94" y="192"/>
                  <a:pt x="94" y="192"/>
                  <a:pt x="93" y="192"/>
                </a:cubicBezTo>
                <a:cubicBezTo>
                  <a:pt x="93" y="192"/>
                  <a:pt x="93" y="191"/>
                  <a:pt x="93" y="191"/>
                </a:cubicBezTo>
                <a:cubicBezTo>
                  <a:pt x="92" y="193"/>
                  <a:pt x="92" y="194"/>
                  <a:pt x="92" y="196"/>
                </a:cubicBezTo>
                <a:cubicBezTo>
                  <a:pt x="92" y="197"/>
                  <a:pt x="92" y="199"/>
                  <a:pt x="91" y="199"/>
                </a:cubicBezTo>
                <a:cubicBezTo>
                  <a:pt x="91" y="200"/>
                  <a:pt x="90" y="201"/>
                  <a:pt x="89" y="201"/>
                </a:cubicBezTo>
                <a:cubicBezTo>
                  <a:pt x="90" y="202"/>
                  <a:pt x="90" y="202"/>
                  <a:pt x="89" y="203"/>
                </a:cubicBezTo>
                <a:cubicBezTo>
                  <a:pt x="88" y="204"/>
                  <a:pt x="86" y="205"/>
                  <a:pt x="85" y="203"/>
                </a:cubicBezTo>
                <a:cubicBezTo>
                  <a:pt x="85" y="203"/>
                  <a:pt x="85" y="203"/>
                  <a:pt x="85" y="203"/>
                </a:cubicBezTo>
                <a:cubicBezTo>
                  <a:pt x="85" y="203"/>
                  <a:pt x="84" y="203"/>
                  <a:pt x="84" y="203"/>
                </a:cubicBezTo>
                <a:cubicBezTo>
                  <a:pt x="84" y="204"/>
                  <a:pt x="85" y="205"/>
                  <a:pt x="84" y="206"/>
                </a:cubicBezTo>
                <a:cubicBezTo>
                  <a:pt x="85" y="206"/>
                  <a:pt x="86" y="207"/>
                  <a:pt x="86" y="207"/>
                </a:cubicBezTo>
                <a:cubicBezTo>
                  <a:pt x="87" y="207"/>
                  <a:pt x="87" y="209"/>
                  <a:pt x="88" y="210"/>
                </a:cubicBezTo>
                <a:cubicBezTo>
                  <a:pt x="90" y="211"/>
                  <a:pt x="90" y="212"/>
                  <a:pt x="91" y="213"/>
                </a:cubicBezTo>
                <a:cubicBezTo>
                  <a:pt x="91" y="214"/>
                  <a:pt x="92" y="213"/>
                  <a:pt x="92" y="213"/>
                </a:cubicBezTo>
                <a:cubicBezTo>
                  <a:pt x="92" y="215"/>
                  <a:pt x="91" y="216"/>
                  <a:pt x="92" y="216"/>
                </a:cubicBezTo>
                <a:cubicBezTo>
                  <a:pt x="92" y="216"/>
                  <a:pt x="92" y="217"/>
                  <a:pt x="92" y="217"/>
                </a:cubicBezTo>
                <a:cubicBezTo>
                  <a:pt x="92" y="217"/>
                  <a:pt x="92" y="217"/>
                  <a:pt x="92" y="217"/>
                </a:cubicBezTo>
                <a:cubicBezTo>
                  <a:pt x="92" y="217"/>
                  <a:pt x="92" y="217"/>
                  <a:pt x="92" y="218"/>
                </a:cubicBezTo>
                <a:cubicBezTo>
                  <a:pt x="92" y="219"/>
                  <a:pt x="93" y="219"/>
                  <a:pt x="93" y="220"/>
                </a:cubicBezTo>
                <a:cubicBezTo>
                  <a:pt x="93" y="220"/>
                  <a:pt x="92" y="219"/>
                  <a:pt x="92" y="219"/>
                </a:cubicBezTo>
                <a:cubicBezTo>
                  <a:pt x="90" y="221"/>
                  <a:pt x="87" y="226"/>
                  <a:pt x="86" y="226"/>
                </a:cubicBezTo>
                <a:cubicBezTo>
                  <a:pt x="84" y="226"/>
                  <a:pt x="83" y="222"/>
                  <a:pt x="81" y="220"/>
                </a:cubicBezTo>
                <a:cubicBezTo>
                  <a:pt x="80" y="220"/>
                  <a:pt x="79" y="222"/>
                  <a:pt x="78" y="221"/>
                </a:cubicBezTo>
                <a:cubicBezTo>
                  <a:pt x="77" y="219"/>
                  <a:pt x="79" y="219"/>
                  <a:pt x="80" y="218"/>
                </a:cubicBezTo>
                <a:cubicBezTo>
                  <a:pt x="80" y="217"/>
                  <a:pt x="80" y="213"/>
                  <a:pt x="80" y="210"/>
                </a:cubicBezTo>
                <a:cubicBezTo>
                  <a:pt x="80" y="209"/>
                  <a:pt x="81" y="208"/>
                  <a:pt x="81" y="207"/>
                </a:cubicBezTo>
                <a:cubicBezTo>
                  <a:pt x="80" y="206"/>
                  <a:pt x="79" y="202"/>
                  <a:pt x="79" y="201"/>
                </a:cubicBezTo>
                <a:cubicBezTo>
                  <a:pt x="78" y="201"/>
                  <a:pt x="78" y="203"/>
                  <a:pt x="77" y="203"/>
                </a:cubicBezTo>
                <a:cubicBezTo>
                  <a:pt x="77" y="202"/>
                  <a:pt x="78" y="201"/>
                  <a:pt x="78" y="200"/>
                </a:cubicBezTo>
                <a:cubicBezTo>
                  <a:pt x="77" y="198"/>
                  <a:pt x="76" y="194"/>
                  <a:pt x="76" y="192"/>
                </a:cubicBezTo>
                <a:cubicBezTo>
                  <a:pt x="75" y="192"/>
                  <a:pt x="74" y="192"/>
                  <a:pt x="74" y="193"/>
                </a:cubicBezTo>
                <a:cubicBezTo>
                  <a:pt x="74" y="194"/>
                  <a:pt x="75" y="194"/>
                  <a:pt x="75" y="194"/>
                </a:cubicBezTo>
                <a:cubicBezTo>
                  <a:pt x="75" y="194"/>
                  <a:pt x="74" y="197"/>
                  <a:pt x="73" y="200"/>
                </a:cubicBezTo>
                <a:cubicBezTo>
                  <a:pt x="73" y="201"/>
                  <a:pt x="73" y="201"/>
                  <a:pt x="72" y="202"/>
                </a:cubicBezTo>
                <a:cubicBezTo>
                  <a:pt x="72" y="202"/>
                  <a:pt x="72" y="202"/>
                  <a:pt x="72" y="202"/>
                </a:cubicBezTo>
                <a:cubicBezTo>
                  <a:pt x="72" y="202"/>
                  <a:pt x="72" y="202"/>
                  <a:pt x="72" y="202"/>
                </a:cubicBezTo>
                <a:cubicBezTo>
                  <a:pt x="71" y="202"/>
                  <a:pt x="70" y="202"/>
                  <a:pt x="70" y="202"/>
                </a:cubicBezTo>
                <a:cubicBezTo>
                  <a:pt x="68" y="205"/>
                  <a:pt x="70" y="208"/>
                  <a:pt x="69" y="210"/>
                </a:cubicBezTo>
                <a:cubicBezTo>
                  <a:pt x="69" y="210"/>
                  <a:pt x="69" y="211"/>
                  <a:pt x="69" y="212"/>
                </a:cubicBezTo>
                <a:cubicBezTo>
                  <a:pt x="69" y="212"/>
                  <a:pt x="69" y="212"/>
                  <a:pt x="69" y="212"/>
                </a:cubicBezTo>
                <a:cubicBezTo>
                  <a:pt x="70" y="212"/>
                  <a:pt x="73" y="217"/>
                  <a:pt x="71" y="218"/>
                </a:cubicBezTo>
                <a:cubicBezTo>
                  <a:pt x="70" y="219"/>
                  <a:pt x="68" y="218"/>
                  <a:pt x="67" y="216"/>
                </a:cubicBezTo>
                <a:cubicBezTo>
                  <a:pt x="67" y="216"/>
                  <a:pt x="67" y="216"/>
                  <a:pt x="67" y="216"/>
                </a:cubicBezTo>
                <a:cubicBezTo>
                  <a:pt x="66" y="216"/>
                  <a:pt x="66" y="216"/>
                  <a:pt x="66" y="216"/>
                </a:cubicBezTo>
                <a:cubicBezTo>
                  <a:pt x="66" y="216"/>
                  <a:pt x="66" y="216"/>
                  <a:pt x="66" y="216"/>
                </a:cubicBezTo>
                <a:cubicBezTo>
                  <a:pt x="66" y="216"/>
                  <a:pt x="66" y="216"/>
                  <a:pt x="66" y="216"/>
                </a:cubicBezTo>
                <a:cubicBezTo>
                  <a:pt x="66" y="217"/>
                  <a:pt x="66" y="219"/>
                  <a:pt x="66" y="219"/>
                </a:cubicBezTo>
                <a:cubicBezTo>
                  <a:pt x="66" y="219"/>
                  <a:pt x="66" y="219"/>
                  <a:pt x="66" y="220"/>
                </a:cubicBezTo>
                <a:cubicBezTo>
                  <a:pt x="67" y="220"/>
                  <a:pt x="68" y="220"/>
                  <a:pt x="68" y="220"/>
                </a:cubicBezTo>
                <a:cubicBezTo>
                  <a:pt x="70" y="221"/>
                  <a:pt x="70" y="224"/>
                  <a:pt x="72" y="226"/>
                </a:cubicBezTo>
                <a:cubicBezTo>
                  <a:pt x="73" y="227"/>
                  <a:pt x="76" y="230"/>
                  <a:pt x="76" y="231"/>
                </a:cubicBezTo>
                <a:cubicBezTo>
                  <a:pt x="76" y="232"/>
                  <a:pt x="74" y="233"/>
                  <a:pt x="73" y="233"/>
                </a:cubicBezTo>
                <a:cubicBezTo>
                  <a:pt x="73" y="234"/>
                  <a:pt x="74" y="234"/>
                  <a:pt x="74" y="234"/>
                </a:cubicBezTo>
                <a:cubicBezTo>
                  <a:pt x="75" y="235"/>
                  <a:pt x="74" y="236"/>
                  <a:pt x="73" y="237"/>
                </a:cubicBezTo>
                <a:cubicBezTo>
                  <a:pt x="73" y="238"/>
                  <a:pt x="73" y="239"/>
                  <a:pt x="72" y="239"/>
                </a:cubicBezTo>
                <a:cubicBezTo>
                  <a:pt x="72" y="239"/>
                  <a:pt x="71" y="238"/>
                  <a:pt x="70" y="237"/>
                </a:cubicBezTo>
                <a:cubicBezTo>
                  <a:pt x="69" y="236"/>
                  <a:pt x="68" y="235"/>
                  <a:pt x="70" y="234"/>
                </a:cubicBezTo>
                <a:cubicBezTo>
                  <a:pt x="70" y="233"/>
                  <a:pt x="70" y="233"/>
                  <a:pt x="68" y="234"/>
                </a:cubicBezTo>
                <a:cubicBezTo>
                  <a:pt x="68" y="235"/>
                  <a:pt x="68" y="236"/>
                  <a:pt x="67" y="236"/>
                </a:cubicBezTo>
                <a:cubicBezTo>
                  <a:pt x="66" y="236"/>
                  <a:pt x="65" y="235"/>
                  <a:pt x="65" y="234"/>
                </a:cubicBezTo>
                <a:cubicBezTo>
                  <a:pt x="64" y="235"/>
                  <a:pt x="63" y="237"/>
                  <a:pt x="62" y="237"/>
                </a:cubicBezTo>
                <a:cubicBezTo>
                  <a:pt x="62" y="237"/>
                  <a:pt x="59" y="236"/>
                  <a:pt x="58" y="235"/>
                </a:cubicBezTo>
                <a:cubicBezTo>
                  <a:pt x="58" y="234"/>
                  <a:pt x="57" y="231"/>
                  <a:pt x="57" y="231"/>
                </a:cubicBezTo>
                <a:cubicBezTo>
                  <a:pt x="56" y="231"/>
                  <a:pt x="56" y="232"/>
                  <a:pt x="56" y="233"/>
                </a:cubicBezTo>
                <a:cubicBezTo>
                  <a:pt x="56" y="233"/>
                  <a:pt x="57" y="233"/>
                  <a:pt x="57" y="233"/>
                </a:cubicBezTo>
                <a:cubicBezTo>
                  <a:pt x="57" y="233"/>
                  <a:pt x="57" y="233"/>
                  <a:pt x="57" y="233"/>
                </a:cubicBezTo>
                <a:cubicBezTo>
                  <a:pt x="57" y="233"/>
                  <a:pt x="57" y="233"/>
                  <a:pt x="57" y="233"/>
                </a:cubicBezTo>
                <a:cubicBezTo>
                  <a:pt x="57" y="234"/>
                  <a:pt x="58" y="235"/>
                  <a:pt x="57" y="236"/>
                </a:cubicBezTo>
                <a:cubicBezTo>
                  <a:pt x="57" y="236"/>
                  <a:pt x="57" y="236"/>
                  <a:pt x="56" y="236"/>
                </a:cubicBezTo>
                <a:cubicBezTo>
                  <a:pt x="56" y="236"/>
                  <a:pt x="56" y="237"/>
                  <a:pt x="56" y="237"/>
                </a:cubicBezTo>
                <a:cubicBezTo>
                  <a:pt x="56" y="237"/>
                  <a:pt x="56" y="237"/>
                  <a:pt x="55" y="236"/>
                </a:cubicBezTo>
                <a:cubicBezTo>
                  <a:pt x="55" y="236"/>
                  <a:pt x="55" y="237"/>
                  <a:pt x="55" y="237"/>
                </a:cubicBezTo>
                <a:cubicBezTo>
                  <a:pt x="54" y="236"/>
                  <a:pt x="54" y="233"/>
                  <a:pt x="55" y="233"/>
                </a:cubicBezTo>
                <a:cubicBezTo>
                  <a:pt x="55" y="232"/>
                  <a:pt x="55" y="230"/>
                  <a:pt x="56" y="230"/>
                </a:cubicBezTo>
                <a:cubicBezTo>
                  <a:pt x="56" y="230"/>
                  <a:pt x="57" y="231"/>
                  <a:pt x="57" y="231"/>
                </a:cubicBezTo>
                <a:cubicBezTo>
                  <a:pt x="58" y="230"/>
                  <a:pt x="57" y="229"/>
                  <a:pt x="57" y="229"/>
                </a:cubicBezTo>
                <a:cubicBezTo>
                  <a:pt x="57" y="228"/>
                  <a:pt x="58" y="227"/>
                  <a:pt x="58" y="226"/>
                </a:cubicBezTo>
                <a:cubicBezTo>
                  <a:pt x="58" y="225"/>
                  <a:pt x="58" y="224"/>
                  <a:pt x="59" y="224"/>
                </a:cubicBezTo>
                <a:cubicBezTo>
                  <a:pt x="60" y="223"/>
                  <a:pt x="60" y="224"/>
                  <a:pt x="60" y="225"/>
                </a:cubicBezTo>
                <a:cubicBezTo>
                  <a:pt x="61" y="225"/>
                  <a:pt x="61" y="225"/>
                  <a:pt x="61" y="225"/>
                </a:cubicBezTo>
                <a:cubicBezTo>
                  <a:pt x="61" y="224"/>
                  <a:pt x="61" y="222"/>
                  <a:pt x="62" y="221"/>
                </a:cubicBezTo>
                <a:cubicBezTo>
                  <a:pt x="62" y="221"/>
                  <a:pt x="62" y="222"/>
                  <a:pt x="63" y="222"/>
                </a:cubicBezTo>
                <a:cubicBezTo>
                  <a:pt x="62" y="220"/>
                  <a:pt x="62" y="219"/>
                  <a:pt x="61" y="218"/>
                </a:cubicBezTo>
                <a:cubicBezTo>
                  <a:pt x="61" y="218"/>
                  <a:pt x="61" y="217"/>
                  <a:pt x="61" y="217"/>
                </a:cubicBezTo>
                <a:cubicBezTo>
                  <a:pt x="60" y="218"/>
                  <a:pt x="60" y="218"/>
                  <a:pt x="59" y="218"/>
                </a:cubicBezTo>
                <a:cubicBezTo>
                  <a:pt x="57" y="219"/>
                  <a:pt x="58" y="213"/>
                  <a:pt x="60" y="216"/>
                </a:cubicBezTo>
                <a:cubicBezTo>
                  <a:pt x="60" y="216"/>
                  <a:pt x="60" y="216"/>
                  <a:pt x="60" y="215"/>
                </a:cubicBezTo>
                <a:cubicBezTo>
                  <a:pt x="60" y="214"/>
                  <a:pt x="59" y="212"/>
                  <a:pt x="58" y="213"/>
                </a:cubicBezTo>
                <a:cubicBezTo>
                  <a:pt x="57" y="213"/>
                  <a:pt x="58" y="216"/>
                  <a:pt x="57" y="216"/>
                </a:cubicBezTo>
                <a:cubicBezTo>
                  <a:pt x="56" y="217"/>
                  <a:pt x="54" y="213"/>
                  <a:pt x="54" y="213"/>
                </a:cubicBezTo>
                <a:cubicBezTo>
                  <a:pt x="54" y="213"/>
                  <a:pt x="53" y="213"/>
                  <a:pt x="53" y="213"/>
                </a:cubicBezTo>
                <a:cubicBezTo>
                  <a:pt x="55" y="215"/>
                  <a:pt x="55" y="219"/>
                  <a:pt x="55" y="221"/>
                </a:cubicBezTo>
                <a:cubicBezTo>
                  <a:pt x="54" y="223"/>
                  <a:pt x="51" y="223"/>
                  <a:pt x="51" y="224"/>
                </a:cubicBezTo>
                <a:cubicBezTo>
                  <a:pt x="51" y="226"/>
                  <a:pt x="51" y="228"/>
                  <a:pt x="52" y="230"/>
                </a:cubicBezTo>
                <a:cubicBezTo>
                  <a:pt x="51" y="229"/>
                  <a:pt x="51" y="228"/>
                  <a:pt x="50" y="227"/>
                </a:cubicBezTo>
                <a:cubicBezTo>
                  <a:pt x="49" y="227"/>
                  <a:pt x="50" y="226"/>
                  <a:pt x="49" y="225"/>
                </a:cubicBezTo>
                <a:cubicBezTo>
                  <a:pt x="49" y="225"/>
                  <a:pt x="49" y="225"/>
                  <a:pt x="48" y="225"/>
                </a:cubicBezTo>
                <a:cubicBezTo>
                  <a:pt x="48" y="226"/>
                  <a:pt x="48" y="226"/>
                  <a:pt x="48" y="226"/>
                </a:cubicBezTo>
                <a:cubicBezTo>
                  <a:pt x="47" y="227"/>
                  <a:pt x="47" y="226"/>
                  <a:pt x="47" y="225"/>
                </a:cubicBezTo>
                <a:cubicBezTo>
                  <a:pt x="47" y="225"/>
                  <a:pt x="46" y="225"/>
                  <a:pt x="46" y="225"/>
                </a:cubicBezTo>
                <a:cubicBezTo>
                  <a:pt x="45" y="225"/>
                  <a:pt x="44" y="225"/>
                  <a:pt x="43" y="225"/>
                </a:cubicBezTo>
                <a:cubicBezTo>
                  <a:pt x="43" y="225"/>
                  <a:pt x="43" y="226"/>
                  <a:pt x="42" y="226"/>
                </a:cubicBezTo>
                <a:cubicBezTo>
                  <a:pt x="42" y="226"/>
                  <a:pt x="42" y="226"/>
                  <a:pt x="42" y="226"/>
                </a:cubicBezTo>
                <a:cubicBezTo>
                  <a:pt x="42" y="226"/>
                  <a:pt x="42" y="226"/>
                  <a:pt x="42" y="226"/>
                </a:cubicBezTo>
                <a:cubicBezTo>
                  <a:pt x="41" y="226"/>
                  <a:pt x="41" y="226"/>
                  <a:pt x="40" y="225"/>
                </a:cubicBezTo>
                <a:cubicBezTo>
                  <a:pt x="39" y="225"/>
                  <a:pt x="38" y="225"/>
                  <a:pt x="37" y="225"/>
                </a:cubicBezTo>
                <a:cubicBezTo>
                  <a:pt x="37" y="225"/>
                  <a:pt x="36" y="225"/>
                  <a:pt x="36" y="225"/>
                </a:cubicBezTo>
                <a:cubicBezTo>
                  <a:pt x="36" y="226"/>
                  <a:pt x="36" y="226"/>
                  <a:pt x="35" y="226"/>
                </a:cubicBezTo>
                <a:cubicBezTo>
                  <a:pt x="35" y="226"/>
                  <a:pt x="35" y="226"/>
                  <a:pt x="34" y="225"/>
                </a:cubicBezTo>
                <a:cubicBezTo>
                  <a:pt x="33" y="225"/>
                  <a:pt x="32" y="224"/>
                  <a:pt x="31" y="224"/>
                </a:cubicBezTo>
                <a:cubicBezTo>
                  <a:pt x="31" y="224"/>
                  <a:pt x="31" y="224"/>
                  <a:pt x="31" y="224"/>
                </a:cubicBezTo>
                <a:cubicBezTo>
                  <a:pt x="31" y="226"/>
                  <a:pt x="31" y="228"/>
                  <a:pt x="30" y="228"/>
                </a:cubicBezTo>
                <a:cubicBezTo>
                  <a:pt x="28" y="229"/>
                  <a:pt x="27" y="225"/>
                  <a:pt x="27" y="223"/>
                </a:cubicBezTo>
                <a:cubicBezTo>
                  <a:pt x="28" y="225"/>
                  <a:pt x="28" y="224"/>
                  <a:pt x="29" y="223"/>
                </a:cubicBezTo>
                <a:cubicBezTo>
                  <a:pt x="28" y="223"/>
                  <a:pt x="27" y="223"/>
                  <a:pt x="27" y="223"/>
                </a:cubicBezTo>
                <a:cubicBezTo>
                  <a:pt x="26" y="224"/>
                  <a:pt x="25" y="224"/>
                  <a:pt x="25" y="223"/>
                </a:cubicBezTo>
                <a:cubicBezTo>
                  <a:pt x="24" y="223"/>
                  <a:pt x="25" y="221"/>
                  <a:pt x="26" y="220"/>
                </a:cubicBezTo>
                <a:cubicBezTo>
                  <a:pt x="26" y="220"/>
                  <a:pt x="26" y="220"/>
                  <a:pt x="26" y="220"/>
                </a:cubicBezTo>
                <a:cubicBezTo>
                  <a:pt x="26" y="219"/>
                  <a:pt x="25" y="218"/>
                  <a:pt x="23" y="216"/>
                </a:cubicBezTo>
                <a:cubicBezTo>
                  <a:pt x="23" y="217"/>
                  <a:pt x="22" y="217"/>
                  <a:pt x="22" y="217"/>
                </a:cubicBezTo>
                <a:cubicBezTo>
                  <a:pt x="22" y="216"/>
                  <a:pt x="22" y="216"/>
                  <a:pt x="23" y="215"/>
                </a:cubicBezTo>
                <a:cubicBezTo>
                  <a:pt x="22" y="215"/>
                  <a:pt x="22" y="215"/>
                  <a:pt x="22" y="215"/>
                </a:cubicBezTo>
                <a:cubicBezTo>
                  <a:pt x="22" y="215"/>
                  <a:pt x="21" y="216"/>
                  <a:pt x="21" y="216"/>
                </a:cubicBezTo>
                <a:cubicBezTo>
                  <a:pt x="20" y="217"/>
                  <a:pt x="18" y="217"/>
                  <a:pt x="18" y="219"/>
                </a:cubicBezTo>
                <a:cubicBezTo>
                  <a:pt x="17" y="219"/>
                  <a:pt x="18" y="218"/>
                  <a:pt x="17" y="218"/>
                </a:cubicBezTo>
                <a:cubicBezTo>
                  <a:pt x="18" y="220"/>
                  <a:pt x="16" y="219"/>
                  <a:pt x="16" y="221"/>
                </a:cubicBezTo>
                <a:cubicBezTo>
                  <a:pt x="19" y="219"/>
                  <a:pt x="20" y="220"/>
                  <a:pt x="21" y="223"/>
                </a:cubicBezTo>
                <a:cubicBezTo>
                  <a:pt x="21" y="222"/>
                  <a:pt x="22" y="222"/>
                  <a:pt x="22" y="223"/>
                </a:cubicBezTo>
                <a:cubicBezTo>
                  <a:pt x="22" y="223"/>
                  <a:pt x="22" y="223"/>
                  <a:pt x="23" y="223"/>
                </a:cubicBezTo>
                <a:cubicBezTo>
                  <a:pt x="23" y="223"/>
                  <a:pt x="23" y="223"/>
                  <a:pt x="23" y="223"/>
                </a:cubicBezTo>
                <a:cubicBezTo>
                  <a:pt x="23" y="223"/>
                  <a:pt x="23" y="223"/>
                  <a:pt x="23" y="223"/>
                </a:cubicBezTo>
                <a:cubicBezTo>
                  <a:pt x="24" y="224"/>
                  <a:pt x="25" y="226"/>
                  <a:pt x="25" y="226"/>
                </a:cubicBezTo>
                <a:cubicBezTo>
                  <a:pt x="25" y="226"/>
                  <a:pt x="25" y="228"/>
                  <a:pt x="25" y="228"/>
                </a:cubicBezTo>
                <a:cubicBezTo>
                  <a:pt x="27" y="228"/>
                  <a:pt x="31" y="229"/>
                  <a:pt x="31" y="231"/>
                </a:cubicBezTo>
                <a:cubicBezTo>
                  <a:pt x="32" y="232"/>
                  <a:pt x="31" y="236"/>
                  <a:pt x="31" y="237"/>
                </a:cubicBezTo>
                <a:cubicBezTo>
                  <a:pt x="31" y="237"/>
                  <a:pt x="29" y="237"/>
                  <a:pt x="29" y="238"/>
                </a:cubicBezTo>
                <a:cubicBezTo>
                  <a:pt x="27" y="241"/>
                  <a:pt x="27" y="237"/>
                  <a:pt x="26" y="242"/>
                </a:cubicBezTo>
                <a:cubicBezTo>
                  <a:pt x="25" y="241"/>
                  <a:pt x="24" y="239"/>
                  <a:pt x="23" y="239"/>
                </a:cubicBezTo>
                <a:cubicBezTo>
                  <a:pt x="23" y="239"/>
                  <a:pt x="21" y="239"/>
                  <a:pt x="22" y="239"/>
                </a:cubicBezTo>
                <a:cubicBezTo>
                  <a:pt x="20" y="238"/>
                  <a:pt x="22" y="235"/>
                  <a:pt x="20" y="233"/>
                </a:cubicBezTo>
                <a:cubicBezTo>
                  <a:pt x="20" y="234"/>
                  <a:pt x="20" y="235"/>
                  <a:pt x="19" y="236"/>
                </a:cubicBezTo>
                <a:cubicBezTo>
                  <a:pt x="20" y="237"/>
                  <a:pt x="20" y="238"/>
                  <a:pt x="18" y="238"/>
                </a:cubicBezTo>
                <a:cubicBezTo>
                  <a:pt x="22" y="239"/>
                  <a:pt x="22" y="249"/>
                  <a:pt x="17" y="249"/>
                </a:cubicBezTo>
                <a:cubicBezTo>
                  <a:pt x="17" y="249"/>
                  <a:pt x="17" y="249"/>
                  <a:pt x="17" y="249"/>
                </a:cubicBezTo>
                <a:cubicBezTo>
                  <a:pt x="17" y="249"/>
                  <a:pt x="17" y="249"/>
                  <a:pt x="17" y="250"/>
                </a:cubicBezTo>
                <a:cubicBezTo>
                  <a:pt x="20" y="251"/>
                  <a:pt x="21" y="254"/>
                  <a:pt x="20" y="258"/>
                </a:cubicBezTo>
                <a:cubicBezTo>
                  <a:pt x="20" y="257"/>
                  <a:pt x="20" y="258"/>
                  <a:pt x="20" y="258"/>
                </a:cubicBezTo>
                <a:cubicBezTo>
                  <a:pt x="21" y="261"/>
                  <a:pt x="23" y="263"/>
                  <a:pt x="23" y="265"/>
                </a:cubicBezTo>
                <a:cubicBezTo>
                  <a:pt x="23" y="266"/>
                  <a:pt x="23" y="267"/>
                  <a:pt x="23" y="268"/>
                </a:cubicBezTo>
                <a:cubicBezTo>
                  <a:pt x="23" y="270"/>
                  <a:pt x="27" y="272"/>
                  <a:pt x="26" y="275"/>
                </a:cubicBezTo>
                <a:cubicBezTo>
                  <a:pt x="26" y="276"/>
                  <a:pt x="26" y="275"/>
                  <a:pt x="27" y="277"/>
                </a:cubicBezTo>
                <a:cubicBezTo>
                  <a:pt x="27" y="278"/>
                  <a:pt x="28" y="280"/>
                  <a:pt x="28" y="281"/>
                </a:cubicBezTo>
                <a:cubicBezTo>
                  <a:pt x="29" y="282"/>
                  <a:pt x="30" y="285"/>
                  <a:pt x="30" y="285"/>
                </a:cubicBezTo>
                <a:cubicBezTo>
                  <a:pt x="32" y="287"/>
                  <a:pt x="32" y="285"/>
                  <a:pt x="32" y="287"/>
                </a:cubicBezTo>
                <a:cubicBezTo>
                  <a:pt x="31" y="288"/>
                  <a:pt x="32" y="288"/>
                  <a:pt x="32" y="289"/>
                </a:cubicBezTo>
                <a:cubicBezTo>
                  <a:pt x="32" y="288"/>
                  <a:pt x="32" y="288"/>
                  <a:pt x="32" y="288"/>
                </a:cubicBezTo>
                <a:cubicBezTo>
                  <a:pt x="33" y="287"/>
                  <a:pt x="34" y="290"/>
                  <a:pt x="33" y="290"/>
                </a:cubicBezTo>
                <a:cubicBezTo>
                  <a:pt x="33" y="291"/>
                  <a:pt x="34" y="291"/>
                  <a:pt x="34" y="292"/>
                </a:cubicBezTo>
                <a:cubicBezTo>
                  <a:pt x="34" y="292"/>
                  <a:pt x="35" y="292"/>
                  <a:pt x="35" y="292"/>
                </a:cubicBezTo>
                <a:cubicBezTo>
                  <a:pt x="36" y="288"/>
                  <a:pt x="34" y="286"/>
                  <a:pt x="38" y="288"/>
                </a:cubicBezTo>
                <a:cubicBezTo>
                  <a:pt x="39" y="288"/>
                  <a:pt x="39" y="287"/>
                  <a:pt x="40" y="288"/>
                </a:cubicBezTo>
                <a:cubicBezTo>
                  <a:pt x="42" y="289"/>
                  <a:pt x="39" y="291"/>
                  <a:pt x="38" y="290"/>
                </a:cubicBezTo>
                <a:cubicBezTo>
                  <a:pt x="39" y="291"/>
                  <a:pt x="40" y="291"/>
                  <a:pt x="41" y="289"/>
                </a:cubicBezTo>
                <a:cubicBezTo>
                  <a:pt x="42" y="289"/>
                  <a:pt x="42" y="292"/>
                  <a:pt x="41" y="293"/>
                </a:cubicBezTo>
                <a:cubicBezTo>
                  <a:pt x="41" y="293"/>
                  <a:pt x="38" y="295"/>
                  <a:pt x="37" y="296"/>
                </a:cubicBezTo>
                <a:cubicBezTo>
                  <a:pt x="37" y="297"/>
                  <a:pt x="38" y="298"/>
                  <a:pt x="38" y="299"/>
                </a:cubicBezTo>
                <a:cubicBezTo>
                  <a:pt x="40" y="301"/>
                  <a:pt x="40" y="304"/>
                  <a:pt x="41" y="306"/>
                </a:cubicBezTo>
                <a:cubicBezTo>
                  <a:pt x="42" y="307"/>
                  <a:pt x="42" y="307"/>
                  <a:pt x="42" y="309"/>
                </a:cubicBezTo>
                <a:cubicBezTo>
                  <a:pt x="42" y="310"/>
                  <a:pt x="43" y="310"/>
                  <a:pt x="43" y="311"/>
                </a:cubicBezTo>
                <a:cubicBezTo>
                  <a:pt x="44" y="313"/>
                  <a:pt x="45" y="316"/>
                  <a:pt x="46" y="318"/>
                </a:cubicBezTo>
                <a:cubicBezTo>
                  <a:pt x="46" y="318"/>
                  <a:pt x="46" y="317"/>
                  <a:pt x="46" y="318"/>
                </a:cubicBezTo>
                <a:cubicBezTo>
                  <a:pt x="46" y="318"/>
                  <a:pt x="46" y="318"/>
                  <a:pt x="46" y="318"/>
                </a:cubicBezTo>
                <a:cubicBezTo>
                  <a:pt x="46" y="319"/>
                  <a:pt x="46" y="319"/>
                  <a:pt x="47" y="320"/>
                </a:cubicBezTo>
                <a:cubicBezTo>
                  <a:pt x="47" y="320"/>
                  <a:pt x="47" y="324"/>
                  <a:pt x="48" y="324"/>
                </a:cubicBezTo>
                <a:cubicBezTo>
                  <a:pt x="48" y="324"/>
                  <a:pt x="47" y="317"/>
                  <a:pt x="51" y="319"/>
                </a:cubicBezTo>
                <a:cubicBezTo>
                  <a:pt x="51" y="319"/>
                  <a:pt x="52" y="319"/>
                  <a:pt x="52" y="320"/>
                </a:cubicBezTo>
                <a:cubicBezTo>
                  <a:pt x="51" y="316"/>
                  <a:pt x="51" y="310"/>
                  <a:pt x="53" y="306"/>
                </a:cubicBezTo>
                <a:cubicBezTo>
                  <a:pt x="50" y="306"/>
                  <a:pt x="50" y="314"/>
                  <a:pt x="47" y="314"/>
                </a:cubicBezTo>
                <a:cubicBezTo>
                  <a:pt x="45" y="314"/>
                  <a:pt x="48" y="308"/>
                  <a:pt x="46" y="306"/>
                </a:cubicBezTo>
                <a:cubicBezTo>
                  <a:pt x="45" y="305"/>
                  <a:pt x="45" y="306"/>
                  <a:pt x="44" y="305"/>
                </a:cubicBezTo>
                <a:cubicBezTo>
                  <a:pt x="44" y="304"/>
                  <a:pt x="46" y="301"/>
                  <a:pt x="43" y="301"/>
                </a:cubicBezTo>
                <a:cubicBezTo>
                  <a:pt x="40" y="302"/>
                  <a:pt x="46" y="290"/>
                  <a:pt x="49" y="289"/>
                </a:cubicBezTo>
                <a:cubicBezTo>
                  <a:pt x="51" y="289"/>
                  <a:pt x="55" y="290"/>
                  <a:pt x="55" y="291"/>
                </a:cubicBezTo>
                <a:cubicBezTo>
                  <a:pt x="55" y="291"/>
                  <a:pt x="56" y="298"/>
                  <a:pt x="56" y="298"/>
                </a:cubicBezTo>
                <a:cubicBezTo>
                  <a:pt x="56" y="299"/>
                  <a:pt x="56" y="300"/>
                  <a:pt x="56" y="301"/>
                </a:cubicBezTo>
                <a:cubicBezTo>
                  <a:pt x="56" y="301"/>
                  <a:pt x="56" y="301"/>
                  <a:pt x="57" y="300"/>
                </a:cubicBezTo>
                <a:cubicBezTo>
                  <a:pt x="58" y="300"/>
                  <a:pt x="60" y="299"/>
                  <a:pt x="61" y="300"/>
                </a:cubicBezTo>
                <a:cubicBezTo>
                  <a:pt x="66" y="303"/>
                  <a:pt x="64" y="314"/>
                  <a:pt x="63" y="319"/>
                </a:cubicBezTo>
                <a:cubicBezTo>
                  <a:pt x="63" y="318"/>
                  <a:pt x="64" y="318"/>
                  <a:pt x="65" y="318"/>
                </a:cubicBezTo>
                <a:cubicBezTo>
                  <a:pt x="68" y="319"/>
                  <a:pt x="67" y="328"/>
                  <a:pt x="64" y="328"/>
                </a:cubicBezTo>
                <a:cubicBezTo>
                  <a:pt x="64" y="328"/>
                  <a:pt x="64" y="330"/>
                  <a:pt x="63" y="330"/>
                </a:cubicBezTo>
                <a:cubicBezTo>
                  <a:pt x="63" y="330"/>
                  <a:pt x="62" y="328"/>
                  <a:pt x="63" y="328"/>
                </a:cubicBezTo>
                <a:cubicBezTo>
                  <a:pt x="61" y="327"/>
                  <a:pt x="61" y="324"/>
                  <a:pt x="61" y="322"/>
                </a:cubicBezTo>
                <a:cubicBezTo>
                  <a:pt x="61" y="321"/>
                  <a:pt x="60" y="319"/>
                  <a:pt x="58" y="318"/>
                </a:cubicBezTo>
                <a:cubicBezTo>
                  <a:pt x="58" y="318"/>
                  <a:pt x="56" y="319"/>
                  <a:pt x="56" y="319"/>
                </a:cubicBezTo>
                <a:cubicBezTo>
                  <a:pt x="56" y="318"/>
                  <a:pt x="55" y="316"/>
                  <a:pt x="54" y="316"/>
                </a:cubicBezTo>
                <a:cubicBezTo>
                  <a:pt x="52" y="316"/>
                  <a:pt x="53" y="319"/>
                  <a:pt x="52" y="321"/>
                </a:cubicBezTo>
                <a:cubicBezTo>
                  <a:pt x="53" y="324"/>
                  <a:pt x="52" y="328"/>
                  <a:pt x="51" y="329"/>
                </a:cubicBezTo>
                <a:cubicBezTo>
                  <a:pt x="50" y="329"/>
                  <a:pt x="49" y="329"/>
                  <a:pt x="49" y="329"/>
                </a:cubicBezTo>
                <a:cubicBezTo>
                  <a:pt x="49" y="330"/>
                  <a:pt x="50" y="330"/>
                  <a:pt x="50" y="331"/>
                </a:cubicBezTo>
                <a:cubicBezTo>
                  <a:pt x="51" y="332"/>
                  <a:pt x="52" y="333"/>
                  <a:pt x="53" y="334"/>
                </a:cubicBezTo>
                <a:cubicBezTo>
                  <a:pt x="53" y="335"/>
                  <a:pt x="53" y="335"/>
                  <a:pt x="53" y="336"/>
                </a:cubicBezTo>
                <a:cubicBezTo>
                  <a:pt x="56" y="333"/>
                  <a:pt x="57" y="335"/>
                  <a:pt x="56" y="337"/>
                </a:cubicBezTo>
                <a:cubicBezTo>
                  <a:pt x="57" y="338"/>
                  <a:pt x="57" y="339"/>
                  <a:pt x="57" y="339"/>
                </a:cubicBezTo>
                <a:cubicBezTo>
                  <a:pt x="57" y="340"/>
                  <a:pt x="56" y="340"/>
                  <a:pt x="56" y="339"/>
                </a:cubicBezTo>
                <a:cubicBezTo>
                  <a:pt x="56" y="340"/>
                  <a:pt x="56" y="341"/>
                  <a:pt x="55" y="341"/>
                </a:cubicBezTo>
                <a:cubicBezTo>
                  <a:pt x="55" y="341"/>
                  <a:pt x="56" y="342"/>
                  <a:pt x="56" y="342"/>
                </a:cubicBezTo>
                <a:cubicBezTo>
                  <a:pt x="56" y="343"/>
                  <a:pt x="57" y="343"/>
                  <a:pt x="57" y="343"/>
                </a:cubicBezTo>
                <a:cubicBezTo>
                  <a:pt x="58" y="344"/>
                  <a:pt x="57" y="345"/>
                  <a:pt x="57" y="345"/>
                </a:cubicBezTo>
                <a:cubicBezTo>
                  <a:pt x="58" y="346"/>
                  <a:pt x="59" y="347"/>
                  <a:pt x="60" y="348"/>
                </a:cubicBezTo>
                <a:cubicBezTo>
                  <a:pt x="60" y="348"/>
                  <a:pt x="61" y="348"/>
                  <a:pt x="61" y="350"/>
                </a:cubicBezTo>
                <a:cubicBezTo>
                  <a:pt x="62" y="351"/>
                  <a:pt x="62" y="351"/>
                  <a:pt x="63" y="352"/>
                </a:cubicBezTo>
                <a:cubicBezTo>
                  <a:pt x="65" y="356"/>
                  <a:pt x="66" y="361"/>
                  <a:pt x="68" y="365"/>
                </a:cubicBezTo>
                <a:cubicBezTo>
                  <a:pt x="68" y="366"/>
                  <a:pt x="68" y="366"/>
                  <a:pt x="68" y="366"/>
                </a:cubicBezTo>
                <a:cubicBezTo>
                  <a:pt x="68" y="366"/>
                  <a:pt x="69" y="365"/>
                  <a:pt x="68" y="365"/>
                </a:cubicBezTo>
                <a:cubicBezTo>
                  <a:pt x="68" y="364"/>
                  <a:pt x="69" y="362"/>
                  <a:pt x="71" y="361"/>
                </a:cubicBezTo>
                <a:cubicBezTo>
                  <a:pt x="71" y="360"/>
                  <a:pt x="71" y="360"/>
                  <a:pt x="71" y="360"/>
                </a:cubicBezTo>
                <a:cubicBezTo>
                  <a:pt x="72" y="360"/>
                  <a:pt x="74" y="359"/>
                  <a:pt x="75" y="359"/>
                </a:cubicBezTo>
                <a:cubicBezTo>
                  <a:pt x="82" y="360"/>
                  <a:pt x="82" y="374"/>
                  <a:pt x="79" y="380"/>
                </a:cubicBezTo>
                <a:cubicBezTo>
                  <a:pt x="79" y="381"/>
                  <a:pt x="77" y="383"/>
                  <a:pt x="75" y="384"/>
                </a:cubicBezTo>
                <a:cubicBezTo>
                  <a:pt x="76" y="386"/>
                  <a:pt x="77" y="388"/>
                  <a:pt x="76" y="388"/>
                </a:cubicBezTo>
                <a:cubicBezTo>
                  <a:pt x="75" y="389"/>
                  <a:pt x="75" y="387"/>
                  <a:pt x="74" y="385"/>
                </a:cubicBezTo>
                <a:cubicBezTo>
                  <a:pt x="74" y="385"/>
                  <a:pt x="74" y="385"/>
                  <a:pt x="74" y="385"/>
                </a:cubicBezTo>
                <a:cubicBezTo>
                  <a:pt x="73" y="386"/>
                  <a:pt x="73" y="388"/>
                  <a:pt x="72" y="388"/>
                </a:cubicBezTo>
                <a:cubicBezTo>
                  <a:pt x="71" y="388"/>
                  <a:pt x="69" y="384"/>
                  <a:pt x="67" y="380"/>
                </a:cubicBezTo>
                <a:cubicBezTo>
                  <a:pt x="68" y="385"/>
                  <a:pt x="68" y="392"/>
                  <a:pt x="69" y="397"/>
                </a:cubicBezTo>
                <a:cubicBezTo>
                  <a:pt x="69" y="397"/>
                  <a:pt x="71" y="404"/>
                  <a:pt x="70" y="404"/>
                </a:cubicBezTo>
                <a:cubicBezTo>
                  <a:pt x="69" y="405"/>
                  <a:pt x="69" y="398"/>
                  <a:pt x="69" y="397"/>
                </a:cubicBezTo>
                <a:cubicBezTo>
                  <a:pt x="68" y="391"/>
                  <a:pt x="66" y="381"/>
                  <a:pt x="65" y="375"/>
                </a:cubicBezTo>
                <a:cubicBezTo>
                  <a:pt x="65" y="375"/>
                  <a:pt x="65" y="374"/>
                  <a:pt x="65" y="374"/>
                </a:cubicBezTo>
                <a:cubicBezTo>
                  <a:pt x="65" y="374"/>
                  <a:pt x="65" y="374"/>
                  <a:pt x="66" y="374"/>
                </a:cubicBezTo>
                <a:cubicBezTo>
                  <a:pt x="66" y="374"/>
                  <a:pt x="66" y="375"/>
                  <a:pt x="66" y="375"/>
                </a:cubicBezTo>
                <a:cubicBezTo>
                  <a:pt x="66" y="374"/>
                  <a:pt x="66" y="373"/>
                  <a:pt x="66" y="371"/>
                </a:cubicBezTo>
                <a:cubicBezTo>
                  <a:pt x="65" y="371"/>
                  <a:pt x="64" y="370"/>
                  <a:pt x="64" y="370"/>
                </a:cubicBezTo>
                <a:cubicBezTo>
                  <a:pt x="64" y="369"/>
                  <a:pt x="65" y="369"/>
                  <a:pt x="65" y="369"/>
                </a:cubicBezTo>
                <a:cubicBezTo>
                  <a:pt x="64" y="368"/>
                  <a:pt x="64" y="368"/>
                  <a:pt x="63" y="367"/>
                </a:cubicBezTo>
                <a:cubicBezTo>
                  <a:pt x="62" y="366"/>
                  <a:pt x="62" y="364"/>
                  <a:pt x="62" y="362"/>
                </a:cubicBezTo>
                <a:cubicBezTo>
                  <a:pt x="61" y="361"/>
                  <a:pt x="60" y="359"/>
                  <a:pt x="58" y="357"/>
                </a:cubicBezTo>
                <a:cubicBezTo>
                  <a:pt x="58" y="357"/>
                  <a:pt x="59" y="357"/>
                  <a:pt x="59" y="356"/>
                </a:cubicBezTo>
                <a:cubicBezTo>
                  <a:pt x="58" y="355"/>
                  <a:pt x="55" y="353"/>
                  <a:pt x="55" y="352"/>
                </a:cubicBezTo>
                <a:cubicBezTo>
                  <a:pt x="55" y="352"/>
                  <a:pt x="55" y="351"/>
                  <a:pt x="55" y="350"/>
                </a:cubicBezTo>
                <a:cubicBezTo>
                  <a:pt x="55" y="348"/>
                  <a:pt x="53" y="347"/>
                  <a:pt x="53" y="345"/>
                </a:cubicBezTo>
                <a:cubicBezTo>
                  <a:pt x="52" y="343"/>
                  <a:pt x="51" y="341"/>
                  <a:pt x="51" y="340"/>
                </a:cubicBezTo>
                <a:cubicBezTo>
                  <a:pt x="51" y="340"/>
                  <a:pt x="51" y="340"/>
                  <a:pt x="51" y="340"/>
                </a:cubicBezTo>
                <a:cubicBezTo>
                  <a:pt x="51" y="339"/>
                  <a:pt x="50" y="339"/>
                  <a:pt x="50" y="338"/>
                </a:cubicBezTo>
                <a:cubicBezTo>
                  <a:pt x="50" y="338"/>
                  <a:pt x="50" y="337"/>
                  <a:pt x="50" y="337"/>
                </a:cubicBezTo>
                <a:cubicBezTo>
                  <a:pt x="50" y="336"/>
                  <a:pt x="49" y="336"/>
                  <a:pt x="49" y="336"/>
                </a:cubicBezTo>
                <a:cubicBezTo>
                  <a:pt x="49" y="335"/>
                  <a:pt x="50" y="335"/>
                  <a:pt x="49" y="334"/>
                </a:cubicBezTo>
                <a:cubicBezTo>
                  <a:pt x="49" y="334"/>
                  <a:pt x="48" y="334"/>
                  <a:pt x="48" y="333"/>
                </a:cubicBezTo>
                <a:cubicBezTo>
                  <a:pt x="48" y="333"/>
                  <a:pt x="48" y="332"/>
                  <a:pt x="48" y="332"/>
                </a:cubicBezTo>
                <a:cubicBezTo>
                  <a:pt x="48" y="331"/>
                  <a:pt x="47" y="331"/>
                  <a:pt x="46" y="330"/>
                </a:cubicBezTo>
                <a:cubicBezTo>
                  <a:pt x="45" y="329"/>
                  <a:pt x="46" y="327"/>
                  <a:pt x="45" y="326"/>
                </a:cubicBezTo>
                <a:cubicBezTo>
                  <a:pt x="42" y="323"/>
                  <a:pt x="41" y="319"/>
                  <a:pt x="38" y="315"/>
                </a:cubicBezTo>
                <a:cubicBezTo>
                  <a:pt x="37" y="312"/>
                  <a:pt x="35" y="309"/>
                  <a:pt x="34" y="306"/>
                </a:cubicBezTo>
                <a:cubicBezTo>
                  <a:pt x="34" y="306"/>
                  <a:pt x="34" y="307"/>
                  <a:pt x="33" y="307"/>
                </a:cubicBezTo>
                <a:cubicBezTo>
                  <a:pt x="33" y="310"/>
                  <a:pt x="29" y="311"/>
                  <a:pt x="29" y="312"/>
                </a:cubicBezTo>
                <a:cubicBezTo>
                  <a:pt x="29" y="313"/>
                  <a:pt x="30" y="314"/>
                  <a:pt x="30" y="314"/>
                </a:cubicBezTo>
                <a:cubicBezTo>
                  <a:pt x="30" y="314"/>
                  <a:pt x="30" y="314"/>
                  <a:pt x="30" y="314"/>
                </a:cubicBezTo>
                <a:cubicBezTo>
                  <a:pt x="30" y="314"/>
                  <a:pt x="30" y="314"/>
                  <a:pt x="30" y="315"/>
                </a:cubicBezTo>
                <a:cubicBezTo>
                  <a:pt x="31" y="316"/>
                  <a:pt x="32" y="316"/>
                  <a:pt x="32" y="317"/>
                </a:cubicBezTo>
                <a:cubicBezTo>
                  <a:pt x="33" y="319"/>
                  <a:pt x="32" y="319"/>
                  <a:pt x="32" y="320"/>
                </a:cubicBezTo>
                <a:cubicBezTo>
                  <a:pt x="32" y="320"/>
                  <a:pt x="32" y="320"/>
                  <a:pt x="32" y="320"/>
                </a:cubicBezTo>
                <a:cubicBezTo>
                  <a:pt x="32" y="321"/>
                  <a:pt x="33" y="321"/>
                  <a:pt x="33" y="321"/>
                </a:cubicBezTo>
                <a:cubicBezTo>
                  <a:pt x="34" y="322"/>
                  <a:pt x="34" y="326"/>
                  <a:pt x="33" y="327"/>
                </a:cubicBezTo>
                <a:cubicBezTo>
                  <a:pt x="33" y="327"/>
                  <a:pt x="32" y="326"/>
                  <a:pt x="31" y="325"/>
                </a:cubicBezTo>
                <a:cubicBezTo>
                  <a:pt x="31" y="325"/>
                  <a:pt x="31" y="326"/>
                  <a:pt x="31" y="326"/>
                </a:cubicBezTo>
                <a:cubicBezTo>
                  <a:pt x="31" y="327"/>
                  <a:pt x="31" y="328"/>
                  <a:pt x="31" y="328"/>
                </a:cubicBezTo>
                <a:cubicBezTo>
                  <a:pt x="30" y="334"/>
                  <a:pt x="27" y="336"/>
                  <a:pt x="24" y="332"/>
                </a:cubicBezTo>
                <a:cubicBezTo>
                  <a:pt x="22" y="330"/>
                  <a:pt x="23" y="321"/>
                  <a:pt x="28" y="321"/>
                </a:cubicBezTo>
                <a:cubicBezTo>
                  <a:pt x="30" y="322"/>
                  <a:pt x="29" y="322"/>
                  <a:pt x="28" y="320"/>
                </a:cubicBezTo>
                <a:cubicBezTo>
                  <a:pt x="27" y="317"/>
                  <a:pt x="29" y="315"/>
                  <a:pt x="27" y="314"/>
                </a:cubicBezTo>
                <a:cubicBezTo>
                  <a:pt x="22" y="311"/>
                  <a:pt x="22" y="308"/>
                  <a:pt x="24" y="304"/>
                </a:cubicBezTo>
                <a:cubicBezTo>
                  <a:pt x="22" y="304"/>
                  <a:pt x="23" y="301"/>
                  <a:pt x="23" y="300"/>
                </a:cubicBezTo>
                <a:cubicBezTo>
                  <a:pt x="23" y="300"/>
                  <a:pt x="22" y="299"/>
                  <a:pt x="23" y="299"/>
                </a:cubicBezTo>
                <a:cubicBezTo>
                  <a:pt x="24" y="298"/>
                  <a:pt x="25" y="298"/>
                  <a:pt x="25" y="299"/>
                </a:cubicBezTo>
                <a:cubicBezTo>
                  <a:pt x="26" y="298"/>
                  <a:pt x="27" y="298"/>
                  <a:pt x="29" y="298"/>
                </a:cubicBezTo>
                <a:cubicBezTo>
                  <a:pt x="30" y="298"/>
                  <a:pt x="31" y="298"/>
                  <a:pt x="31" y="299"/>
                </a:cubicBezTo>
                <a:cubicBezTo>
                  <a:pt x="31" y="298"/>
                  <a:pt x="31" y="298"/>
                  <a:pt x="31" y="298"/>
                </a:cubicBezTo>
                <a:cubicBezTo>
                  <a:pt x="30" y="296"/>
                  <a:pt x="31" y="294"/>
                  <a:pt x="30" y="293"/>
                </a:cubicBezTo>
                <a:cubicBezTo>
                  <a:pt x="30" y="291"/>
                  <a:pt x="29" y="291"/>
                  <a:pt x="28" y="289"/>
                </a:cubicBezTo>
                <a:cubicBezTo>
                  <a:pt x="28" y="288"/>
                  <a:pt x="28" y="286"/>
                  <a:pt x="27" y="284"/>
                </a:cubicBezTo>
                <a:cubicBezTo>
                  <a:pt x="27" y="285"/>
                  <a:pt x="26" y="287"/>
                  <a:pt x="26" y="289"/>
                </a:cubicBezTo>
                <a:cubicBezTo>
                  <a:pt x="27" y="286"/>
                  <a:pt x="24" y="287"/>
                  <a:pt x="25" y="288"/>
                </a:cubicBezTo>
                <a:cubicBezTo>
                  <a:pt x="24" y="287"/>
                  <a:pt x="22" y="287"/>
                  <a:pt x="21" y="286"/>
                </a:cubicBezTo>
                <a:cubicBezTo>
                  <a:pt x="21" y="285"/>
                  <a:pt x="21" y="284"/>
                  <a:pt x="22" y="283"/>
                </a:cubicBezTo>
                <a:cubicBezTo>
                  <a:pt x="21" y="283"/>
                  <a:pt x="21" y="281"/>
                  <a:pt x="21" y="281"/>
                </a:cubicBezTo>
                <a:cubicBezTo>
                  <a:pt x="22" y="281"/>
                  <a:pt x="22" y="281"/>
                  <a:pt x="22" y="282"/>
                </a:cubicBezTo>
                <a:cubicBezTo>
                  <a:pt x="23" y="281"/>
                  <a:pt x="24" y="280"/>
                  <a:pt x="25" y="280"/>
                </a:cubicBezTo>
                <a:cubicBezTo>
                  <a:pt x="25" y="279"/>
                  <a:pt x="24" y="278"/>
                  <a:pt x="24" y="277"/>
                </a:cubicBezTo>
                <a:cubicBezTo>
                  <a:pt x="24" y="278"/>
                  <a:pt x="23" y="278"/>
                  <a:pt x="23" y="279"/>
                </a:cubicBezTo>
                <a:cubicBezTo>
                  <a:pt x="22" y="279"/>
                  <a:pt x="20" y="277"/>
                  <a:pt x="21" y="275"/>
                </a:cubicBezTo>
                <a:cubicBezTo>
                  <a:pt x="19" y="275"/>
                  <a:pt x="19" y="273"/>
                  <a:pt x="19" y="271"/>
                </a:cubicBezTo>
                <a:cubicBezTo>
                  <a:pt x="18" y="271"/>
                  <a:pt x="17" y="271"/>
                  <a:pt x="16" y="272"/>
                </a:cubicBezTo>
                <a:cubicBezTo>
                  <a:pt x="16" y="272"/>
                  <a:pt x="17" y="273"/>
                  <a:pt x="17" y="273"/>
                </a:cubicBezTo>
                <a:cubicBezTo>
                  <a:pt x="18" y="275"/>
                  <a:pt x="16" y="278"/>
                  <a:pt x="17" y="279"/>
                </a:cubicBezTo>
                <a:cubicBezTo>
                  <a:pt x="17" y="282"/>
                  <a:pt x="15" y="284"/>
                  <a:pt x="14" y="284"/>
                </a:cubicBezTo>
                <a:cubicBezTo>
                  <a:pt x="14" y="285"/>
                  <a:pt x="13" y="285"/>
                  <a:pt x="13" y="285"/>
                </a:cubicBezTo>
                <a:cubicBezTo>
                  <a:pt x="13" y="285"/>
                  <a:pt x="13" y="285"/>
                  <a:pt x="12" y="284"/>
                </a:cubicBezTo>
                <a:cubicBezTo>
                  <a:pt x="12" y="284"/>
                  <a:pt x="12" y="284"/>
                  <a:pt x="12" y="284"/>
                </a:cubicBezTo>
                <a:cubicBezTo>
                  <a:pt x="12" y="284"/>
                  <a:pt x="11" y="284"/>
                  <a:pt x="12" y="283"/>
                </a:cubicBezTo>
                <a:cubicBezTo>
                  <a:pt x="12" y="283"/>
                  <a:pt x="12" y="283"/>
                  <a:pt x="12" y="283"/>
                </a:cubicBezTo>
                <a:cubicBezTo>
                  <a:pt x="12" y="283"/>
                  <a:pt x="12" y="283"/>
                  <a:pt x="12" y="283"/>
                </a:cubicBezTo>
                <a:cubicBezTo>
                  <a:pt x="12" y="282"/>
                  <a:pt x="12" y="280"/>
                  <a:pt x="12" y="278"/>
                </a:cubicBezTo>
                <a:cubicBezTo>
                  <a:pt x="12" y="278"/>
                  <a:pt x="12" y="277"/>
                  <a:pt x="12" y="277"/>
                </a:cubicBezTo>
                <a:cubicBezTo>
                  <a:pt x="12" y="278"/>
                  <a:pt x="12" y="278"/>
                  <a:pt x="11" y="279"/>
                </a:cubicBezTo>
                <a:cubicBezTo>
                  <a:pt x="9" y="282"/>
                  <a:pt x="7" y="277"/>
                  <a:pt x="8" y="276"/>
                </a:cubicBezTo>
                <a:cubicBezTo>
                  <a:pt x="8" y="275"/>
                  <a:pt x="9" y="274"/>
                  <a:pt x="9" y="274"/>
                </a:cubicBezTo>
                <a:cubicBezTo>
                  <a:pt x="10" y="274"/>
                  <a:pt x="10" y="275"/>
                  <a:pt x="10" y="275"/>
                </a:cubicBezTo>
                <a:cubicBezTo>
                  <a:pt x="11" y="275"/>
                  <a:pt x="11" y="275"/>
                  <a:pt x="11" y="276"/>
                </a:cubicBezTo>
                <a:cubicBezTo>
                  <a:pt x="11" y="275"/>
                  <a:pt x="11" y="275"/>
                  <a:pt x="11" y="275"/>
                </a:cubicBezTo>
                <a:cubicBezTo>
                  <a:pt x="11" y="275"/>
                  <a:pt x="10" y="274"/>
                  <a:pt x="10" y="274"/>
                </a:cubicBezTo>
                <a:cubicBezTo>
                  <a:pt x="10" y="274"/>
                  <a:pt x="10" y="273"/>
                  <a:pt x="10" y="272"/>
                </a:cubicBezTo>
                <a:cubicBezTo>
                  <a:pt x="10" y="273"/>
                  <a:pt x="10" y="273"/>
                  <a:pt x="10" y="273"/>
                </a:cubicBezTo>
                <a:cubicBezTo>
                  <a:pt x="10" y="273"/>
                  <a:pt x="9" y="272"/>
                  <a:pt x="9" y="272"/>
                </a:cubicBezTo>
                <a:cubicBezTo>
                  <a:pt x="10" y="271"/>
                  <a:pt x="11" y="271"/>
                  <a:pt x="11" y="272"/>
                </a:cubicBezTo>
                <a:cubicBezTo>
                  <a:pt x="11" y="271"/>
                  <a:pt x="12" y="270"/>
                  <a:pt x="13" y="269"/>
                </a:cubicBezTo>
                <a:cubicBezTo>
                  <a:pt x="12" y="266"/>
                  <a:pt x="11" y="263"/>
                  <a:pt x="9" y="262"/>
                </a:cubicBezTo>
                <a:cubicBezTo>
                  <a:pt x="9" y="262"/>
                  <a:pt x="8" y="262"/>
                  <a:pt x="7" y="263"/>
                </a:cubicBezTo>
                <a:cubicBezTo>
                  <a:pt x="7" y="263"/>
                  <a:pt x="7" y="263"/>
                  <a:pt x="7" y="263"/>
                </a:cubicBezTo>
                <a:cubicBezTo>
                  <a:pt x="6" y="263"/>
                  <a:pt x="6" y="263"/>
                  <a:pt x="6" y="262"/>
                </a:cubicBezTo>
                <a:cubicBezTo>
                  <a:pt x="6" y="262"/>
                  <a:pt x="7" y="257"/>
                  <a:pt x="9" y="260"/>
                </a:cubicBezTo>
                <a:cubicBezTo>
                  <a:pt x="9" y="260"/>
                  <a:pt x="8" y="261"/>
                  <a:pt x="8" y="261"/>
                </a:cubicBezTo>
                <a:cubicBezTo>
                  <a:pt x="11" y="263"/>
                  <a:pt x="10" y="259"/>
                  <a:pt x="10" y="256"/>
                </a:cubicBezTo>
                <a:cubicBezTo>
                  <a:pt x="11" y="254"/>
                  <a:pt x="12" y="252"/>
                  <a:pt x="13" y="250"/>
                </a:cubicBezTo>
                <a:cubicBezTo>
                  <a:pt x="13" y="250"/>
                  <a:pt x="11" y="245"/>
                  <a:pt x="10" y="243"/>
                </a:cubicBezTo>
                <a:cubicBezTo>
                  <a:pt x="10" y="242"/>
                  <a:pt x="9" y="241"/>
                  <a:pt x="9" y="240"/>
                </a:cubicBezTo>
                <a:cubicBezTo>
                  <a:pt x="9" y="240"/>
                  <a:pt x="9" y="240"/>
                  <a:pt x="9" y="240"/>
                </a:cubicBezTo>
                <a:cubicBezTo>
                  <a:pt x="8" y="239"/>
                  <a:pt x="8" y="239"/>
                  <a:pt x="8" y="239"/>
                </a:cubicBezTo>
                <a:cubicBezTo>
                  <a:pt x="8" y="239"/>
                  <a:pt x="8" y="239"/>
                  <a:pt x="8" y="239"/>
                </a:cubicBezTo>
                <a:cubicBezTo>
                  <a:pt x="8" y="240"/>
                  <a:pt x="8" y="240"/>
                  <a:pt x="7" y="240"/>
                </a:cubicBezTo>
                <a:cubicBezTo>
                  <a:pt x="8" y="240"/>
                  <a:pt x="8" y="238"/>
                  <a:pt x="8" y="237"/>
                </a:cubicBezTo>
                <a:cubicBezTo>
                  <a:pt x="7" y="237"/>
                  <a:pt x="7" y="237"/>
                  <a:pt x="7" y="236"/>
                </a:cubicBezTo>
                <a:cubicBezTo>
                  <a:pt x="7" y="236"/>
                  <a:pt x="7" y="236"/>
                  <a:pt x="7" y="236"/>
                </a:cubicBezTo>
                <a:cubicBezTo>
                  <a:pt x="7" y="236"/>
                  <a:pt x="7" y="236"/>
                  <a:pt x="7" y="235"/>
                </a:cubicBezTo>
                <a:cubicBezTo>
                  <a:pt x="7" y="234"/>
                  <a:pt x="6" y="234"/>
                  <a:pt x="5" y="235"/>
                </a:cubicBezTo>
                <a:cubicBezTo>
                  <a:pt x="6" y="234"/>
                  <a:pt x="5" y="239"/>
                  <a:pt x="4" y="238"/>
                </a:cubicBezTo>
                <a:cubicBezTo>
                  <a:pt x="4" y="238"/>
                  <a:pt x="4" y="235"/>
                  <a:pt x="4" y="233"/>
                </a:cubicBezTo>
                <a:cubicBezTo>
                  <a:pt x="4" y="233"/>
                  <a:pt x="3" y="233"/>
                  <a:pt x="3" y="233"/>
                </a:cubicBezTo>
                <a:cubicBezTo>
                  <a:pt x="3" y="236"/>
                  <a:pt x="3" y="234"/>
                  <a:pt x="2" y="233"/>
                </a:cubicBezTo>
                <a:cubicBezTo>
                  <a:pt x="2" y="233"/>
                  <a:pt x="2" y="233"/>
                  <a:pt x="1" y="233"/>
                </a:cubicBezTo>
                <a:cubicBezTo>
                  <a:pt x="1" y="233"/>
                  <a:pt x="1" y="234"/>
                  <a:pt x="1" y="234"/>
                </a:cubicBezTo>
                <a:cubicBezTo>
                  <a:pt x="1" y="272"/>
                  <a:pt x="1" y="272"/>
                  <a:pt x="1" y="272"/>
                </a:cubicBezTo>
                <a:cubicBezTo>
                  <a:pt x="1" y="273"/>
                  <a:pt x="2" y="274"/>
                  <a:pt x="1" y="275"/>
                </a:cubicBezTo>
                <a:cubicBezTo>
                  <a:pt x="1" y="275"/>
                  <a:pt x="1" y="275"/>
                  <a:pt x="1" y="275"/>
                </a:cubicBezTo>
                <a:cubicBezTo>
                  <a:pt x="1" y="359"/>
                  <a:pt x="1" y="359"/>
                  <a:pt x="1" y="359"/>
                </a:cubicBezTo>
                <a:cubicBezTo>
                  <a:pt x="1" y="359"/>
                  <a:pt x="1" y="359"/>
                  <a:pt x="1" y="359"/>
                </a:cubicBezTo>
                <a:cubicBezTo>
                  <a:pt x="7" y="360"/>
                  <a:pt x="4" y="368"/>
                  <a:pt x="1" y="371"/>
                </a:cubicBezTo>
                <a:cubicBezTo>
                  <a:pt x="1" y="448"/>
                  <a:pt x="1" y="448"/>
                  <a:pt x="1" y="448"/>
                </a:cubicBezTo>
                <a:cubicBezTo>
                  <a:pt x="1" y="448"/>
                  <a:pt x="1" y="449"/>
                  <a:pt x="1" y="451"/>
                </a:cubicBezTo>
                <a:cubicBezTo>
                  <a:pt x="1" y="588"/>
                  <a:pt x="1" y="588"/>
                  <a:pt x="1" y="588"/>
                </a:cubicBezTo>
                <a:cubicBezTo>
                  <a:pt x="302" y="762"/>
                  <a:pt x="302" y="762"/>
                  <a:pt x="302" y="762"/>
                </a:cubicBezTo>
                <a:cubicBezTo>
                  <a:pt x="305" y="760"/>
                  <a:pt x="299" y="759"/>
                  <a:pt x="298" y="758"/>
                </a:cubicBezTo>
                <a:close/>
                <a:moveTo>
                  <a:pt x="435" y="727"/>
                </a:moveTo>
                <a:cubicBezTo>
                  <a:pt x="435" y="728"/>
                  <a:pt x="433" y="728"/>
                  <a:pt x="432" y="727"/>
                </a:cubicBezTo>
                <a:cubicBezTo>
                  <a:pt x="432" y="726"/>
                  <a:pt x="434" y="725"/>
                  <a:pt x="435" y="727"/>
                </a:cubicBezTo>
                <a:close/>
                <a:moveTo>
                  <a:pt x="442" y="708"/>
                </a:moveTo>
                <a:cubicBezTo>
                  <a:pt x="440" y="708"/>
                  <a:pt x="440" y="706"/>
                  <a:pt x="442" y="708"/>
                </a:cubicBezTo>
                <a:close/>
                <a:moveTo>
                  <a:pt x="440" y="704"/>
                </a:moveTo>
                <a:cubicBezTo>
                  <a:pt x="439" y="704"/>
                  <a:pt x="439" y="702"/>
                  <a:pt x="440" y="704"/>
                </a:cubicBezTo>
                <a:close/>
                <a:moveTo>
                  <a:pt x="507" y="674"/>
                </a:moveTo>
                <a:cubicBezTo>
                  <a:pt x="509" y="673"/>
                  <a:pt x="509" y="676"/>
                  <a:pt x="507" y="674"/>
                </a:cubicBezTo>
                <a:close/>
                <a:moveTo>
                  <a:pt x="501" y="668"/>
                </a:moveTo>
                <a:cubicBezTo>
                  <a:pt x="502" y="670"/>
                  <a:pt x="499" y="669"/>
                  <a:pt x="499" y="668"/>
                </a:cubicBezTo>
                <a:cubicBezTo>
                  <a:pt x="499" y="667"/>
                  <a:pt x="501" y="667"/>
                  <a:pt x="501" y="668"/>
                </a:cubicBezTo>
                <a:close/>
                <a:moveTo>
                  <a:pt x="500" y="675"/>
                </a:moveTo>
                <a:cubicBezTo>
                  <a:pt x="499" y="676"/>
                  <a:pt x="498" y="674"/>
                  <a:pt x="498" y="674"/>
                </a:cubicBezTo>
                <a:cubicBezTo>
                  <a:pt x="499" y="674"/>
                  <a:pt x="499" y="675"/>
                  <a:pt x="500" y="675"/>
                </a:cubicBezTo>
                <a:close/>
                <a:moveTo>
                  <a:pt x="510" y="641"/>
                </a:moveTo>
                <a:cubicBezTo>
                  <a:pt x="510" y="641"/>
                  <a:pt x="511" y="641"/>
                  <a:pt x="511" y="641"/>
                </a:cubicBezTo>
                <a:cubicBezTo>
                  <a:pt x="513" y="643"/>
                  <a:pt x="509" y="642"/>
                  <a:pt x="510" y="641"/>
                </a:cubicBezTo>
                <a:close/>
                <a:moveTo>
                  <a:pt x="509" y="646"/>
                </a:moveTo>
                <a:cubicBezTo>
                  <a:pt x="510" y="648"/>
                  <a:pt x="507" y="646"/>
                  <a:pt x="508" y="645"/>
                </a:cubicBezTo>
                <a:cubicBezTo>
                  <a:pt x="509" y="645"/>
                  <a:pt x="509" y="646"/>
                  <a:pt x="509" y="646"/>
                </a:cubicBezTo>
                <a:close/>
                <a:moveTo>
                  <a:pt x="508" y="643"/>
                </a:moveTo>
                <a:cubicBezTo>
                  <a:pt x="509" y="642"/>
                  <a:pt x="509" y="643"/>
                  <a:pt x="509" y="644"/>
                </a:cubicBezTo>
                <a:cubicBezTo>
                  <a:pt x="510" y="645"/>
                  <a:pt x="507" y="644"/>
                  <a:pt x="508" y="643"/>
                </a:cubicBezTo>
                <a:close/>
                <a:moveTo>
                  <a:pt x="500" y="642"/>
                </a:moveTo>
                <a:cubicBezTo>
                  <a:pt x="500" y="642"/>
                  <a:pt x="502" y="645"/>
                  <a:pt x="502" y="646"/>
                </a:cubicBezTo>
                <a:cubicBezTo>
                  <a:pt x="501" y="651"/>
                  <a:pt x="497" y="643"/>
                  <a:pt x="500" y="642"/>
                </a:cubicBezTo>
                <a:close/>
                <a:moveTo>
                  <a:pt x="498" y="644"/>
                </a:moveTo>
                <a:cubicBezTo>
                  <a:pt x="498" y="644"/>
                  <a:pt x="498" y="644"/>
                  <a:pt x="498" y="644"/>
                </a:cubicBezTo>
                <a:cubicBezTo>
                  <a:pt x="498" y="644"/>
                  <a:pt x="496" y="644"/>
                  <a:pt x="498" y="644"/>
                </a:cubicBezTo>
                <a:close/>
                <a:moveTo>
                  <a:pt x="495" y="636"/>
                </a:moveTo>
                <a:cubicBezTo>
                  <a:pt x="496" y="635"/>
                  <a:pt x="497" y="638"/>
                  <a:pt x="495" y="636"/>
                </a:cubicBezTo>
                <a:close/>
                <a:moveTo>
                  <a:pt x="495" y="637"/>
                </a:moveTo>
                <a:cubicBezTo>
                  <a:pt x="496" y="637"/>
                  <a:pt x="496" y="638"/>
                  <a:pt x="496" y="638"/>
                </a:cubicBezTo>
                <a:cubicBezTo>
                  <a:pt x="496" y="639"/>
                  <a:pt x="494" y="638"/>
                  <a:pt x="495" y="637"/>
                </a:cubicBezTo>
                <a:close/>
                <a:moveTo>
                  <a:pt x="493" y="642"/>
                </a:moveTo>
                <a:cubicBezTo>
                  <a:pt x="493" y="642"/>
                  <a:pt x="494" y="643"/>
                  <a:pt x="494" y="643"/>
                </a:cubicBezTo>
                <a:cubicBezTo>
                  <a:pt x="494" y="645"/>
                  <a:pt x="492" y="643"/>
                  <a:pt x="493" y="642"/>
                </a:cubicBezTo>
                <a:close/>
                <a:moveTo>
                  <a:pt x="494" y="650"/>
                </a:moveTo>
                <a:cubicBezTo>
                  <a:pt x="494" y="650"/>
                  <a:pt x="493" y="653"/>
                  <a:pt x="492" y="651"/>
                </a:cubicBezTo>
                <a:cubicBezTo>
                  <a:pt x="492" y="650"/>
                  <a:pt x="494" y="648"/>
                  <a:pt x="494" y="650"/>
                </a:cubicBezTo>
                <a:close/>
                <a:moveTo>
                  <a:pt x="498" y="620"/>
                </a:moveTo>
                <a:cubicBezTo>
                  <a:pt x="498" y="620"/>
                  <a:pt x="498" y="620"/>
                  <a:pt x="498" y="620"/>
                </a:cubicBezTo>
                <a:cubicBezTo>
                  <a:pt x="498" y="620"/>
                  <a:pt x="498" y="620"/>
                  <a:pt x="498" y="620"/>
                </a:cubicBezTo>
                <a:cubicBezTo>
                  <a:pt x="498" y="620"/>
                  <a:pt x="498" y="620"/>
                  <a:pt x="498" y="620"/>
                </a:cubicBezTo>
                <a:close/>
                <a:moveTo>
                  <a:pt x="492" y="624"/>
                </a:moveTo>
                <a:cubicBezTo>
                  <a:pt x="493" y="624"/>
                  <a:pt x="493" y="625"/>
                  <a:pt x="492" y="624"/>
                </a:cubicBezTo>
                <a:close/>
                <a:moveTo>
                  <a:pt x="490" y="621"/>
                </a:moveTo>
                <a:cubicBezTo>
                  <a:pt x="491" y="622"/>
                  <a:pt x="490" y="624"/>
                  <a:pt x="489" y="624"/>
                </a:cubicBezTo>
                <a:cubicBezTo>
                  <a:pt x="489" y="623"/>
                  <a:pt x="490" y="621"/>
                  <a:pt x="490" y="621"/>
                </a:cubicBezTo>
                <a:close/>
                <a:moveTo>
                  <a:pt x="489" y="620"/>
                </a:moveTo>
                <a:cubicBezTo>
                  <a:pt x="490" y="620"/>
                  <a:pt x="487" y="619"/>
                  <a:pt x="489" y="620"/>
                </a:cubicBezTo>
                <a:close/>
                <a:moveTo>
                  <a:pt x="485" y="657"/>
                </a:moveTo>
                <a:cubicBezTo>
                  <a:pt x="486" y="656"/>
                  <a:pt x="487" y="657"/>
                  <a:pt x="487" y="657"/>
                </a:cubicBezTo>
                <a:cubicBezTo>
                  <a:pt x="488" y="659"/>
                  <a:pt x="484" y="658"/>
                  <a:pt x="485" y="657"/>
                </a:cubicBezTo>
                <a:close/>
                <a:moveTo>
                  <a:pt x="485" y="644"/>
                </a:moveTo>
                <a:cubicBezTo>
                  <a:pt x="489" y="644"/>
                  <a:pt x="487" y="647"/>
                  <a:pt x="485" y="644"/>
                </a:cubicBezTo>
                <a:close/>
                <a:moveTo>
                  <a:pt x="484" y="637"/>
                </a:moveTo>
                <a:cubicBezTo>
                  <a:pt x="485" y="636"/>
                  <a:pt x="486" y="637"/>
                  <a:pt x="486" y="637"/>
                </a:cubicBezTo>
                <a:cubicBezTo>
                  <a:pt x="486" y="639"/>
                  <a:pt x="484" y="637"/>
                  <a:pt x="484" y="637"/>
                </a:cubicBezTo>
                <a:close/>
                <a:moveTo>
                  <a:pt x="536" y="658"/>
                </a:moveTo>
                <a:cubicBezTo>
                  <a:pt x="533" y="660"/>
                  <a:pt x="529" y="656"/>
                  <a:pt x="530" y="654"/>
                </a:cubicBezTo>
                <a:cubicBezTo>
                  <a:pt x="531" y="652"/>
                  <a:pt x="537" y="654"/>
                  <a:pt x="538" y="655"/>
                </a:cubicBezTo>
                <a:cubicBezTo>
                  <a:pt x="538" y="655"/>
                  <a:pt x="536" y="658"/>
                  <a:pt x="536" y="658"/>
                </a:cubicBezTo>
                <a:close/>
                <a:moveTo>
                  <a:pt x="555" y="657"/>
                </a:moveTo>
                <a:cubicBezTo>
                  <a:pt x="553" y="657"/>
                  <a:pt x="556" y="658"/>
                  <a:pt x="555" y="657"/>
                </a:cubicBezTo>
                <a:close/>
                <a:moveTo>
                  <a:pt x="551" y="654"/>
                </a:moveTo>
                <a:cubicBezTo>
                  <a:pt x="551" y="654"/>
                  <a:pt x="552" y="654"/>
                  <a:pt x="552" y="654"/>
                </a:cubicBezTo>
                <a:cubicBezTo>
                  <a:pt x="553" y="656"/>
                  <a:pt x="549" y="655"/>
                  <a:pt x="551" y="654"/>
                </a:cubicBezTo>
                <a:close/>
                <a:moveTo>
                  <a:pt x="550" y="653"/>
                </a:moveTo>
                <a:cubicBezTo>
                  <a:pt x="550" y="653"/>
                  <a:pt x="550" y="654"/>
                  <a:pt x="549" y="654"/>
                </a:cubicBezTo>
                <a:cubicBezTo>
                  <a:pt x="549" y="653"/>
                  <a:pt x="550" y="653"/>
                  <a:pt x="550" y="653"/>
                </a:cubicBezTo>
                <a:close/>
                <a:moveTo>
                  <a:pt x="546" y="654"/>
                </a:moveTo>
                <a:cubicBezTo>
                  <a:pt x="547" y="654"/>
                  <a:pt x="548" y="655"/>
                  <a:pt x="547" y="656"/>
                </a:cubicBezTo>
                <a:cubicBezTo>
                  <a:pt x="546" y="656"/>
                  <a:pt x="546" y="654"/>
                  <a:pt x="546" y="654"/>
                </a:cubicBezTo>
                <a:close/>
                <a:moveTo>
                  <a:pt x="543" y="650"/>
                </a:moveTo>
                <a:cubicBezTo>
                  <a:pt x="544" y="649"/>
                  <a:pt x="545" y="650"/>
                  <a:pt x="545" y="650"/>
                </a:cubicBezTo>
                <a:cubicBezTo>
                  <a:pt x="546" y="653"/>
                  <a:pt x="542" y="651"/>
                  <a:pt x="543" y="650"/>
                </a:cubicBezTo>
                <a:close/>
                <a:moveTo>
                  <a:pt x="542" y="658"/>
                </a:moveTo>
                <a:cubicBezTo>
                  <a:pt x="544" y="657"/>
                  <a:pt x="543" y="659"/>
                  <a:pt x="542" y="658"/>
                </a:cubicBezTo>
                <a:close/>
                <a:moveTo>
                  <a:pt x="564" y="640"/>
                </a:moveTo>
                <a:cubicBezTo>
                  <a:pt x="565" y="640"/>
                  <a:pt x="564" y="641"/>
                  <a:pt x="564" y="641"/>
                </a:cubicBezTo>
                <a:cubicBezTo>
                  <a:pt x="564" y="643"/>
                  <a:pt x="562" y="640"/>
                  <a:pt x="564" y="640"/>
                </a:cubicBezTo>
                <a:close/>
                <a:moveTo>
                  <a:pt x="549" y="622"/>
                </a:moveTo>
                <a:cubicBezTo>
                  <a:pt x="549" y="622"/>
                  <a:pt x="549" y="622"/>
                  <a:pt x="549" y="622"/>
                </a:cubicBezTo>
                <a:cubicBezTo>
                  <a:pt x="548" y="621"/>
                  <a:pt x="549" y="622"/>
                  <a:pt x="549" y="622"/>
                </a:cubicBezTo>
                <a:close/>
                <a:moveTo>
                  <a:pt x="541" y="636"/>
                </a:moveTo>
                <a:cubicBezTo>
                  <a:pt x="543" y="634"/>
                  <a:pt x="547" y="636"/>
                  <a:pt x="547" y="638"/>
                </a:cubicBezTo>
                <a:cubicBezTo>
                  <a:pt x="547" y="643"/>
                  <a:pt x="539" y="639"/>
                  <a:pt x="541" y="636"/>
                </a:cubicBezTo>
                <a:close/>
                <a:moveTo>
                  <a:pt x="547" y="620"/>
                </a:moveTo>
                <a:cubicBezTo>
                  <a:pt x="547" y="620"/>
                  <a:pt x="547" y="620"/>
                  <a:pt x="547" y="619"/>
                </a:cubicBezTo>
                <a:cubicBezTo>
                  <a:pt x="546" y="619"/>
                  <a:pt x="546" y="619"/>
                  <a:pt x="546" y="619"/>
                </a:cubicBezTo>
                <a:cubicBezTo>
                  <a:pt x="546" y="619"/>
                  <a:pt x="547" y="620"/>
                  <a:pt x="547" y="620"/>
                </a:cubicBezTo>
                <a:close/>
                <a:moveTo>
                  <a:pt x="546" y="630"/>
                </a:moveTo>
                <a:cubicBezTo>
                  <a:pt x="547" y="633"/>
                  <a:pt x="544" y="631"/>
                  <a:pt x="543" y="630"/>
                </a:cubicBezTo>
                <a:cubicBezTo>
                  <a:pt x="543" y="629"/>
                  <a:pt x="546" y="629"/>
                  <a:pt x="546" y="630"/>
                </a:cubicBezTo>
                <a:close/>
                <a:moveTo>
                  <a:pt x="541" y="625"/>
                </a:moveTo>
                <a:cubicBezTo>
                  <a:pt x="542" y="625"/>
                  <a:pt x="542" y="626"/>
                  <a:pt x="542" y="626"/>
                </a:cubicBezTo>
                <a:cubicBezTo>
                  <a:pt x="543" y="628"/>
                  <a:pt x="540" y="626"/>
                  <a:pt x="541" y="625"/>
                </a:cubicBezTo>
                <a:close/>
                <a:moveTo>
                  <a:pt x="537" y="624"/>
                </a:moveTo>
                <a:cubicBezTo>
                  <a:pt x="537" y="624"/>
                  <a:pt x="538" y="625"/>
                  <a:pt x="538" y="625"/>
                </a:cubicBezTo>
                <a:cubicBezTo>
                  <a:pt x="539" y="626"/>
                  <a:pt x="535" y="625"/>
                  <a:pt x="537" y="624"/>
                </a:cubicBezTo>
                <a:close/>
                <a:moveTo>
                  <a:pt x="546" y="599"/>
                </a:moveTo>
                <a:cubicBezTo>
                  <a:pt x="547" y="598"/>
                  <a:pt x="547" y="601"/>
                  <a:pt x="546" y="599"/>
                </a:cubicBezTo>
                <a:close/>
                <a:moveTo>
                  <a:pt x="541" y="575"/>
                </a:moveTo>
                <a:cubicBezTo>
                  <a:pt x="542" y="576"/>
                  <a:pt x="541" y="573"/>
                  <a:pt x="541" y="575"/>
                </a:cubicBezTo>
                <a:close/>
                <a:moveTo>
                  <a:pt x="537" y="591"/>
                </a:moveTo>
                <a:cubicBezTo>
                  <a:pt x="537" y="591"/>
                  <a:pt x="537" y="591"/>
                  <a:pt x="537" y="591"/>
                </a:cubicBezTo>
                <a:cubicBezTo>
                  <a:pt x="535" y="590"/>
                  <a:pt x="539" y="590"/>
                  <a:pt x="537" y="591"/>
                </a:cubicBezTo>
                <a:close/>
                <a:moveTo>
                  <a:pt x="539" y="565"/>
                </a:moveTo>
                <a:cubicBezTo>
                  <a:pt x="539" y="565"/>
                  <a:pt x="539" y="565"/>
                  <a:pt x="539" y="565"/>
                </a:cubicBezTo>
                <a:cubicBezTo>
                  <a:pt x="539" y="564"/>
                  <a:pt x="539" y="563"/>
                  <a:pt x="539" y="565"/>
                </a:cubicBezTo>
                <a:close/>
                <a:moveTo>
                  <a:pt x="565" y="556"/>
                </a:moveTo>
                <a:cubicBezTo>
                  <a:pt x="564" y="557"/>
                  <a:pt x="564" y="555"/>
                  <a:pt x="565" y="556"/>
                </a:cubicBezTo>
                <a:close/>
                <a:moveTo>
                  <a:pt x="562" y="554"/>
                </a:moveTo>
                <a:cubicBezTo>
                  <a:pt x="564" y="554"/>
                  <a:pt x="562" y="555"/>
                  <a:pt x="562" y="554"/>
                </a:cubicBezTo>
                <a:close/>
                <a:moveTo>
                  <a:pt x="559" y="574"/>
                </a:moveTo>
                <a:cubicBezTo>
                  <a:pt x="559" y="574"/>
                  <a:pt x="559" y="574"/>
                  <a:pt x="560" y="574"/>
                </a:cubicBezTo>
                <a:cubicBezTo>
                  <a:pt x="560" y="574"/>
                  <a:pt x="560" y="574"/>
                  <a:pt x="560" y="574"/>
                </a:cubicBezTo>
                <a:cubicBezTo>
                  <a:pt x="560" y="574"/>
                  <a:pt x="560" y="574"/>
                  <a:pt x="560" y="574"/>
                </a:cubicBezTo>
                <a:cubicBezTo>
                  <a:pt x="559" y="574"/>
                  <a:pt x="559" y="574"/>
                  <a:pt x="559" y="573"/>
                </a:cubicBezTo>
                <a:cubicBezTo>
                  <a:pt x="559" y="573"/>
                  <a:pt x="559" y="574"/>
                  <a:pt x="559" y="574"/>
                </a:cubicBezTo>
                <a:close/>
                <a:moveTo>
                  <a:pt x="554" y="557"/>
                </a:moveTo>
                <a:cubicBezTo>
                  <a:pt x="554" y="558"/>
                  <a:pt x="553" y="554"/>
                  <a:pt x="554" y="557"/>
                </a:cubicBezTo>
                <a:close/>
                <a:moveTo>
                  <a:pt x="551" y="572"/>
                </a:moveTo>
                <a:cubicBezTo>
                  <a:pt x="552" y="572"/>
                  <a:pt x="552" y="574"/>
                  <a:pt x="552" y="574"/>
                </a:cubicBezTo>
                <a:cubicBezTo>
                  <a:pt x="552" y="575"/>
                  <a:pt x="551" y="573"/>
                  <a:pt x="551" y="572"/>
                </a:cubicBezTo>
                <a:close/>
                <a:moveTo>
                  <a:pt x="551" y="559"/>
                </a:moveTo>
                <a:cubicBezTo>
                  <a:pt x="551" y="559"/>
                  <a:pt x="552" y="560"/>
                  <a:pt x="551" y="559"/>
                </a:cubicBezTo>
                <a:cubicBezTo>
                  <a:pt x="551" y="559"/>
                  <a:pt x="551" y="559"/>
                  <a:pt x="551" y="559"/>
                </a:cubicBezTo>
                <a:close/>
                <a:moveTo>
                  <a:pt x="552" y="557"/>
                </a:moveTo>
                <a:cubicBezTo>
                  <a:pt x="552" y="558"/>
                  <a:pt x="553" y="559"/>
                  <a:pt x="552" y="559"/>
                </a:cubicBezTo>
                <a:cubicBezTo>
                  <a:pt x="550" y="560"/>
                  <a:pt x="551" y="555"/>
                  <a:pt x="552" y="557"/>
                </a:cubicBezTo>
                <a:close/>
                <a:moveTo>
                  <a:pt x="551" y="551"/>
                </a:moveTo>
                <a:cubicBezTo>
                  <a:pt x="551" y="552"/>
                  <a:pt x="551" y="550"/>
                  <a:pt x="550" y="550"/>
                </a:cubicBezTo>
                <a:cubicBezTo>
                  <a:pt x="551" y="549"/>
                  <a:pt x="551" y="551"/>
                  <a:pt x="551" y="551"/>
                </a:cubicBezTo>
                <a:close/>
                <a:moveTo>
                  <a:pt x="592" y="604"/>
                </a:moveTo>
                <a:cubicBezTo>
                  <a:pt x="592" y="605"/>
                  <a:pt x="593" y="606"/>
                  <a:pt x="593" y="608"/>
                </a:cubicBezTo>
                <a:cubicBezTo>
                  <a:pt x="592" y="607"/>
                  <a:pt x="591" y="606"/>
                  <a:pt x="592" y="604"/>
                </a:cubicBezTo>
                <a:close/>
                <a:moveTo>
                  <a:pt x="595" y="604"/>
                </a:moveTo>
                <a:cubicBezTo>
                  <a:pt x="596" y="606"/>
                  <a:pt x="594" y="603"/>
                  <a:pt x="595" y="604"/>
                </a:cubicBezTo>
                <a:close/>
                <a:moveTo>
                  <a:pt x="606" y="616"/>
                </a:moveTo>
                <a:cubicBezTo>
                  <a:pt x="606" y="616"/>
                  <a:pt x="606" y="617"/>
                  <a:pt x="606" y="617"/>
                </a:cubicBezTo>
                <a:cubicBezTo>
                  <a:pt x="605" y="618"/>
                  <a:pt x="605" y="616"/>
                  <a:pt x="606" y="616"/>
                </a:cubicBezTo>
                <a:close/>
                <a:moveTo>
                  <a:pt x="679" y="480"/>
                </a:moveTo>
                <a:cubicBezTo>
                  <a:pt x="678" y="480"/>
                  <a:pt x="678" y="480"/>
                  <a:pt x="678" y="479"/>
                </a:cubicBezTo>
                <a:cubicBezTo>
                  <a:pt x="678" y="478"/>
                  <a:pt x="680" y="480"/>
                  <a:pt x="679" y="480"/>
                </a:cubicBezTo>
                <a:close/>
                <a:moveTo>
                  <a:pt x="663" y="546"/>
                </a:moveTo>
                <a:cubicBezTo>
                  <a:pt x="664" y="544"/>
                  <a:pt x="665" y="546"/>
                  <a:pt x="666" y="547"/>
                </a:cubicBezTo>
                <a:cubicBezTo>
                  <a:pt x="666" y="550"/>
                  <a:pt x="661" y="548"/>
                  <a:pt x="663" y="546"/>
                </a:cubicBezTo>
                <a:close/>
                <a:moveTo>
                  <a:pt x="668" y="558"/>
                </a:moveTo>
                <a:cubicBezTo>
                  <a:pt x="668" y="558"/>
                  <a:pt x="668" y="558"/>
                  <a:pt x="667" y="558"/>
                </a:cubicBezTo>
                <a:cubicBezTo>
                  <a:pt x="664" y="557"/>
                  <a:pt x="669" y="555"/>
                  <a:pt x="668" y="558"/>
                </a:cubicBezTo>
                <a:close/>
                <a:moveTo>
                  <a:pt x="668" y="529"/>
                </a:moveTo>
                <a:cubicBezTo>
                  <a:pt x="669" y="528"/>
                  <a:pt x="669" y="529"/>
                  <a:pt x="670" y="529"/>
                </a:cubicBezTo>
                <a:cubicBezTo>
                  <a:pt x="670" y="531"/>
                  <a:pt x="667" y="530"/>
                  <a:pt x="668" y="529"/>
                </a:cubicBezTo>
                <a:close/>
                <a:moveTo>
                  <a:pt x="671" y="547"/>
                </a:moveTo>
                <a:cubicBezTo>
                  <a:pt x="670" y="546"/>
                  <a:pt x="670" y="545"/>
                  <a:pt x="671" y="545"/>
                </a:cubicBezTo>
                <a:cubicBezTo>
                  <a:pt x="671" y="545"/>
                  <a:pt x="673" y="547"/>
                  <a:pt x="671" y="547"/>
                </a:cubicBezTo>
                <a:close/>
                <a:moveTo>
                  <a:pt x="674" y="539"/>
                </a:moveTo>
                <a:cubicBezTo>
                  <a:pt x="674" y="540"/>
                  <a:pt x="675" y="541"/>
                  <a:pt x="674" y="541"/>
                </a:cubicBezTo>
                <a:cubicBezTo>
                  <a:pt x="672" y="541"/>
                  <a:pt x="674" y="537"/>
                  <a:pt x="674" y="539"/>
                </a:cubicBezTo>
                <a:close/>
                <a:moveTo>
                  <a:pt x="674" y="500"/>
                </a:moveTo>
                <a:cubicBezTo>
                  <a:pt x="675" y="501"/>
                  <a:pt x="673" y="501"/>
                  <a:pt x="674" y="500"/>
                </a:cubicBezTo>
                <a:close/>
                <a:moveTo>
                  <a:pt x="674" y="542"/>
                </a:moveTo>
                <a:cubicBezTo>
                  <a:pt x="674" y="542"/>
                  <a:pt x="674" y="543"/>
                  <a:pt x="674" y="544"/>
                </a:cubicBezTo>
                <a:cubicBezTo>
                  <a:pt x="674" y="544"/>
                  <a:pt x="675" y="544"/>
                  <a:pt x="674" y="545"/>
                </a:cubicBezTo>
                <a:cubicBezTo>
                  <a:pt x="674" y="545"/>
                  <a:pt x="674" y="545"/>
                  <a:pt x="674" y="545"/>
                </a:cubicBezTo>
                <a:cubicBezTo>
                  <a:pt x="674" y="546"/>
                  <a:pt x="674" y="547"/>
                  <a:pt x="674" y="549"/>
                </a:cubicBezTo>
                <a:cubicBezTo>
                  <a:pt x="673" y="547"/>
                  <a:pt x="673" y="544"/>
                  <a:pt x="674" y="542"/>
                </a:cubicBezTo>
                <a:close/>
                <a:moveTo>
                  <a:pt x="676" y="552"/>
                </a:moveTo>
                <a:cubicBezTo>
                  <a:pt x="676" y="553"/>
                  <a:pt x="676" y="553"/>
                  <a:pt x="676" y="553"/>
                </a:cubicBezTo>
                <a:cubicBezTo>
                  <a:pt x="675" y="554"/>
                  <a:pt x="675" y="551"/>
                  <a:pt x="676" y="552"/>
                </a:cubicBezTo>
                <a:close/>
                <a:moveTo>
                  <a:pt x="675" y="516"/>
                </a:moveTo>
                <a:cubicBezTo>
                  <a:pt x="676" y="516"/>
                  <a:pt x="676" y="517"/>
                  <a:pt x="676" y="517"/>
                </a:cubicBezTo>
                <a:cubicBezTo>
                  <a:pt x="677" y="519"/>
                  <a:pt x="674" y="517"/>
                  <a:pt x="675" y="516"/>
                </a:cubicBezTo>
                <a:close/>
                <a:moveTo>
                  <a:pt x="674" y="502"/>
                </a:moveTo>
                <a:cubicBezTo>
                  <a:pt x="675" y="502"/>
                  <a:pt x="676" y="504"/>
                  <a:pt x="676" y="505"/>
                </a:cubicBezTo>
                <a:cubicBezTo>
                  <a:pt x="675" y="505"/>
                  <a:pt x="675" y="503"/>
                  <a:pt x="674" y="502"/>
                </a:cubicBezTo>
                <a:close/>
                <a:moveTo>
                  <a:pt x="675" y="481"/>
                </a:moveTo>
                <a:cubicBezTo>
                  <a:pt x="674" y="481"/>
                  <a:pt x="674" y="480"/>
                  <a:pt x="674" y="480"/>
                </a:cubicBezTo>
                <a:cubicBezTo>
                  <a:pt x="675" y="479"/>
                  <a:pt x="675" y="480"/>
                  <a:pt x="675" y="481"/>
                </a:cubicBezTo>
                <a:close/>
                <a:moveTo>
                  <a:pt x="672" y="412"/>
                </a:moveTo>
                <a:cubicBezTo>
                  <a:pt x="675" y="413"/>
                  <a:pt x="672" y="417"/>
                  <a:pt x="670" y="416"/>
                </a:cubicBezTo>
                <a:cubicBezTo>
                  <a:pt x="670" y="416"/>
                  <a:pt x="670" y="411"/>
                  <a:pt x="672" y="412"/>
                </a:cubicBezTo>
                <a:close/>
                <a:moveTo>
                  <a:pt x="668" y="453"/>
                </a:moveTo>
                <a:cubicBezTo>
                  <a:pt x="669" y="453"/>
                  <a:pt x="668" y="454"/>
                  <a:pt x="667" y="453"/>
                </a:cubicBezTo>
                <a:cubicBezTo>
                  <a:pt x="667" y="453"/>
                  <a:pt x="668" y="452"/>
                  <a:pt x="668" y="453"/>
                </a:cubicBezTo>
                <a:close/>
                <a:moveTo>
                  <a:pt x="667" y="446"/>
                </a:moveTo>
                <a:cubicBezTo>
                  <a:pt x="665" y="447"/>
                  <a:pt x="668" y="444"/>
                  <a:pt x="667" y="446"/>
                </a:cubicBezTo>
                <a:close/>
                <a:moveTo>
                  <a:pt x="673" y="492"/>
                </a:moveTo>
                <a:cubicBezTo>
                  <a:pt x="672" y="498"/>
                  <a:pt x="665" y="495"/>
                  <a:pt x="665" y="490"/>
                </a:cubicBezTo>
                <a:cubicBezTo>
                  <a:pt x="665" y="482"/>
                  <a:pt x="674" y="486"/>
                  <a:pt x="673" y="492"/>
                </a:cubicBezTo>
                <a:close/>
                <a:moveTo>
                  <a:pt x="664" y="429"/>
                </a:moveTo>
                <a:cubicBezTo>
                  <a:pt x="665" y="429"/>
                  <a:pt x="665" y="430"/>
                  <a:pt x="664" y="430"/>
                </a:cubicBezTo>
                <a:cubicBezTo>
                  <a:pt x="662" y="430"/>
                  <a:pt x="663" y="427"/>
                  <a:pt x="664" y="429"/>
                </a:cubicBezTo>
                <a:close/>
                <a:moveTo>
                  <a:pt x="663" y="455"/>
                </a:moveTo>
                <a:cubicBezTo>
                  <a:pt x="663" y="455"/>
                  <a:pt x="662" y="456"/>
                  <a:pt x="662" y="456"/>
                </a:cubicBezTo>
                <a:cubicBezTo>
                  <a:pt x="662" y="456"/>
                  <a:pt x="662" y="455"/>
                  <a:pt x="663" y="455"/>
                </a:cubicBezTo>
                <a:close/>
                <a:moveTo>
                  <a:pt x="661" y="411"/>
                </a:moveTo>
                <a:cubicBezTo>
                  <a:pt x="661" y="411"/>
                  <a:pt x="661" y="411"/>
                  <a:pt x="661" y="410"/>
                </a:cubicBezTo>
                <a:cubicBezTo>
                  <a:pt x="661" y="410"/>
                  <a:pt x="661" y="410"/>
                  <a:pt x="661" y="410"/>
                </a:cubicBezTo>
                <a:cubicBezTo>
                  <a:pt x="661" y="410"/>
                  <a:pt x="661" y="411"/>
                  <a:pt x="661" y="411"/>
                </a:cubicBezTo>
                <a:close/>
                <a:moveTo>
                  <a:pt x="633" y="545"/>
                </a:moveTo>
                <a:cubicBezTo>
                  <a:pt x="633" y="545"/>
                  <a:pt x="633" y="545"/>
                  <a:pt x="633" y="545"/>
                </a:cubicBezTo>
                <a:cubicBezTo>
                  <a:pt x="633" y="545"/>
                  <a:pt x="632" y="544"/>
                  <a:pt x="633" y="545"/>
                </a:cubicBezTo>
                <a:close/>
                <a:moveTo>
                  <a:pt x="633" y="509"/>
                </a:moveTo>
                <a:cubicBezTo>
                  <a:pt x="632" y="508"/>
                  <a:pt x="633" y="507"/>
                  <a:pt x="634" y="507"/>
                </a:cubicBezTo>
                <a:cubicBezTo>
                  <a:pt x="635" y="507"/>
                  <a:pt x="635" y="510"/>
                  <a:pt x="633" y="509"/>
                </a:cubicBezTo>
                <a:close/>
                <a:moveTo>
                  <a:pt x="635" y="516"/>
                </a:moveTo>
                <a:cubicBezTo>
                  <a:pt x="634" y="517"/>
                  <a:pt x="634" y="516"/>
                  <a:pt x="634" y="516"/>
                </a:cubicBezTo>
                <a:cubicBezTo>
                  <a:pt x="634" y="515"/>
                  <a:pt x="635" y="516"/>
                  <a:pt x="635" y="516"/>
                </a:cubicBezTo>
                <a:close/>
                <a:moveTo>
                  <a:pt x="637" y="522"/>
                </a:moveTo>
                <a:cubicBezTo>
                  <a:pt x="638" y="522"/>
                  <a:pt x="639" y="528"/>
                  <a:pt x="639" y="529"/>
                </a:cubicBezTo>
                <a:cubicBezTo>
                  <a:pt x="638" y="534"/>
                  <a:pt x="636" y="523"/>
                  <a:pt x="637" y="522"/>
                </a:cubicBezTo>
                <a:close/>
                <a:moveTo>
                  <a:pt x="639" y="541"/>
                </a:moveTo>
                <a:cubicBezTo>
                  <a:pt x="639" y="541"/>
                  <a:pt x="640" y="539"/>
                  <a:pt x="640" y="541"/>
                </a:cubicBezTo>
                <a:cubicBezTo>
                  <a:pt x="640" y="540"/>
                  <a:pt x="640" y="542"/>
                  <a:pt x="639" y="541"/>
                </a:cubicBezTo>
                <a:close/>
                <a:moveTo>
                  <a:pt x="641" y="545"/>
                </a:moveTo>
                <a:cubicBezTo>
                  <a:pt x="638" y="545"/>
                  <a:pt x="640" y="542"/>
                  <a:pt x="642" y="543"/>
                </a:cubicBezTo>
                <a:cubicBezTo>
                  <a:pt x="643" y="543"/>
                  <a:pt x="642" y="546"/>
                  <a:pt x="641" y="545"/>
                </a:cubicBezTo>
                <a:close/>
                <a:moveTo>
                  <a:pt x="652" y="501"/>
                </a:moveTo>
                <a:cubicBezTo>
                  <a:pt x="652" y="501"/>
                  <a:pt x="651" y="499"/>
                  <a:pt x="652" y="500"/>
                </a:cubicBezTo>
                <a:cubicBezTo>
                  <a:pt x="652" y="500"/>
                  <a:pt x="653" y="501"/>
                  <a:pt x="652" y="501"/>
                </a:cubicBezTo>
                <a:close/>
                <a:moveTo>
                  <a:pt x="655" y="533"/>
                </a:moveTo>
                <a:cubicBezTo>
                  <a:pt x="654" y="529"/>
                  <a:pt x="654" y="522"/>
                  <a:pt x="654" y="518"/>
                </a:cubicBezTo>
                <a:cubicBezTo>
                  <a:pt x="654" y="520"/>
                  <a:pt x="654" y="517"/>
                  <a:pt x="654" y="517"/>
                </a:cubicBezTo>
                <a:cubicBezTo>
                  <a:pt x="656" y="517"/>
                  <a:pt x="655" y="519"/>
                  <a:pt x="655" y="521"/>
                </a:cubicBezTo>
                <a:cubicBezTo>
                  <a:pt x="655" y="523"/>
                  <a:pt x="656" y="529"/>
                  <a:pt x="655" y="533"/>
                </a:cubicBezTo>
                <a:close/>
                <a:moveTo>
                  <a:pt x="659" y="476"/>
                </a:moveTo>
                <a:cubicBezTo>
                  <a:pt x="659" y="479"/>
                  <a:pt x="659" y="474"/>
                  <a:pt x="659" y="476"/>
                </a:cubicBezTo>
                <a:close/>
                <a:moveTo>
                  <a:pt x="659" y="479"/>
                </a:moveTo>
                <a:cubicBezTo>
                  <a:pt x="660" y="482"/>
                  <a:pt x="659" y="477"/>
                  <a:pt x="659" y="479"/>
                </a:cubicBezTo>
                <a:close/>
                <a:moveTo>
                  <a:pt x="659" y="492"/>
                </a:moveTo>
                <a:cubicBezTo>
                  <a:pt x="659" y="492"/>
                  <a:pt x="659" y="493"/>
                  <a:pt x="659" y="493"/>
                </a:cubicBezTo>
                <a:cubicBezTo>
                  <a:pt x="660" y="495"/>
                  <a:pt x="658" y="493"/>
                  <a:pt x="659" y="492"/>
                </a:cubicBezTo>
                <a:close/>
                <a:moveTo>
                  <a:pt x="658" y="525"/>
                </a:moveTo>
                <a:cubicBezTo>
                  <a:pt x="659" y="525"/>
                  <a:pt x="659" y="526"/>
                  <a:pt x="658" y="526"/>
                </a:cubicBezTo>
                <a:cubicBezTo>
                  <a:pt x="657" y="526"/>
                  <a:pt x="658" y="525"/>
                  <a:pt x="658" y="525"/>
                </a:cubicBezTo>
                <a:close/>
                <a:moveTo>
                  <a:pt x="655" y="464"/>
                </a:moveTo>
                <a:cubicBezTo>
                  <a:pt x="654" y="464"/>
                  <a:pt x="654" y="461"/>
                  <a:pt x="655" y="461"/>
                </a:cubicBezTo>
                <a:cubicBezTo>
                  <a:pt x="656" y="461"/>
                  <a:pt x="656" y="464"/>
                  <a:pt x="655" y="464"/>
                </a:cubicBezTo>
                <a:close/>
                <a:moveTo>
                  <a:pt x="654" y="423"/>
                </a:moveTo>
                <a:cubicBezTo>
                  <a:pt x="654" y="423"/>
                  <a:pt x="654" y="423"/>
                  <a:pt x="653" y="423"/>
                </a:cubicBezTo>
                <a:cubicBezTo>
                  <a:pt x="653" y="422"/>
                  <a:pt x="653" y="422"/>
                  <a:pt x="653" y="422"/>
                </a:cubicBezTo>
                <a:cubicBezTo>
                  <a:pt x="653" y="422"/>
                  <a:pt x="653" y="423"/>
                  <a:pt x="654" y="423"/>
                </a:cubicBezTo>
                <a:close/>
                <a:moveTo>
                  <a:pt x="655" y="454"/>
                </a:moveTo>
                <a:cubicBezTo>
                  <a:pt x="653" y="452"/>
                  <a:pt x="649" y="448"/>
                  <a:pt x="649" y="445"/>
                </a:cubicBezTo>
                <a:cubicBezTo>
                  <a:pt x="651" y="449"/>
                  <a:pt x="654" y="450"/>
                  <a:pt x="655" y="454"/>
                </a:cubicBezTo>
                <a:close/>
                <a:moveTo>
                  <a:pt x="648" y="439"/>
                </a:moveTo>
                <a:cubicBezTo>
                  <a:pt x="648" y="439"/>
                  <a:pt x="648" y="440"/>
                  <a:pt x="648" y="440"/>
                </a:cubicBezTo>
                <a:cubicBezTo>
                  <a:pt x="647" y="440"/>
                  <a:pt x="647" y="438"/>
                  <a:pt x="648" y="439"/>
                </a:cubicBezTo>
                <a:close/>
                <a:moveTo>
                  <a:pt x="647" y="500"/>
                </a:moveTo>
                <a:cubicBezTo>
                  <a:pt x="648" y="501"/>
                  <a:pt x="648" y="502"/>
                  <a:pt x="647" y="502"/>
                </a:cubicBezTo>
                <a:cubicBezTo>
                  <a:pt x="643" y="503"/>
                  <a:pt x="646" y="496"/>
                  <a:pt x="647" y="500"/>
                </a:cubicBezTo>
                <a:close/>
                <a:moveTo>
                  <a:pt x="646" y="457"/>
                </a:moveTo>
                <a:cubicBezTo>
                  <a:pt x="646" y="457"/>
                  <a:pt x="646" y="458"/>
                  <a:pt x="646" y="458"/>
                </a:cubicBezTo>
                <a:cubicBezTo>
                  <a:pt x="644" y="459"/>
                  <a:pt x="645" y="456"/>
                  <a:pt x="646" y="457"/>
                </a:cubicBezTo>
                <a:close/>
                <a:moveTo>
                  <a:pt x="642" y="405"/>
                </a:moveTo>
                <a:cubicBezTo>
                  <a:pt x="642" y="406"/>
                  <a:pt x="643" y="406"/>
                  <a:pt x="642" y="406"/>
                </a:cubicBezTo>
                <a:cubicBezTo>
                  <a:pt x="642" y="407"/>
                  <a:pt x="642" y="405"/>
                  <a:pt x="642" y="405"/>
                </a:cubicBezTo>
                <a:close/>
                <a:moveTo>
                  <a:pt x="642" y="528"/>
                </a:moveTo>
                <a:cubicBezTo>
                  <a:pt x="645" y="524"/>
                  <a:pt x="650" y="530"/>
                  <a:pt x="651" y="533"/>
                </a:cubicBezTo>
                <a:cubicBezTo>
                  <a:pt x="651" y="543"/>
                  <a:pt x="638" y="533"/>
                  <a:pt x="642" y="528"/>
                </a:cubicBezTo>
                <a:close/>
                <a:moveTo>
                  <a:pt x="641" y="494"/>
                </a:moveTo>
                <a:cubicBezTo>
                  <a:pt x="640" y="493"/>
                  <a:pt x="640" y="491"/>
                  <a:pt x="641" y="490"/>
                </a:cubicBezTo>
                <a:cubicBezTo>
                  <a:pt x="641" y="491"/>
                  <a:pt x="641" y="492"/>
                  <a:pt x="641" y="494"/>
                </a:cubicBezTo>
                <a:close/>
                <a:moveTo>
                  <a:pt x="641" y="488"/>
                </a:moveTo>
                <a:cubicBezTo>
                  <a:pt x="641" y="488"/>
                  <a:pt x="641" y="488"/>
                  <a:pt x="641" y="488"/>
                </a:cubicBezTo>
                <a:cubicBezTo>
                  <a:pt x="641" y="488"/>
                  <a:pt x="641" y="488"/>
                  <a:pt x="641" y="488"/>
                </a:cubicBezTo>
                <a:cubicBezTo>
                  <a:pt x="641" y="488"/>
                  <a:pt x="641" y="488"/>
                  <a:pt x="641" y="488"/>
                </a:cubicBezTo>
                <a:close/>
                <a:moveTo>
                  <a:pt x="641" y="452"/>
                </a:moveTo>
                <a:cubicBezTo>
                  <a:pt x="641" y="452"/>
                  <a:pt x="641" y="452"/>
                  <a:pt x="641" y="452"/>
                </a:cubicBezTo>
                <a:cubicBezTo>
                  <a:pt x="641" y="454"/>
                  <a:pt x="640" y="450"/>
                  <a:pt x="641" y="452"/>
                </a:cubicBezTo>
                <a:close/>
                <a:moveTo>
                  <a:pt x="641" y="478"/>
                </a:moveTo>
                <a:cubicBezTo>
                  <a:pt x="641" y="478"/>
                  <a:pt x="641" y="479"/>
                  <a:pt x="641" y="479"/>
                </a:cubicBezTo>
                <a:cubicBezTo>
                  <a:pt x="641" y="479"/>
                  <a:pt x="641" y="479"/>
                  <a:pt x="641" y="480"/>
                </a:cubicBezTo>
                <a:cubicBezTo>
                  <a:pt x="641" y="480"/>
                  <a:pt x="641" y="481"/>
                  <a:pt x="641" y="480"/>
                </a:cubicBezTo>
                <a:cubicBezTo>
                  <a:pt x="641" y="480"/>
                  <a:pt x="641" y="479"/>
                  <a:pt x="641" y="479"/>
                </a:cubicBezTo>
                <a:cubicBezTo>
                  <a:pt x="641" y="479"/>
                  <a:pt x="641" y="479"/>
                  <a:pt x="641" y="479"/>
                </a:cubicBezTo>
                <a:cubicBezTo>
                  <a:pt x="641" y="479"/>
                  <a:pt x="641" y="478"/>
                  <a:pt x="641" y="478"/>
                </a:cubicBezTo>
                <a:close/>
                <a:moveTo>
                  <a:pt x="641" y="482"/>
                </a:moveTo>
                <a:cubicBezTo>
                  <a:pt x="641" y="483"/>
                  <a:pt x="641" y="485"/>
                  <a:pt x="641" y="487"/>
                </a:cubicBezTo>
                <a:cubicBezTo>
                  <a:pt x="640" y="486"/>
                  <a:pt x="640" y="484"/>
                  <a:pt x="641" y="482"/>
                </a:cubicBezTo>
                <a:close/>
                <a:moveTo>
                  <a:pt x="640" y="442"/>
                </a:moveTo>
                <a:cubicBezTo>
                  <a:pt x="639" y="440"/>
                  <a:pt x="634" y="435"/>
                  <a:pt x="634" y="432"/>
                </a:cubicBezTo>
                <a:cubicBezTo>
                  <a:pt x="636" y="435"/>
                  <a:pt x="639" y="439"/>
                  <a:pt x="640" y="442"/>
                </a:cubicBezTo>
                <a:close/>
                <a:moveTo>
                  <a:pt x="633" y="488"/>
                </a:moveTo>
                <a:cubicBezTo>
                  <a:pt x="634" y="488"/>
                  <a:pt x="634" y="489"/>
                  <a:pt x="634" y="489"/>
                </a:cubicBezTo>
                <a:cubicBezTo>
                  <a:pt x="634" y="492"/>
                  <a:pt x="630" y="488"/>
                  <a:pt x="633" y="488"/>
                </a:cubicBezTo>
                <a:close/>
                <a:moveTo>
                  <a:pt x="633" y="524"/>
                </a:moveTo>
                <a:cubicBezTo>
                  <a:pt x="634" y="524"/>
                  <a:pt x="634" y="526"/>
                  <a:pt x="632" y="526"/>
                </a:cubicBezTo>
                <a:cubicBezTo>
                  <a:pt x="631" y="526"/>
                  <a:pt x="631" y="524"/>
                  <a:pt x="633" y="524"/>
                </a:cubicBezTo>
                <a:close/>
                <a:moveTo>
                  <a:pt x="582" y="488"/>
                </a:moveTo>
                <a:cubicBezTo>
                  <a:pt x="583" y="489"/>
                  <a:pt x="581" y="487"/>
                  <a:pt x="582" y="488"/>
                </a:cubicBezTo>
                <a:close/>
                <a:moveTo>
                  <a:pt x="583" y="573"/>
                </a:moveTo>
                <a:cubicBezTo>
                  <a:pt x="585" y="572"/>
                  <a:pt x="587" y="574"/>
                  <a:pt x="589" y="575"/>
                </a:cubicBezTo>
                <a:cubicBezTo>
                  <a:pt x="587" y="575"/>
                  <a:pt x="585" y="574"/>
                  <a:pt x="583" y="573"/>
                </a:cubicBezTo>
                <a:close/>
                <a:moveTo>
                  <a:pt x="590" y="563"/>
                </a:moveTo>
                <a:cubicBezTo>
                  <a:pt x="591" y="564"/>
                  <a:pt x="590" y="565"/>
                  <a:pt x="590" y="563"/>
                </a:cubicBezTo>
                <a:close/>
                <a:moveTo>
                  <a:pt x="590" y="549"/>
                </a:moveTo>
                <a:cubicBezTo>
                  <a:pt x="588" y="548"/>
                  <a:pt x="590" y="547"/>
                  <a:pt x="590" y="549"/>
                </a:cubicBezTo>
                <a:close/>
                <a:moveTo>
                  <a:pt x="595" y="560"/>
                </a:moveTo>
                <a:cubicBezTo>
                  <a:pt x="594" y="559"/>
                  <a:pt x="594" y="557"/>
                  <a:pt x="595" y="555"/>
                </a:cubicBezTo>
                <a:cubicBezTo>
                  <a:pt x="596" y="556"/>
                  <a:pt x="595" y="558"/>
                  <a:pt x="595" y="560"/>
                </a:cubicBezTo>
                <a:close/>
                <a:moveTo>
                  <a:pt x="603" y="595"/>
                </a:moveTo>
                <a:cubicBezTo>
                  <a:pt x="600" y="596"/>
                  <a:pt x="600" y="592"/>
                  <a:pt x="603" y="595"/>
                </a:cubicBezTo>
                <a:close/>
                <a:moveTo>
                  <a:pt x="607" y="583"/>
                </a:moveTo>
                <a:cubicBezTo>
                  <a:pt x="603" y="584"/>
                  <a:pt x="604" y="579"/>
                  <a:pt x="604" y="577"/>
                </a:cubicBezTo>
                <a:cubicBezTo>
                  <a:pt x="607" y="576"/>
                  <a:pt x="611" y="582"/>
                  <a:pt x="607" y="583"/>
                </a:cubicBezTo>
                <a:close/>
                <a:moveTo>
                  <a:pt x="606" y="564"/>
                </a:moveTo>
                <a:cubicBezTo>
                  <a:pt x="608" y="564"/>
                  <a:pt x="609" y="565"/>
                  <a:pt x="610" y="567"/>
                </a:cubicBezTo>
                <a:cubicBezTo>
                  <a:pt x="610" y="567"/>
                  <a:pt x="610" y="567"/>
                  <a:pt x="610" y="567"/>
                </a:cubicBezTo>
                <a:cubicBezTo>
                  <a:pt x="610" y="567"/>
                  <a:pt x="610" y="567"/>
                  <a:pt x="610" y="567"/>
                </a:cubicBezTo>
                <a:cubicBezTo>
                  <a:pt x="611" y="568"/>
                  <a:pt x="612" y="569"/>
                  <a:pt x="612" y="569"/>
                </a:cubicBezTo>
                <a:cubicBezTo>
                  <a:pt x="613" y="569"/>
                  <a:pt x="613" y="569"/>
                  <a:pt x="613" y="570"/>
                </a:cubicBezTo>
                <a:cubicBezTo>
                  <a:pt x="613" y="570"/>
                  <a:pt x="613" y="570"/>
                  <a:pt x="613" y="570"/>
                </a:cubicBezTo>
                <a:cubicBezTo>
                  <a:pt x="613" y="570"/>
                  <a:pt x="613" y="570"/>
                  <a:pt x="613" y="570"/>
                </a:cubicBezTo>
                <a:cubicBezTo>
                  <a:pt x="613" y="570"/>
                  <a:pt x="613" y="570"/>
                  <a:pt x="613" y="571"/>
                </a:cubicBezTo>
                <a:cubicBezTo>
                  <a:pt x="613" y="570"/>
                  <a:pt x="612" y="570"/>
                  <a:pt x="612" y="570"/>
                </a:cubicBezTo>
                <a:cubicBezTo>
                  <a:pt x="610" y="568"/>
                  <a:pt x="608" y="565"/>
                  <a:pt x="606" y="564"/>
                </a:cubicBezTo>
                <a:close/>
                <a:moveTo>
                  <a:pt x="613" y="568"/>
                </a:moveTo>
                <a:cubicBezTo>
                  <a:pt x="611" y="567"/>
                  <a:pt x="613" y="565"/>
                  <a:pt x="613" y="568"/>
                </a:cubicBezTo>
                <a:close/>
                <a:moveTo>
                  <a:pt x="616" y="579"/>
                </a:moveTo>
                <a:cubicBezTo>
                  <a:pt x="612" y="580"/>
                  <a:pt x="611" y="573"/>
                  <a:pt x="613" y="572"/>
                </a:cubicBezTo>
                <a:cubicBezTo>
                  <a:pt x="616" y="570"/>
                  <a:pt x="618" y="575"/>
                  <a:pt x="618" y="576"/>
                </a:cubicBezTo>
                <a:cubicBezTo>
                  <a:pt x="618" y="578"/>
                  <a:pt x="617" y="579"/>
                  <a:pt x="616" y="579"/>
                </a:cubicBezTo>
                <a:close/>
                <a:moveTo>
                  <a:pt x="615" y="543"/>
                </a:moveTo>
                <a:cubicBezTo>
                  <a:pt x="616" y="543"/>
                  <a:pt x="617" y="543"/>
                  <a:pt x="617" y="544"/>
                </a:cubicBezTo>
                <a:cubicBezTo>
                  <a:pt x="618" y="547"/>
                  <a:pt x="613" y="545"/>
                  <a:pt x="615" y="543"/>
                </a:cubicBezTo>
                <a:close/>
                <a:moveTo>
                  <a:pt x="615" y="515"/>
                </a:moveTo>
                <a:cubicBezTo>
                  <a:pt x="616" y="515"/>
                  <a:pt x="616" y="516"/>
                  <a:pt x="616" y="516"/>
                </a:cubicBezTo>
                <a:cubicBezTo>
                  <a:pt x="617" y="518"/>
                  <a:pt x="614" y="516"/>
                  <a:pt x="615" y="515"/>
                </a:cubicBezTo>
                <a:close/>
                <a:moveTo>
                  <a:pt x="617" y="556"/>
                </a:moveTo>
                <a:cubicBezTo>
                  <a:pt x="617" y="556"/>
                  <a:pt x="617" y="556"/>
                  <a:pt x="617" y="556"/>
                </a:cubicBezTo>
                <a:cubicBezTo>
                  <a:pt x="615" y="555"/>
                  <a:pt x="618" y="555"/>
                  <a:pt x="617" y="556"/>
                </a:cubicBezTo>
                <a:close/>
                <a:moveTo>
                  <a:pt x="618" y="554"/>
                </a:moveTo>
                <a:cubicBezTo>
                  <a:pt x="618" y="553"/>
                  <a:pt x="618" y="555"/>
                  <a:pt x="618" y="555"/>
                </a:cubicBezTo>
                <a:cubicBezTo>
                  <a:pt x="618" y="556"/>
                  <a:pt x="616" y="555"/>
                  <a:pt x="618" y="554"/>
                </a:cubicBezTo>
                <a:close/>
                <a:moveTo>
                  <a:pt x="618" y="537"/>
                </a:moveTo>
                <a:cubicBezTo>
                  <a:pt x="617" y="536"/>
                  <a:pt x="617" y="533"/>
                  <a:pt x="619" y="534"/>
                </a:cubicBezTo>
                <a:cubicBezTo>
                  <a:pt x="620" y="534"/>
                  <a:pt x="620" y="538"/>
                  <a:pt x="618" y="537"/>
                </a:cubicBezTo>
                <a:close/>
                <a:moveTo>
                  <a:pt x="621" y="553"/>
                </a:moveTo>
                <a:cubicBezTo>
                  <a:pt x="619" y="554"/>
                  <a:pt x="620" y="549"/>
                  <a:pt x="621" y="552"/>
                </a:cubicBezTo>
                <a:cubicBezTo>
                  <a:pt x="622" y="552"/>
                  <a:pt x="622" y="553"/>
                  <a:pt x="621" y="553"/>
                </a:cubicBezTo>
                <a:close/>
                <a:moveTo>
                  <a:pt x="623" y="544"/>
                </a:moveTo>
                <a:cubicBezTo>
                  <a:pt x="622" y="543"/>
                  <a:pt x="624" y="543"/>
                  <a:pt x="623" y="544"/>
                </a:cubicBezTo>
                <a:close/>
                <a:moveTo>
                  <a:pt x="624" y="553"/>
                </a:moveTo>
                <a:cubicBezTo>
                  <a:pt x="625" y="554"/>
                  <a:pt x="623" y="551"/>
                  <a:pt x="624" y="553"/>
                </a:cubicBezTo>
                <a:close/>
                <a:moveTo>
                  <a:pt x="624" y="503"/>
                </a:moveTo>
                <a:cubicBezTo>
                  <a:pt x="622" y="502"/>
                  <a:pt x="623" y="497"/>
                  <a:pt x="626" y="497"/>
                </a:cubicBezTo>
                <a:cubicBezTo>
                  <a:pt x="629" y="498"/>
                  <a:pt x="627" y="505"/>
                  <a:pt x="624" y="503"/>
                </a:cubicBezTo>
                <a:close/>
                <a:moveTo>
                  <a:pt x="628" y="419"/>
                </a:moveTo>
                <a:cubicBezTo>
                  <a:pt x="629" y="420"/>
                  <a:pt x="628" y="421"/>
                  <a:pt x="627" y="420"/>
                </a:cubicBezTo>
                <a:cubicBezTo>
                  <a:pt x="627" y="419"/>
                  <a:pt x="628" y="419"/>
                  <a:pt x="628" y="419"/>
                </a:cubicBezTo>
                <a:close/>
                <a:moveTo>
                  <a:pt x="628" y="466"/>
                </a:moveTo>
                <a:cubicBezTo>
                  <a:pt x="629" y="467"/>
                  <a:pt x="627" y="472"/>
                  <a:pt x="624" y="469"/>
                </a:cubicBezTo>
                <a:cubicBezTo>
                  <a:pt x="623" y="468"/>
                  <a:pt x="626" y="465"/>
                  <a:pt x="628" y="466"/>
                </a:cubicBezTo>
                <a:close/>
                <a:moveTo>
                  <a:pt x="624" y="448"/>
                </a:moveTo>
                <a:cubicBezTo>
                  <a:pt x="627" y="450"/>
                  <a:pt x="625" y="451"/>
                  <a:pt x="624" y="448"/>
                </a:cubicBezTo>
                <a:close/>
                <a:moveTo>
                  <a:pt x="624" y="438"/>
                </a:moveTo>
                <a:cubicBezTo>
                  <a:pt x="625" y="439"/>
                  <a:pt x="623" y="437"/>
                  <a:pt x="624" y="438"/>
                </a:cubicBezTo>
                <a:close/>
                <a:moveTo>
                  <a:pt x="625" y="439"/>
                </a:moveTo>
                <a:cubicBezTo>
                  <a:pt x="628" y="439"/>
                  <a:pt x="628" y="444"/>
                  <a:pt x="625" y="444"/>
                </a:cubicBezTo>
                <a:cubicBezTo>
                  <a:pt x="623" y="444"/>
                  <a:pt x="623" y="439"/>
                  <a:pt x="625" y="439"/>
                </a:cubicBezTo>
                <a:close/>
                <a:moveTo>
                  <a:pt x="623" y="483"/>
                </a:moveTo>
                <a:cubicBezTo>
                  <a:pt x="624" y="484"/>
                  <a:pt x="622" y="484"/>
                  <a:pt x="623" y="483"/>
                </a:cubicBezTo>
                <a:close/>
                <a:moveTo>
                  <a:pt x="621" y="454"/>
                </a:moveTo>
                <a:cubicBezTo>
                  <a:pt x="622" y="454"/>
                  <a:pt x="621" y="455"/>
                  <a:pt x="621" y="455"/>
                </a:cubicBezTo>
                <a:cubicBezTo>
                  <a:pt x="620" y="454"/>
                  <a:pt x="621" y="454"/>
                  <a:pt x="621" y="454"/>
                </a:cubicBezTo>
                <a:close/>
                <a:moveTo>
                  <a:pt x="618" y="462"/>
                </a:moveTo>
                <a:cubicBezTo>
                  <a:pt x="618" y="462"/>
                  <a:pt x="619" y="463"/>
                  <a:pt x="619" y="463"/>
                </a:cubicBezTo>
                <a:cubicBezTo>
                  <a:pt x="618" y="464"/>
                  <a:pt x="618" y="461"/>
                  <a:pt x="618" y="462"/>
                </a:cubicBezTo>
                <a:close/>
                <a:moveTo>
                  <a:pt x="615" y="421"/>
                </a:moveTo>
                <a:cubicBezTo>
                  <a:pt x="616" y="421"/>
                  <a:pt x="616" y="422"/>
                  <a:pt x="616" y="422"/>
                </a:cubicBezTo>
                <a:cubicBezTo>
                  <a:pt x="615" y="423"/>
                  <a:pt x="615" y="421"/>
                  <a:pt x="615" y="421"/>
                </a:cubicBezTo>
                <a:close/>
                <a:moveTo>
                  <a:pt x="625" y="495"/>
                </a:moveTo>
                <a:cubicBezTo>
                  <a:pt x="624" y="495"/>
                  <a:pt x="622" y="497"/>
                  <a:pt x="621" y="496"/>
                </a:cubicBezTo>
                <a:cubicBezTo>
                  <a:pt x="620" y="495"/>
                  <a:pt x="622" y="494"/>
                  <a:pt x="621" y="493"/>
                </a:cubicBezTo>
                <a:cubicBezTo>
                  <a:pt x="620" y="490"/>
                  <a:pt x="616" y="488"/>
                  <a:pt x="615" y="485"/>
                </a:cubicBezTo>
                <a:cubicBezTo>
                  <a:pt x="618" y="487"/>
                  <a:pt x="621" y="491"/>
                  <a:pt x="625" y="495"/>
                </a:cubicBezTo>
                <a:close/>
                <a:moveTo>
                  <a:pt x="612" y="402"/>
                </a:moveTo>
                <a:cubicBezTo>
                  <a:pt x="613" y="401"/>
                  <a:pt x="614" y="403"/>
                  <a:pt x="614" y="403"/>
                </a:cubicBezTo>
                <a:cubicBezTo>
                  <a:pt x="614" y="406"/>
                  <a:pt x="610" y="403"/>
                  <a:pt x="612" y="402"/>
                </a:cubicBezTo>
                <a:close/>
                <a:moveTo>
                  <a:pt x="612" y="522"/>
                </a:moveTo>
                <a:cubicBezTo>
                  <a:pt x="613" y="522"/>
                  <a:pt x="613" y="524"/>
                  <a:pt x="612" y="524"/>
                </a:cubicBezTo>
                <a:cubicBezTo>
                  <a:pt x="611" y="523"/>
                  <a:pt x="611" y="522"/>
                  <a:pt x="612" y="522"/>
                </a:cubicBezTo>
                <a:close/>
                <a:moveTo>
                  <a:pt x="612" y="517"/>
                </a:moveTo>
                <a:cubicBezTo>
                  <a:pt x="613" y="519"/>
                  <a:pt x="612" y="516"/>
                  <a:pt x="612" y="517"/>
                </a:cubicBezTo>
                <a:close/>
                <a:moveTo>
                  <a:pt x="613" y="502"/>
                </a:moveTo>
                <a:cubicBezTo>
                  <a:pt x="613" y="503"/>
                  <a:pt x="614" y="504"/>
                  <a:pt x="613" y="505"/>
                </a:cubicBezTo>
                <a:cubicBezTo>
                  <a:pt x="613" y="504"/>
                  <a:pt x="612" y="503"/>
                  <a:pt x="613" y="502"/>
                </a:cubicBezTo>
                <a:close/>
                <a:moveTo>
                  <a:pt x="612" y="484"/>
                </a:moveTo>
                <a:cubicBezTo>
                  <a:pt x="613" y="484"/>
                  <a:pt x="614" y="487"/>
                  <a:pt x="612" y="487"/>
                </a:cubicBezTo>
                <a:cubicBezTo>
                  <a:pt x="610" y="486"/>
                  <a:pt x="611" y="484"/>
                  <a:pt x="612" y="484"/>
                </a:cubicBezTo>
                <a:close/>
                <a:moveTo>
                  <a:pt x="611" y="489"/>
                </a:moveTo>
                <a:cubicBezTo>
                  <a:pt x="612" y="488"/>
                  <a:pt x="612" y="490"/>
                  <a:pt x="612" y="490"/>
                </a:cubicBezTo>
                <a:cubicBezTo>
                  <a:pt x="613" y="493"/>
                  <a:pt x="609" y="489"/>
                  <a:pt x="611" y="489"/>
                </a:cubicBezTo>
                <a:close/>
                <a:moveTo>
                  <a:pt x="609" y="556"/>
                </a:moveTo>
                <a:cubicBezTo>
                  <a:pt x="612" y="553"/>
                  <a:pt x="618" y="559"/>
                  <a:pt x="614" y="562"/>
                </a:cubicBezTo>
                <a:cubicBezTo>
                  <a:pt x="615" y="561"/>
                  <a:pt x="617" y="563"/>
                  <a:pt x="616" y="564"/>
                </a:cubicBezTo>
                <a:cubicBezTo>
                  <a:pt x="615" y="566"/>
                  <a:pt x="612" y="563"/>
                  <a:pt x="614" y="562"/>
                </a:cubicBezTo>
                <a:cubicBezTo>
                  <a:pt x="611" y="563"/>
                  <a:pt x="607" y="558"/>
                  <a:pt x="609" y="556"/>
                </a:cubicBezTo>
                <a:close/>
                <a:moveTo>
                  <a:pt x="607" y="532"/>
                </a:moveTo>
                <a:cubicBezTo>
                  <a:pt x="607" y="532"/>
                  <a:pt x="608" y="533"/>
                  <a:pt x="608" y="533"/>
                </a:cubicBezTo>
                <a:cubicBezTo>
                  <a:pt x="607" y="534"/>
                  <a:pt x="607" y="532"/>
                  <a:pt x="607" y="532"/>
                </a:cubicBezTo>
                <a:close/>
                <a:moveTo>
                  <a:pt x="607" y="517"/>
                </a:moveTo>
                <a:cubicBezTo>
                  <a:pt x="607" y="517"/>
                  <a:pt x="606" y="517"/>
                  <a:pt x="606" y="517"/>
                </a:cubicBezTo>
                <a:cubicBezTo>
                  <a:pt x="606" y="517"/>
                  <a:pt x="606" y="517"/>
                  <a:pt x="606" y="517"/>
                </a:cubicBezTo>
                <a:cubicBezTo>
                  <a:pt x="606" y="517"/>
                  <a:pt x="607" y="517"/>
                  <a:pt x="607" y="517"/>
                </a:cubicBezTo>
                <a:close/>
                <a:moveTo>
                  <a:pt x="606" y="571"/>
                </a:moveTo>
                <a:cubicBezTo>
                  <a:pt x="606" y="570"/>
                  <a:pt x="606" y="570"/>
                  <a:pt x="606" y="570"/>
                </a:cubicBezTo>
                <a:cubicBezTo>
                  <a:pt x="606" y="571"/>
                  <a:pt x="607" y="572"/>
                  <a:pt x="606" y="571"/>
                </a:cubicBezTo>
                <a:close/>
                <a:moveTo>
                  <a:pt x="605" y="461"/>
                </a:moveTo>
                <a:cubicBezTo>
                  <a:pt x="605" y="461"/>
                  <a:pt x="606" y="462"/>
                  <a:pt x="605" y="462"/>
                </a:cubicBezTo>
                <a:cubicBezTo>
                  <a:pt x="605" y="463"/>
                  <a:pt x="605" y="461"/>
                  <a:pt x="605" y="461"/>
                </a:cubicBezTo>
                <a:close/>
                <a:moveTo>
                  <a:pt x="602" y="525"/>
                </a:moveTo>
                <a:cubicBezTo>
                  <a:pt x="603" y="527"/>
                  <a:pt x="604" y="530"/>
                  <a:pt x="604" y="534"/>
                </a:cubicBezTo>
                <a:cubicBezTo>
                  <a:pt x="603" y="531"/>
                  <a:pt x="602" y="528"/>
                  <a:pt x="602" y="525"/>
                </a:cubicBezTo>
                <a:close/>
                <a:moveTo>
                  <a:pt x="604" y="450"/>
                </a:moveTo>
                <a:cubicBezTo>
                  <a:pt x="604" y="450"/>
                  <a:pt x="604" y="450"/>
                  <a:pt x="604" y="450"/>
                </a:cubicBezTo>
                <a:cubicBezTo>
                  <a:pt x="603" y="450"/>
                  <a:pt x="604" y="450"/>
                  <a:pt x="604" y="450"/>
                </a:cubicBezTo>
                <a:close/>
                <a:moveTo>
                  <a:pt x="604" y="477"/>
                </a:moveTo>
                <a:cubicBezTo>
                  <a:pt x="603" y="476"/>
                  <a:pt x="604" y="475"/>
                  <a:pt x="604" y="477"/>
                </a:cubicBezTo>
                <a:close/>
                <a:moveTo>
                  <a:pt x="602" y="450"/>
                </a:moveTo>
                <a:cubicBezTo>
                  <a:pt x="602" y="450"/>
                  <a:pt x="601" y="450"/>
                  <a:pt x="601" y="450"/>
                </a:cubicBezTo>
                <a:cubicBezTo>
                  <a:pt x="599" y="450"/>
                  <a:pt x="603" y="448"/>
                  <a:pt x="602" y="450"/>
                </a:cubicBezTo>
                <a:close/>
                <a:moveTo>
                  <a:pt x="601" y="516"/>
                </a:moveTo>
                <a:cubicBezTo>
                  <a:pt x="602" y="518"/>
                  <a:pt x="602" y="521"/>
                  <a:pt x="602" y="522"/>
                </a:cubicBezTo>
                <a:cubicBezTo>
                  <a:pt x="602" y="522"/>
                  <a:pt x="600" y="518"/>
                  <a:pt x="601" y="516"/>
                </a:cubicBezTo>
                <a:close/>
                <a:moveTo>
                  <a:pt x="597" y="521"/>
                </a:moveTo>
                <a:cubicBezTo>
                  <a:pt x="598" y="521"/>
                  <a:pt x="598" y="522"/>
                  <a:pt x="599" y="522"/>
                </a:cubicBezTo>
                <a:cubicBezTo>
                  <a:pt x="599" y="523"/>
                  <a:pt x="597" y="522"/>
                  <a:pt x="597" y="521"/>
                </a:cubicBezTo>
                <a:close/>
                <a:moveTo>
                  <a:pt x="597" y="542"/>
                </a:moveTo>
                <a:cubicBezTo>
                  <a:pt x="598" y="545"/>
                  <a:pt x="593" y="542"/>
                  <a:pt x="595" y="540"/>
                </a:cubicBezTo>
                <a:cubicBezTo>
                  <a:pt x="596" y="539"/>
                  <a:pt x="597" y="541"/>
                  <a:pt x="597" y="542"/>
                </a:cubicBezTo>
                <a:close/>
                <a:moveTo>
                  <a:pt x="594" y="433"/>
                </a:moveTo>
                <a:cubicBezTo>
                  <a:pt x="593" y="434"/>
                  <a:pt x="594" y="431"/>
                  <a:pt x="594" y="433"/>
                </a:cubicBezTo>
                <a:close/>
                <a:moveTo>
                  <a:pt x="595" y="451"/>
                </a:moveTo>
                <a:cubicBezTo>
                  <a:pt x="595" y="451"/>
                  <a:pt x="595" y="452"/>
                  <a:pt x="596" y="453"/>
                </a:cubicBezTo>
                <a:cubicBezTo>
                  <a:pt x="596" y="455"/>
                  <a:pt x="592" y="452"/>
                  <a:pt x="595" y="451"/>
                </a:cubicBezTo>
                <a:close/>
                <a:moveTo>
                  <a:pt x="595" y="520"/>
                </a:moveTo>
                <a:cubicBezTo>
                  <a:pt x="595" y="520"/>
                  <a:pt x="595" y="520"/>
                  <a:pt x="594" y="519"/>
                </a:cubicBezTo>
                <a:cubicBezTo>
                  <a:pt x="594" y="519"/>
                  <a:pt x="594" y="519"/>
                  <a:pt x="594" y="519"/>
                </a:cubicBezTo>
                <a:cubicBezTo>
                  <a:pt x="594" y="519"/>
                  <a:pt x="595" y="520"/>
                  <a:pt x="595" y="520"/>
                </a:cubicBezTo>
                <a:close/>
                <a:moveTo>
                  <a:pt x="595" y="538"/>
                </a:moveTo>
                <a:cubicBezTo>
                  <a:pt x="595" y="543"/>
                  <a:pt x="590" y="531"/>
                  <a:pt x="590" y="529"/>
                </a:cubicBezTo>
                <a:cubicBezTo>
                  <a:pt x="591" y="532"/>
                  <a:pt x="589" y="528"/>
                  <a:pt x="589" y="527"/>
                </a:cubicBezTo>
                <a:cubicBezTo>
                  <a:pt x="591" y="527"/>
                  <a:pt x="592" y="531"/>
                  <a:pt x="592" y="531"/>
                </a:cubicBezTo>
                <a:cubicBezTo>
                  <a:pt x="593" y="533"/>
                  <a:pt x="595" y="536"/>
                  <a:pt x="595" y="538"/>
                </a:cubicBezTo>
                <a:close/>
                <a:moveTo>
                  <a:pt x="590" y="422"/>
                </a:moveTo>
                <a:cubicBezTo>
                  <a:pt x="589" y="421"/>
                  <a:pt x="591" y="423"/>
                  <a:pt x="590" y="422"/>
                </a:cubicBezTo>
                <a:close/>
                <a:moveTo>
                  <a:pt x="591" y="452"/>
                </a:moveTo>
                <a:cubicBezTo>
                  <a:pt x="591" y="452"/>
                  <a:pt x="591" y="454"/>
                  <a:pt x="590" y="454"/>
                </a:cubicBezTo>
                <a:cubicBezTo>
                  <a:pt x="589" y="454"/>
                  <a:pt x="590" y="452"/>
                  <a:pt x="591" y="452"/>
                </a:cubicBezTo>
                <a:close/>
                <a:moveTo>
                  <a:pt x="588" y="505"/>
                </a:moveTo>
                <a:cubicBezTo>
                  <a:pt x="590" y="505"/>
                  <a:pt x="591" y="509"/>
                  <a:pt x="590" y="510"/>
                </a:cubicBezTo>
                <a:cubicBezTo>
                  <a:pt x="588" y="511"/>
                  <a:pt x="587" y="507"/>
                  <a:pt x="588" y="505"/>
                </a:cubicBezTo>
                <a:close/>
                <a:moveTo>
                  <a:pt x="589" y="546"/>
                </a:moveTo>
                <a:cubicBezTo>
                  <a:pt x="589" y="545"/>
                  <a:pt x="589" y="545"/>
                  <a:pt x="589" y="545"/>
                </a:cubicBezTo>
                <a:cubicBezTo>
                  <a:pt x="589" y="545"/>
                  <a:pt x="589" y="545"/>
                  <a:pt x="589" y="546"/>
                </a:cubicBezTo>
                <a:cubicBezTo>
                  <a:pt x="589" y="546"/>
                  <a:pt x="589" y="546"/>
                  <a:pt x="589" y="546"/>
                </a:cubicBezTo>
                <a:cubicBezTo>
                  <a:pt x="589" y="546"/>
                  <a:pt x="589" y="546"/>
                  <a:pt x="589" y="546"/>
                </a:cubicBezTo>
                <a:close/>
                <a:moveTo>
                  <a:pt x="590" y="552"/>
                </a:moveTo>
                <a:cubicBezTo>
                  <a:pt x="589" y="552"/>
                  <a:pt x="587" y="550"/>
                  <a:pt x="587" y="549"/>
                </a:cubicBezTo>
                <a:cubicBezTo>
                  <a:pt x="589" y="549"/>
                  <a:pt x="588" y="551"/>
                  <a:pt x="590" y="552"/>
                </a:cubicBezTo>
                <a:close/>
                <a:moveTo>
                  <a:pt x="587" y="548"/>
                </a:moveTo>
                <a:cubicBezTo>
                  <a:pt x="586" y="545"/>
                  <a:pt x="587" y="549"/>
                  <a:pt x="587" y="548"/>
                </a:cubicBezTo>
                <a:close/>
                <a:moveTo>
                  <a:pt x="586" y="410"/>
                </a:moveTo>
                <a:cubicBezTo>
                  <a:pt x="586" y="410"/>
                  <a:pt x="586" y="410"/>
                  <a:pt x="586" y="410"/>
                </a:cubicBezTo>
                <a:cubicBezTo>
                  <a:pt x="586" y="410"/>
                  <a:pt x="586" y="410"/>
                  <a:pt x="586" y="410"/>
                </a:cubicBezTo>
                <a:close/>
                <a:moveTo>
                  <a:pt x="586" y="566"/>
                </a:moveTo>
                <a:cubicBezTo>
                  <a:pt x="585" y="565"/>
                  <a:pt x="587" y="568"/>
                  <a:pt x="586" y="566"/>
                </a:cubicBezTo>
                <a:close/>
                <a:moveTo>
                  <a:pt x="585" y="530"/>
                </a:moveTo>
                <a:cubicBezTo>
                  <a:pt x="586" y="530"/>
                  <a:pt x="586" y="532"/>
                  <a:pt x="585" y="531"/>
                </a:cubicBezTo>
                <a:cubicBezTo>
                  <a:pt x="584" y="531"/>
                  <a:pt x="585" y="530"/>
                  <a:pt x="585" y="530"/>
                </a:cubicBezTo>
                <a:close/>
                <a:moveTo>
                  <a:pt x="583" y="469"/>
                </a:moveTo>
                <a:cubicBezTo>
                  <a:pt x="583" y="469"/>
                  <a:pt x="584" y="470"/>
                  <a:pt x="583" y="470"/>
                </a:cubicBezTo>
                <a:cubicBezTo>
                  <a:pt x="583" y="471"/>
                  <a:pt x="583" y="468"/>
                  <a:pt x="583" y="469"/>
                </a:cubicBezTo>
                <a:close/>
                <a:moveTo>
                  <a:pt x="582" y="481"/>
                </a:moveTo>
                <a:cubicBezTo>
                  <a:pt x="582" y="481"/>
                  <a:pt x="582" y="482"/>
                  <a:pt x="582" y="482"/>
                </a:cubicBezTo>
                <a:cubicBezTo>
                  <a:pt x="584" y="484"/>
                  <a:pt x="580" y="480"/>
                  <a:pt x="582" y="481"/>
                </a:cubicBezTo>
                <a:close/>
                <a:moveTo>
                  <a:pt x="574" y="537"/>
                </a:moveTo>
                <a:cubicBezTo>
                  <a:pt x="573" y="535"/>
                  <a:pt x="575" y="538"/>
                  <a:pt x="574" y="537"/>
                </a:cubicBezTo>
                <a:close/>
                <a:moveTo>
                  <a:pt x="577" y="514"/>
                </a:moveTo>
                <a:cubicBezTo>
                  <a:pt x="576" y="514"/>
                  <a:pt x="576" y="510"/>
                  <a:pt x="575" y="509"/>
                </a:cubicBezTo>
                <a:cubicBezTo>
                  <a:pt x="578" y="509"/>
                  <a:pt x="576" y="512"/>
                  <a:pt x="577" y="514"/>
                </a:cubicBezTo>
                <a:close/>
                <a:moveTo>
                  <a:pt x="579" y="552"/>
                </a:moveTo>
                <a:cubicBezTo>
                  <a:pt x="577" y="553"/>
                  <a:pt x="576" y="548"/>
                  <a:pt x="576" y="546"/>
                </a:cubicBezTo>
                <a:cubicBezTo>
                  <a:pt x="578" y="547"/>
                  <a:pt x="581" y="552"/>
                  <a:pt x="579" y="552"/>
                </a:cubicBezTo>
                <a:close/>
                <a:moveTo>
                  <a:pt x="577" y="515"/>
                </a:moveTo>
                <a:cubicBezTo>
                  <a:pt x="578" y="522"/>
                  <a:pt x="580" y="527"/>
                  <a:pt x="581" y="534"/>
                </a:cubicBezTo>
                <a:cubicBezTo>
                  <a:pt x="579" y="528"/>
                  <a:pt x="577" y="522"/>
                  <a:pt x="577" y="515"/>
                </a:cubicBezTo>
                <a:close/>
                <a:moveTo>
                  <a:pt x="580" y="426"/>
                </a:moveTo>
                <a:cubicBezTo>
                  <a:pt x="581" y="426"/>
                  <a:pt x="581" y="427"/>
                  <a:pt x="581" y="427"/>
                </a:cubicBezTo>
                <a:cubicBezTo>
                  <a:pt x="582" y="429"/>
                  <a:pt x="579" y="427"/>
                  <a:pt x="580" y="426"/>
                </a:cubicBezTo>
                <a:close/>
                <a:moveTo>
                  <a:pt x="578" y="464"/>
                </a:moveTo>
                <a:cubicBezTo>
                  <a:pt x="577" y="465"/>
                  <a:pt x="577" y="464"/>
                  <a:pt x="577" y="464"/>
                </a:cubicBezTo>
                <a:cubicBezTo>
                  <a:pt x="578" y="463"/>
                  <a:pt x="578" y="464"/>
                  <a:pt x="578" y="464"/>
                </a:cubicBezTo>
                <a:close/>
                <a:moveTo>
                  <a:pt x="576" y="475"/>
                </a:moveTo>
                <a:cubicBezTo>
                  <a:pt x="576" y="474"/>
                  <a:pt x="577" y="477"/>
                  <a:pt x="576" y="475"/>
                </a:cubicBezTo>
                <a:close/>
                <a:moveTo>
                  <a:pt x="576" y="497"/>
                </a:moveTo>
                <a:cubicBezTo>
                  <a:pt x="576" y="497"/>
                  <a:pt x="576" y="498"/>
                  <a:pt x="576" y="498"/>
                </a:cubicBezTo>
                <a:cubicBezTo>
                  <a:pt x="576" y="499"/>
                  <a:pt x="576" y="497"/>
                  <a:pt x="576" y="497"/>
                </a:cubicBezTo>
                <a:close/>
                <a:moveTo>
                  <a:pt x="576" y="507"/>
                </a:moveTo>
                <a:cubicBezTo>
                  <a:pt x="577" y="507"/>
                  <a:pt x="577" y="508"/>
                  <a:pt x="576" y="508"/>
                </a:cubicBezTo>
                <a:cubicBezTo>
                  <a:pt x="574" y="509"/>
                  <a:pt x="575" y="505"/>
                  <a:pt x="576" y="507"/>
                </a:cubicBezTo>
                <a:close/>
                <a:moveTo>
                  <a:pt x="575" y="486"/>
                </a:moveTo>
                <a:cubicBezTo>
                  <a:pt x="575" y="485"/>
                  <a:pt x="576" y="488"/>
                  <a:pt x="575" y="486"/>
                </a:cubicBezTo>
                <a:close/>
                <a:moveTo>
                  <a:pt x="573" y="519"/>
                </a:moveTo>
                <a:cubicBezTo>
                  <a:pt x="574" y="524"/>
                  <a:pt x="577" y="528"/>
                  <a:pt x="576" y="533"/>
                </a:cubicBezTo>
                <a:cubicBezTo>
                  <a:pt x="573" y="530"/>
                  <a:pt x="572" y="524"/>
                  <a:pt x="573" y="519"/>
                </a:cubicBezTo>
                <a:close/>
                <a:moveTo>
                  <a:pt x="556" y="517"/>
                </a:moveTo>
                <a:cubicBezTo>
                  <a:pt x="556" y="517"/>
                  <a:pt x="556" y="516"/>
                  <a:pt x="556" y="516"/>
                </a:cubicBezTo>
                <a:cubicBezTo>
                  <a:pt x="554" y="516"/>
                  <a:pt x="557" y="515"/>
                  <a:pt x="556" y="517"/>
                </a:cubicBezTo>
                <a:close/>
                <a:moveTo>
                  <a:pt x="559" y="486"/>
                </a:moveTo>
                <a:cubicBezTo>
                  <a:pt x="558" y="486"/>
                  <a:pt x="559" y="485"/>
                  <a:pt x="559" y="485"/>
                </a:cubicBezTo>
                <a:cubicBezTo>
                  <a:pt x="559" y="485"/>
                  <a:pt x="559" y="486"/>
                  <a:pt x="559" y="486"/>
                </a:cubicBezTo>
                <a:close/>
                <a:moveTo>
                  <a:pt x="561" y="516"/>
                </a:moveTo>
                <a:cubicBezTo>
                  <a:pt x="560" y="516"/>
                  <a:pt x="560" y="515"/>
                  <a:pt x="560" y="515"/>
                </a:cubicBezTo>
                <a:cubicBezTo>
                  <a:pt x="562" y="514"/>
                  <a:pt x="563" y="517"/>
                  <a:pt x="561" y="516"/>
                </a:cubicBezTo>
                <a:close/>
                <a:moveTo>
                  <a:pt x="572" y="517"/>
                </a:moveTo>
                <a:cubicBezTo>
                  <a:pt x="572" y="517"/>
                  <a:pt x="567" y="506"/>
                  <a:pt x="569" y="506"/>
                </a:cubicBezTo>
                <a:cubicBezTo>
                  <a:pt x="569" y="505"/>
                  <a:pt x="572" y="514"/>
                  <a:pt x="572" y="515"/>
                </a:cubicBezTo>
                <a:cubicBezTo>
                  <a:pt x="572" y="515"/>
                  <a:pt x="572" y="516"/>
                  <a:pt x="572" y="517"/>
                </a:cubicBezTo>
                <a:close/>
                <a:moveTo>
                  <a:pt x="569" y="480"/>
                </a:moveTo>
                <a:cubicBezTo>
                  <a:pt x="570" y="480"/>
                  <a:pt x="570" y="480"/>
                  <a:pt x="570" y="480"/>
                </a:cubicBezTo>
                <a:cubicBezTo>
                  <a:pt x="571" y="482"/>
                  <a:pt x="567" y="479"/>
                  <a:pt x="569" y="480"/>
                </a:cubicBezTo>
                <a:close/>
                <a:moveTo>
                  <a:pt x="570" y="451"/>
                </a:moveTo>
                <a:cubicBezTo>
                  <a:pt x="570" y="451"/>
                  <a:pt x="570" y="452"/>
                  <a:pt x="570" y="453"/>
                </a:cubicBezTo>
                <a:cubicBezTo>
                  <a:pt x="568" y="454"/>
                  <a:pt x="568" y="449"/>
                  <a:pt x="570" y="451"/>
                </a:cubicBezTo>
                <a:close/>
                <a:moveTo>
                  <a:pt x="569" y="528"/>
                </a:moveTo>
                <a:cubicBezTo>
                  <a:pt x="569" y="528"/>
                  <a:pt x="569" y="529"/>
                  <a:pt x="569" y="529"/>
                </a:cubicBezTo>
                <a:cubicBezTo>
                  <a:pt x="567" y="529"/>
                  <a:pt x="569" y="526"/>
                  <a:pt x="569" y="528"/>
                </a:cubicBezTo>
                <a:close/>
                <a:moveTo>
                  <a:pt x="567" y="520"/>
                </a:moveTo>
                <a:cubicBezTo>
                  <a:pt x="567" y="520"/>
                  <a:pt x="567" y="519"/>
                  <a:pt x="567" y="519"/>
                </a:cubicBezTo>
                <a:cubicBezTo>
                  <a:pt x="568" y="519"/>
                  <a:pt x="567" y="521"/>
                  <a:pt x="567" y="520"/>
                </a:cubicBezTo>
                <a:close/>
                <a:moveTo>
                  <a:pt x="567" y="511"/>
                </a:moveTo>
                <a:cubicBezTo>
                  <a:pt x="566" y="511"/>
                  <a:pt x="566" y="509"/>
                  <a:pt x="566" y="508"/>
                </a:cubicBezTo>
                <a:cubicBezTo>
                  <a:pt x="567" y="509"/>
                  <a:pt x="567" y="510"/>
                  <a:pt x="567" y="511"/>
                </a:cubicBezTo>
                <a:close/>
                <a:moveTo>
                  <a:pt x="566" y="507"/>
                </a:moveTo>
                <a:cubicBezTo>
                  <a:pt x="565" y="506"/>
                  <a:pt x="567" y="504"/>
                  <a:pt x="566" y="507"/>
                </a:cubicBezTo>
                <a:close/>
                <a:moveTo>
                  <a:pt x="565" y="501"/>
                </a:moveTo>
                <a:cubicBezTo>
                  <a:pt x="565" y="501"/>
                  <a:pt x="565" y="501"/>
                  <a:pt x="565" y="501"/>
                </a:cubicBezTo>
                <a:cubicBezTo>
                  <a:pt x="565" y="501"/>
                  <a:pt x="565" y="501"/>
                  <a:pt x="565" y="500"/>
                </a:cubicBezTo>
                <a:cubicBezTo>
                  <a:pt x="565" y="501"/>
                  <a:pt x="565" y="501"/>
                  <a:pt x="565" y="501"/>
                </a:cubicBezTo>
                <a:close/>
                <a:moveTo>
                  <a:pt x="565" y="508"/>
                </a:moveTo>
                <a:cubicBezTo>
                  <a:pt x="566" y="510"/>
                  <a:pt x="562" y="508"/>
                  <a:pt x="564" y="507"/>
                </a:cubicBezTo>
                <a:cubicBezTo>
                  <a:pt x="564" y="507"/>
                  <a:pt x="565" y="507"/>
                  <a:pt x="565" y="508"/>
                </a:cubicBezTo>
                <a:close/>
                <a:moveTo>
                  <a:pt x="564" y="502"/>
                </a:moveTo>
                <a:cubicBezTo>
                  <a:pt x="564" y="502"/>
                  <a:pt x="564" y="503"/>
                  <a:pt x="564" y="503"/>
                </a:cubicBezTo>
                <a:cubicBezTo>
                  <a:pt x="565" y="505"/>
                  <a:pt x="561" y="503"/>
                  <a:pt x="564" y="502"/>
                </a:cubicBezTo>
                <a:close/>
                <a:moveTo>
                  <a:pt x="560" y="494"/>
                </a:moveTo>
                <a:cubicBezTo>
                  <a:pt x="562" y="492"/>
                  <a:pt x="564" y="496"/>
                  <a:pt x="564" y="496"/>
                </a:cubicBezTo>
                <a:cubicBezTo>
                  <a:pt x="565" y="501"/>
                  <a:pt x="557" y="496"/>
                  <a:pt x="560" y="494"/>
                </a:cubicBezTo>
                <a:close/>
                <a:moveTo>
                  <a:pt x="557" y="439"/>
                </a:moveTo>
                <a:cubicBezTo>
                  <a:pt x="557" y="440"/>
                  <a:pt x="556" y="438"/>
                  <a:pt x="557" y="439"/>
                </a:cubicBezTo>
                <a:close/>
                <a:moveTo>
                  <a:pt x="555" y="457"/>
                </a:moveTo>
                <a:cubicBezTo>
                  <a:pt x="556" y="456"/>
                  <a:pt x="558" y="461"/>
                  <a:pt x="558" y="460"/>
                </a:cubicBezTo>
                <a:cubicBezTo>
                  <a:pt x="558" y="462"/>
                  <a:pt x="558" y="464"/>
                  <a:pt x="559" y="467"/>
                </a:cubicBezTo>
                <a:cubicBezTo>
                  <a:pt x="560" y="471"/>
                  <a:pt x="564" y="476"/>
                  <a:pt x="564" y="480"/>
                </a:cubicBezTo>
                <a:cubicBezTo>
                  <a:pt x="560" y="478"/>
                  <a:pt x="561" y="472"/>
                  <a:pt x="559" y="469"/>
                </a:cubicBezTo>
                <a:cubicBezTo>
                  <a:pt x="558" y="468"/>
                  <a:pt x="556" y="462"/>
                  <a:pt x="555" y="459"/>
                </a:cubicBezTo>
                <a:cubicBezTo>
                  <a:pt x="555" y="458"/>
                  <a:pt x="553" y="457"/>
                  <a:pt x="555" y="457"/>
                </a:cubicBezTo>
                <a:close/>
                <a:moveTo>
                  <a:pt x="549" y="528"/>
                </a:moveTo>
                <a:cubicBezTo>
                  <a:pt x="549" y="527"/>
                  <a:pt x="550" y="527"/>
                  <a:pt x="550" y="528"/>
                </a:cubicBezTo>
                <a:cubicBezTo>
                  <a:pt x="551" y="529"/>
                  <a:pt x="549" y="528"/>
                  <a:pt x="549" y="528"/>
                </a:cubicBezTo>
                <a:close/>
                <a:moveTo>
                  <a:pt x="540" y="511"/>
                </a:moveTo>
                <a:cubicBezTo>
                  <a:pt x="540" y="513"/>
                  <a:pt x="539" y="510"/>
                  <a:pt x="540" y="511"/>
                </a:cubicBezTo>
                <a:close/>
                <a:moveTo>
                  <a:pt x="541" y="554"/>
                </a:moveTo>
                <a:cubicBezTo>
                  <a:pt x="543" y="553"/>
                  <a:pt x="546" y="557"/>
                  <a:pt x="546" y="557"/>
                </a:cubicBezTo>
                <a:cubicBezTo>
                  <a:pt x="546" y="563"/>
                  <a:pt x="538" y="556"/>
                  <a:pt x="541" y="554"/>
                </a:cubicBezTo>
                <a:close/>
                <a:moveTo>
                  <a:pt x="541" y="528"/>
                </a:moveTo>
                <a:cubicBezTo>
                  <a:pt x="541" y="527"/>
                  <a:pt x="543" y="529"/>
                  <a:pt x="542" y="529"/>
                </a:cubicBezTo>
                <a:cubicBezTo>
                  <a:pt x="542" y="529"/>
                  <a:pt x="541" y="529"/>
                  <a:pt x="541" y="528"/>
                </a:cubicBezTo>
                <a:close/>
                <a:moveTo>
                  <a:pt x="549" y="540"/>
                </a:moveTo>
                <a:cubicBezTo>
                  <a:pt x="550" y="541"/>
                  <a:pt x="548" y="539"/>
                  <a:pt x="549" y="540"/>
                </a:cubicBezTo>
                <a:close/>
                <a:moveTo>
                  <a:pt x="548" y="494"/>
                </a:moveTo>
                <a:cubicBezTo>
                  <a:pt x="547" y="494"/>
                  <a:pt x="547" y="493"/>
                  <a:pt x="547" y="492"/>
                </a:cubicBezTo>
                <a:cubicBezTo>
                  <a:pt x="547" y="492"/>
                  <a:pt x="548" y="493"/>
                  <a:pt x="548" y="494"/>
                </a:cubicBezTo>
                <a:close/>
                <a:moveTo>
                  <a:pt x="546" y="541"/>
                </a:moveTo>
                <a:cubicBezTo>
                  <a:pt x="546" y="544"/>
                  <a:pt x="543" y="538"/>
                  <a:pt x="546" y="539"/>
                </a:cubicBezTo>
                <a:cubicBezTo>
                  <a:pt x="546" y="539"/>
                  <a:pt x="546" y="540"/>
                  <a:pt x="546" y="541"/>
                </a:cubicBezTo>
                <a:close/>
                <a:moveTo>
                  <a:pt x="545" y="522"/>
                </a:moveTo>
                <a:cubicBezTo>
                  <a:pt x="545" y="521"/>
                  <a:pt x="546" y="522"/>
                  <a:pt x="546" y="522"/>
                </a:cubicBezTo>
                <a:cubicBezTo>
                  <a:pt x="546" y="523"/>
                  <a:pt x="544" y="522"/>
                  <a:pt x="545" y="522"/>
                </a:cubicBezTo>
                <a:close/>
                <a:moveTo>
                  <a:pt x="545" y="470"/>
                </a:moveTo>
                <a:cubicBezTo>
                  <a:pt x="545" y="468"/>
                  <a:pt x="544" y="467"/>
                  <a:pt x="544" y="465"/>
                </a:cubicBezTo>
                <a:cubicBezTo>
                  <a:pt x="545" y="466"/>
                  <a:pt x="546" y="468"/>
                  <a:pt x="545" y="470"/>
                </a:cubicBezTo>
                <a:close/>
                <a:moveTo>
                  <a:pt x="543" y="518"/>
                </a:moveTo>
                <a:cubicBezTo>
                  <a:pt x="543" y="518"/>
                  <a:pt x="543" y="518"/>
                  <a:pt x="544" y="518"/>
                </a:cubicBezTo>
                <a:cubicBezTo>
                  <a:pt x="545" y="517"/>
                  <a:pt x="546" y="522"/>
                  <a:pt x="543" y="521"/>
                </a:cubicBezTo>
                <a:cubicBezTo>
                  <a:pt x="543" y="521"/>
                  <a:pt x="542" y="520"/>
                  <a:pt x="542" y="519"/>
                </a:cubicBezTo>
                <a:cubicBezTo>
                  <a:pt x="542" y="519"/>
                  <a:pt x="541" y="519"/>
                  <a:pt x="541" y="518"/>
                </a:cubicBezTo>
                <a:cubicBezTo>
                  <a:pt x="541" y="517"/>
                  <a:pt x="543" y="517"/>
                  <a:pt x="543" y="518"/>
                </a:cubicBezTo>
                <a:cubicBezTo>
                  <a:pt x="543" y="518"/>
                  <a:pt x="543" y="518"/>
                  <a:pt x="543" y="518"/>
                </a:cubicBezTo>
                <a:close/>
                <a:moveTo>
                  <a:pt x="541" y="454"/>
                </a:moveTo>
                <a:cubicBezTo>
                  <a:pt x="542" y="456"/>
                  <a:pt x="543" y="459"/>
                  <a:pt x="543" y="461"/>
                </a:cubicBezTo>
                <a:cubicBezTo>
                  <a:pt x="542" y="459"/>
                  <a:pt x="541" y="457"/>
                  <a:pt x="541" y="454"/>
                </a:cubicBezTo>
                <a:close/>
                <a:moveTo>
                  <a:pt x="539" y="439"/>
                </a:moveTo>
                <a:cubicBezTo>
                  <a:pt x="541" y="443"/>
                  <a:pt x="541" y="450"/>
                  <a:pt x="542" y="454"/>
                </a:cubicBezTo>
                <a:cubicBezTo>
                  <a:pt x="540" y="450"/>
                  <a:pt x="540" y="445"/>
                  <a:pt x="539" y="439"/>
                </a:cubicBezTo>
                <a:close/>
                <a:moveTo>
                  <a:pt x="539" y="439"/>
                </a:moveTo>
                <a:cubicBezTo>
                  <a:pt x="538" y="438"/>
                  <a:pt x="538" y="436"/>
                  <a:pt x="538" y="434"/>
                </a:cubicBezTo>
                <a:cubicBezTo>
                  <a:pt x="540" y="435"/>
                  <a:pt x="540" y="437"/>
                  <a:pt x="539" y="439"/>
                </a:cubicBezTo>
                <a:close/>
                <a:moveTo>
                  <a:pt x="539" y="432"/>
                </a:moveTo>
                <a:cubicBezTo>
                  <a:pt x="539" y="433"/>
                  <a:pt x="540" y="433"/>
                  <a:pt x="539" y="434"/>
                </a:cubicBezTo>
                <a:cubicBezTo>
                  <a:pt x="538" y="434"/>
                  <a:pt x="538" y="429"/>
                  <a:pt x="539" y="432"/>
                </a:cubicBezTo>
                <a:close/>
                <a:moveTo>
                  <a:pt x="538" y="420"/>
                </a:moveTo>
                <a:cubicBezTo>
                  <a:pt x="538" y="420"/>
                  <a:pt x="539" y="420"/>
                  <a:pt x="538" y="421"/>
                </a:cubicBezTo>
                <a:cubicBezTo>
                  <a:pt x="537" y="421"/>
                  <a:pt x="537" y="418"/>
                  <a:pt x="538" y="420"/>
                </a:cubicBezTo>
                <a:close/>
                <a:moveTo>
                  <a:pt x="537" y="551"/>
                </a:moveTo>
                <a:cubicBezTo>
                  <a:pt x="538" y="550"/>
                  <a:pt x="539" y="551"/>
                  <a:pt x="539" y="552"/>
                </a:cubicBezTo>
                <a:cubicBezTo>
                  <a:pt x="539" y="554"/>
                  <a:pt x="536" y="553"/>
                  <a:pt x="537" y="551"/>
                </a:cubicBezTo>
                <a:close/>
                <a:moveTo>
                  <a:pt x="535" y="409"/>
                </a:moveTo>
                <a:cubicBezTo>
                  <a:pt x="536" y="409"/>
                  <a:pt x="536" y="411"/>
                  <a:pt x="535" y="409"/>
                </a:cubicBezTo>
                <a:close/>
                <a:moveTo>
                  <a:pt x="535" y="418"/>
                </a:moveTo>
                <a:cubicBezTo>
                  <a:pt x="533" y="417"/>
                  <a:pt x="535" y="416"/>
                  <a:pt x="535" y="418"/>
                </a:cubicBezTo>
                <a:close/>
                <a:moveTo>
                  <a:pt x="534" y="460"/>
                </a:moveTo>
                <a:cubicBezTo>
                  <a:pt x="535" y="460"/>
                  <a:pt x="536" y="461"/>
                  <a:pt x="536" y="461"/>
                </a:cubicBezTo>
                <a:cubicBezTo>
                  <a:pt x="537" y="465"/>
                  <a:pt x="533" y="461"/>
                  <a:pt x="534" y="460"/>
                </a:cubicBezTo>
                <a:close/>
                <a:moveTo>
                  <a:pt x="301" y="28"/>
                </a:moveTo>
                <a:cubicBezTo>
                  <a:pt x="300" y="27"/>
                  <a:pt x="303" y="29"/>
                  <a:pt x="301" y="28"/>
                </a:cubicBezTo>
                <a:close/>
                <a:moveTo>
                  <a:pt x="308" y="19"/>
                </a:moveTo>
                <a:cubicBezTo>
                  <a:pt x="310" y="20"/>
                  <a:pt x="312" y="22"/>
                  <a:pt x="314" y="24"/>
                </a:cubicBezTo>
                <a:cubicBezTo>
                  <a:pt x="311" y="23"/>
                  <a:pt x="310" y="21"/>
                  <a:pt x="308" y="19"/>
                </a:cubicBezTo>
                <a:close/>
                <a:moveTo>
                  <a:pt x="314" y="19"/>
                </a:moveTo>
                <a:cubicBezTo>
                  <a:pt x="314" y="19"/>
                  <a:pt x="314" y="19"/>
                  <a:pt x="314" y="19"/>
                </a:cubicBezTo>
                <a:cubicBezTo>
                  <a:pt x="315" y="20"/>
                  <a:pt x="314" y="19"/>
                  <a:pt x="314" y="19"/>
                </a:cubicBezTo>
                <a:close/>
                <a:moveTo>
                  <a:pt x="286" y="38"/>
                </a:moveTo>
                <a:cubicBezTo>
                  <a:pt x="286" y="38"/>
                  <a:pt x="286" y="38"/>
                  <a:pt x="286" y="38"/>
                </a:cubicBezTo>
                <a:cubicBezTo>
                  <a:pt x="286" y="38"/>
                  <a:pt x="287" y="38"/>
                  <a:pt x="287" y="38"/>
                </a:cubicBezTo>
                <a:cubicBezTo>
                  <a:pt x="287" y="38"/>
                  <a:pt x="287" y="38"/>
                  <a:pt x="286" y="38"/>
                </a:cubicBezTo>
                <a:close/>
                <a:moveTo>
                  <a:pt x="290" y="56"/>
                </a:moveTo>
                <a:cubicBezTo>
                  <a:pt x="291" y="55"/>
                  <a:pt x="292" y="57"/>
                  <a:pt x="290" y="56"/>
                </a:cubicBezTo>
                <a:close/>
                <a:moveTo>
                  <a:pt x="294" y="57"/>
                </a:moveTo>
                <a:cubicBezTo>
                  <a:pt x="292" y="57"/>
                  <a:pt x="293" y="55"/>
                  <a:pt x="294" y="57"/>
                </a:cubicBezTo>
                <a:close/>
                <a:moveTo>
                  <a:pt x="292" y="34"/>
                </a:moveTo>
                <a:cubicBezTo>
                  <a:pt x="293" y="33"/>
                  <a:pt x="294" y="34"/>
                  <a:pt x="294" y="35"/>
                </a:cubicBezTo>
                <a:cubicBezTo>
                  <a:pt x="293" y="35"/>
                  <a:pt x="293" y="34"/>
                  <a:pt x="292" y="34"/>
                </a:cubicBezTo>
                <a:close/>
                <a:moveTo>
                  <a:pt x="301" y="46"/>
                </a:moveTo>
                <a:cubicBezTo>
                  <a:pt x="302" y="47"/>
                  <a:pt x="299" y="45"/>
                  <a:pt x="301" y="46"/>
                </a:cubicBezTo>
                <a:close/>
                <a:moveTo>
                  <a:pt x="300" y="50"/>
                </a:moveTo>
                <a:cubicBezTo>
                  <a:pt x="298" y="49"/>
                  <a:pt x="302" y="52"/>
                  <a:pt x="300" y="50"/>
                </a:cubicBezTo>
                <a:close/>
                <a:moveTo>
                  <a:pt x="301" y="48"/>
                </a:moveTo>
                <a:cubicBezTo>
                  <a:pt x="300" y="48"/>
                  <a:pt x="300" y="47"/>
                  <a:pt x="300" y="47"/>
                </a:cubicBezTo>
                <a:cubicBezTo>
                  <a:pt x="301" y="45"/>
                  <a:pt x="304" y="50"/>
                  <a:pt x="301" y="48"/>
                </a:cubicBezTo>
                <a:close/>
                <a:moveTo>
                  <a:pt x="197" y="116"/>
                </a:moveTo>
                <a:cubicBezTo>
                  <a:pt x="197" y="115"/>
                  <a:pt x="196" y="115"/>
                  <a:pt x="197" y="115"/>
                </a:cubicBezTo>
                <a:cubicBezTo>
                  <a:pt x="198" y="114"/>
                  <a:pt x="199" y="117"/>
                  <a:pt x="197" y="116"/>
                </a:cubicBezTo>
                <a:close/>
                <a:moveTo>
                  <a:pt x="204" y="118"/>
                </a:moveTo>
                <a:cubicBezTo>
                  <a:pt x="205" y="118"/>
                  <a:pt x="206" y="119"/>
                  <a:pt x="205" y="119"/>
                </a:cubicBezTo>
                <a:cubicBezTo>
                  <a:pt x="205" y="120"/>
                  <a:pt x="203" y="119"/>
                  <a:pt x="204" y="118"/>
                </a:cubicBezTo>
                <a:close/>
                <a:moveTo>
                  <a:pt x="201" y="107"/>
                </a:moveTo>
                <a:cubicBezTo>
                  <a:pt x="205" y="105"/>
                  <a:pt x="202" y="110"/>
                  <a:pt x="201" y="107"/>
                </a:cubicBezTo>
                <a:cubicBezTo>
                  <a:pt x="201" y="106"/>
                  <a:pt x="201" y="107"/>
                  <a:pt x="201" y="107"/>
                </a:cubicBezTo>
                <a:close/>
                <a:moveTo>
                  <a:pt x="203" y="122"/>
                </a:moveTo>
                <a:cubicBezTo>
                  <a:pt x="203" y="122"/>
                  <a:pt x="202" y="122"/>
                  <a:pt x="202" y="121"/>
                </a:cubicBezTo>
                <a:cubicBezTo>
                  <a:pt x="202" y="121"/>
                  <a:pt x="202" y="121"/>
                  <a:pt x="202" y="121"/>
                </a:cubicBezTo>
                <a:cubicBezTo>
                  <a:pt x="202" y="120"/>
                  <a:pt x="201" y="119"/>
                  <a:pt x="200" y="118"/>
                </a:cubicBezTo>
                <a:cubicBezTo>
                  <a:pt x="202" y="119"/>
                  <a:pt x="203" y="121"/>
                  <a:pt x="205" y="124"/>
                </a:cubicBezTo>
                <a:cubicBezTo>
                  <a:pt x="204" y="123"/>
                  <a:pt x="203" y="123"/>
                  <a:pt x="203" y="122"/>
                </a:cubicBezTo>
                <a:close/>
                <a:moveTo>
                  <a:pt x="205" y="124"/>
                </a:moveTo>
                <a:cubicBezTo>
                  <a:pt x="206" y="123"/>
                  <a:pt x="207" y="128"/>
                  <a:pt x="205" y="126"/>
                </a:cubicBezTo>
                <a:cubicBezTo>
                  <a:pt x="205" y="125"/>
                  <a:pt x="204" y="125"/>
                  <a:pt x="205" y="124"/>
                </a:cubicBezTo>
                <a:close/>
                <a:moveTo>
                  <a:pt x="205" y="140"/>
                </a:moveTo>
                <a:cubicBezTo>
                  <a:pt x="204" y="140"/>
                  <a:pt x="204" y="139"/>
                  <a:pt x="205" y="139"/>
                </a:cubicBezTo>
                <a:cubicBezTo>
                  <a:pt x="206" y="138"/>
                  <a:pt x="207" y="141"/>
                  <a:pt x="205" y="140"/>
                </a:cubicBezTo>
                <a:close/>
                <a:moveTo>
                  <a:pt x="77" y="199"/>
                </a:moveTo>
                <a:cubicBezTo>
                  <a:pt x="79" y="200"/>
                  <a:pt x="77" y="201"/>
                  <a:pt x="77" y="199"/>
                </a:cubicBezTo>
                <a:close/>
                <a:moveTo>
                  <a:pt x="21" y="249"/>
                </a:moveTo>
                <a:cubicBezTo>
                  <a:pt x="20" y="248"/>
                  <a:pt x="22" y="247"/>
                  <a:pt x="21" y="249"/>
                </a:cubicBezTo>
                <a:close/>
                <a:moveTo>
                  <a:pt x="24" y="252"/>
                </a:moveTo>
                <a:cubicBezTo>
                  <a:pt x="23" y="252"/>
                  <a:pt x="23" y="251"/>
                  <a:pt x="24" y="251"/>
                </a:cubicBezTo>
                <a:cubicBezTo>
                  <a:pt x="24" y="250"/>
                  <a:pt x="24" y="252"/>
                  <a:pt x="24" y="252"/>
                </a:cubicBezTo>
                <a:close/>
                <a:moveTo>
                  <a:pt x="23" y="249"/>
                </a:moveTo>
                <a:cubicBezTo>
                  <a:pt x="23" y="249"/>
                  <a:pt x="24" y="248"/>
                  <a:pt x="24" y="248"/>
                </a:cubicBezTo>
                <a:cubicBezTo>
                  <a:pt x="26" y="247"/>
                  <a:pt x="24" y="251"/>
                  <a:pt x="23" y="249"/>
                </a:cubicBezTo>
                <a:close/>
                <a:moveTo>
                  <a:pt x="26" y="245"/>
                </a:moveTo>
                <a:cubicBezTo>
                  <a:pt x="25" y="245"/>
                  <a:pt x="25" y="244"/>
                  <a:pt x="25" y="244"/>
                </a:cubicBezTo>
                <a:cubicBezTo>
                  <a:pt x="26" y="243"/>
                  <a:pt x="26" y="245"/>
                  <a:pt x="26" y="245"/>
                </a:cubicBezTo>
                <a:close/>
                <a:moveTo>
                  <a:pt x="33" y="251"/>
                </a:moveTo>
                <a:cubicBezTo>
                  <a:pt x="34" y="250"/>
                  <a:pt x="34" y="253"/>
                  <a:pt x="33" y="253"/>
                </a:cubicBezTo>
                <a:cubicBezTo>
                  <a:pt x="33" y="252"/>
                  <a:pt x="33" y="251"/>
                  <a:pt x="33" y="251"/>
                </a:cubicBezTo>
                <a:close/>
                <a:moveTo>
                  <a:pt x="28" y="258"/>
                </a:moveTo>
                <a:cubicBezTo>
                  <a:pt x="28" y="259"/>
                  <a:pt x="27" y="257"/>
                  <a:pt x="27" y="257"/>
                </a:cubicBezTo>
                <a:cubicBezTo>
                  <a:pt x="28" y="256"/>
                  <a:pt x="28" y="258"/>
                  <a:pt x="28" y="258"/>
                </a:cubicBezTo>
                <a:close/>
                <a:moveTo>
                  <a:pt x="29" y="249"/>
                </a:moveTo>
                <a:cubicBezTo>
                  <a:pt x="29" y="248"/>
                  <a:pt x="30" y="249"/>
                  <a:pt x="29" y="250"/>
                </a:cubicBezTo>
                <a:cubicBezTo>
                  <a:pt x="29" y="250"/>
                  <a:pt x="28" y="249"/>
                  <a:pt x="29" y="249"/>
                </a:cubicBezTo>
                <a:close/>
                <a:moveTo>
                  <a:pt x="29" y="275"/>
                </a:moveTo>
                <a:cubicBezTo>
                  <a:pt x="29" y="276"/>
                  <a:pt x="30" y="274"/>
                  <a:pt x="29" y="275"/>
                </a:cubicBezTo>
                <a:close/>
                <a:moveTo>
                  <a:pt x="29" y="247"/>
                </a:moveTo>
                <a:cubicBezTo>
                  <a:pt x="29" y="247"/>
                  <a:pt x="28" y="247"/>
                  <a:pt x="29" y="248"/>
                </a:cubicBezTo>
                <a:cubicBezTo>
                  <a:pt x="28" y="247"/>
                  <a:pt x="28" y="246"/>
                  <a:pt x="28" y="246"/>
                </a:cubicBezTo>
                <a:cubicBezTo>
                  <a:pt x="28" y="246"/>
                  <a:pt x="28" y="245"/>
                  <a:pt x="28" y="245"/>
                </a:cubicBezTo>
                <a:cubicBezTo>
                  <a:pt x="28" y="244"/>
                  <a:pt x="25" y="241"/>
                  <a:pt x="27" y="240"/>
                </a:cubicBezTo>
                <a:cubicBezTo>
                  <a:pt x="31" y="239"/>
                  <a:pt x="30" y="243"/>
                  <a:pt x="30" y="244"/>
                </a:cubicBezTo>
                <a:cubicBezTo>
                  <a:pt x="30" y="244"/>
                  <a:pt x="30" y="245"/>
                  <a:pt x="30" y="245"/>
                </a:cubicBezTo>
                <a:cubicBezTo>
                  <a:pt x="31" y="245"/>
                  <a:pt x="31" y="247"/>
                  <a:pt x="30" y="247"/>
                </a:cubicBezTo>
                <a:cubicBezTo>
                  <a:pt x="30" y="247"/>
                  <a:pt x="30" y="247"/>
                  <a:pt x="30" y="247"/>
                </a:cubicBezTo>
                <a:cubicBezTo>
                  <a:pt x="29" y="247"/>
                  <a:pt x="29" y="247"/>
                  <a:pt x="29" y="247"/>
                </a:cubicBezTo>
                <a:close/>
                <a:moveTo>
                  <a:pt x="30" y="259"/>
                </a:moveTo>
                <a:cubicBezTo>
                  <a:pt x="31" y="258"/>
                  <a:pt x="32" y="262"/>
                  <a:pt x="31" y="262"/>
                </a:cubicBezTo>
                <a:cubicBezTo>
                  <a:pt x="30" y="262"/>
                  <a:pt x="29" y="260"/>
                  <a:pt x="30" y="259"/>
                </a:cubicBezTo>
                <a:close/>
                <a:moveTo>
                  <a:pt x="32" y="282"/>
                </a:moveTo>
                <a:cubicBezTo>
                  <a:pt x="32" y="281"/>
                  <a:pt x="33" y="281"/>
                  <a:pt x="33" y="282"/>
                </a:cubicBezTo>
                <a:cubicBezTo>
                  <a:pt x="33" y="284"/>
                  <a:pt x="29" y="282"/>
                  <a:pt x="32" y="282"/>
                </a:cubicBezTo>
                <a:close/>
                <a:moveTo>
                  <a:pt x="33" y="261"/>
                </a:moveTo>
                <a:cubicBezTo>
                  <a:pt x="33" y="261"/>
                  <a:pt x="32" y="260"/>
                  <a:pt x="33" y="259"/>
                </a:cubicBezTo>
                <a:cubicBezTo>
                  <a:pt x="34" y="259"/>
                  <a:pt x="34" y="261"/>
                  <a:pt x="33" y="261"/>
                </a:cubicBezTo>
                <a:close/>
                <a:moveTo>
                  <a:pt x="34" y="281"/>
                </a:moveTo>
                <a:cubicBezTo>
                  <a:pt x="33" y="279"/>
                  <a:pt x="35" y="278"/>
                  <a:pt x="34" y="281"/>
                </a:cubicBezTo>
                <a:close/>
                <a:moveTo>
                  <a:pt x="35" y="279"/>
                </a:moveTo>
                <a:cubicBezTo>
                  <a:pt x="35" y="280"/>
                  <a:pt x="34" y="277"/>
                  <a:pt x="35" y="277"/>
                </a:cubicBezTo>
                <a:cubicBezTo>
                  <a:pt x="36" y="278"/>
                  <a:pt x="36" y="278"/>
                  <a:pt x="35" y="279"/>
                </a:cubicBezTo>
                <a:close/>
                <a:moveTo>
                  <a:pt x="37" y="226"/>
                </a:moveTo>
                <a:cubicBezTo>
                  <a:pt x="37" y="226"/>
                  <a:pt x="37" y="227"/>
                  <a:pt x="37" y="228"/>
                </a:cubicBezTo>
                <a:cubicBezTo>
                  <a:pt x="37" y="228"/>
                  <a:pt x="36" y="227"/>
                  <a:pt x="37" y="226"/>
                </a:cubicBezTo>
                <a:close/>
                <a:moveTo>
                  <a:pt x="38" y="238"/>
                </a:moveTo>
                <a:cubicBezTo>
                  <a:pt x="37" y="238"/>
                  <a:pt x="37" y="236"/>
                  <a:pt x="38" y="236"/>
                </a:cubicBezTo>
                <a:cubicBezTo>
                  <a:pt x="39" y="235"/>
                  <a:pt x="39" y="238"/>
                  <a:pt x="38" y="238"/>
                </a:cubicBezTo>
                <a:close/>
                <a:moveTo>
                  <a:pt x="40" y="226"/>
                </a:moveTo>
                <a:cubicBezTo>
                  <a:pt x="41" y="226"/>
                  <a:pt x="40" y="228"/>
                  <a:pt x="40" y="228"/>
                </a:cubicBezTo>
                <a:cubicBezTo>
                  <a:pt x="39" y="228"/>
                  <a:pt x="38" y="227"/>
                  <a:pt x="40" y="226"/>
                </a:cubicBezTo>
                <a:close/>
                <a:moveTo>
                  <a:pt x="40" y="265"/>
                </a:moveTo>
                <a:cubicBezTo>
                  <a:pt x="39" y="266"/>
                  <a:pt x="40" y="264"/>
                  <a:pt x="40" y="265"/>
                </a:cubicBezTo>
                <a:close/>
                <a:moveTo>
                  <a:pt x="40" y="249"/>
                </a:moveTo>
                <a:cubicBezTo>
                  <a:pt x="40" y="249"/>
                  <a:pt x="41" y="250"/>
                  <a:pt x="41" y="250"/>
                </a:cubicBezTo>
                <a:cubicBezTo>
                  <a:pt x="40" y="250"/>
                  <a:pt x="40" y="250"/>
                  <a:pt x="40" y="249"/>
                </a:cubicBezTo>
                <a:close/>
                <a:moveTo>
                  <a:pt x="41" y="284"/>
                </a:moveTo>
                <a:cubicBezTo>
                  <a:pt x="40" y="284"/>
                  <a:pt x="39" y="281"/>
                  <a:pt x="40" y="281"/>
                </a:cubicBezTo>
                <a:cubicBezTo>
                  <a:pt x="41" y="280"/>
                  <a:pt x="42" y="283"/>
                  <a:pt x="41" y="284"/>
                </a:cubicBezTo>
                <a:close/>
                <a:moveTo>
                  <a:pt x="40" y="241"/>
                </a:moveTo>
                <a:cubicBezTo>
                  <a:pt x="39" y="241"/>
                  <a:pt x="38" y="238"/>
                  <a:pt x="40" y="237"/>
                </a:cubicBezTo>
                <a:cubicBezTo>
                  <a:pt x="42" y="237"/>
                  <a:pt x="41" y="241"/>
                  <a:pt x="40" y="241"/>
                </a:cubicBezTo>
                <a:close/>
                <a:moveTo>
                  <a:pt x="57" y="241"/>
                </a:moveTo>
                <a:cubicBezTo>
                  <a:pt x="57" y="241"/>
                  <a:pt x="56" y="243"/>
                  <a:pt x="56" y="243"/>
                </a:cubicBezTo>
                <a:cubicBezTo>
                  <a:pt x="56" y="243"/>
                  <a:pt x="56" y="241"/>
                  <a:pt x="57" y="241"/>
                </a:cubicBezTo>
                <a:close/>
                <a:moveTo>
                  <a:pt x="53" y="238"/>
                </a:moveTo>
                <a:cubicBezTo>
                  <a:pt x="56" y="242"/>
                  <a:pt x="53" y="244"/>
                  <a:pt x="53" y="238"/>
                </a:cubicBezTo>
                <a:close/>
                <a:moveTo>
                  <a:pt x="47" y="255"/>
                </a:moveTo>
                <a:cubicBezTo>
                  <a:pt x="46" y="254"/>
                  <a:pt x="48" y="253"/>
                  <a:pt x="47" y="255"/>
                </a:cubicBezTo>
                <a:close/>
                <a:moveTo>
                  <a:pt x="46" y="251"/>
                </a:moveTo>
                <a:cubicBezTo>
                  <a:pt x="47" y="251"/>
                  <a:pt x="47" y="253"/>
                  <a:pt x="46" y="253"/>
                </a:cubicBezTo>
                <a:cubicBezTo>
                  <a:pt x="45" y="253"/>
                  <a:pt x="46" y="251"/>
                  <a:pt x="46" y="251"/>
                </a:cubicBezTo>
                <a:close/>
                <a:moveTo>
                  <a:pt x="42" y="252"/>
                </a:moveTo>
                <a:cubicBezTo>
                  <a:pt x="43" y="251"/>
                  <a:pt x="44" y="254"/>
                  <a:pt x="43" y="254"/>
                </a:cubicBezTo>
                <a:cubicBezTo>
                  <a:pt x="42" y="255"/>
                  <a:pt x="42" y="252"/>
                  <a:pt x="42" y="252"/>
                </a:cubicBezTo>
                <a:close/>
                <a:moveTo>
                  <a:pt x="43" y="259"/>
                </a:moveTo>
                <a:cubicBezTo>
                  <a:pt x="43" y="260"/>
                  <a:pt x="44" y="261"/>
                  <a:pt x="43" y="262"/>
                </a:cubicBezTo>
                <a:cubicBezTo>
                  <a:pt x="42" y="261"/>
                  <a:pt x="42" y="260"/>
                  <a:pt x="43" y="259"/>
                </a:cubicBezTo>
                <a:close/>
                <a:moveTo>
                  <a:pt x="43" y="292"/>
                </a:moveTo>
                <a:cubicBezTo>
                  <a:pt x="43" y="292"/>
                  <a:pt x="43" y="292"/>
                  <a:pt x="44" y="292"/>
                </a:cubicBezTo>
                <a:cubicBezTo>
                  <a:pt x="44" y="292"/>
                  <a:pt x="44" y="292"/>
                  <a:pt x="44" y="292"/>
                </a:cubicBezTo>
                <a:cubicBezTo>
                  <a:pt x="44" y="292"/>
                  <a:pt x="43" y="292"/>
                  <a:pt x="43" y="292"/>
                </a:cubicBezTo>
                <a:close/>
                <a:moveTo>
                  <a:pt x="44" y="265"/>
                </a:moveTo>
                <a:cubicBezTo>
                  <a:pt x="44" y="265"/>
                  <a:pt x="43" y="264"/>
                  <a:pt x="44" y="264"/>
                </a:cubicBezTo>
                <a:cubicBezTo>
                  <a:pt x="44" y="263"/>
                  <a:pt x="45" y="264"/>
                  <a:pt x="44" y="265"/>
                </a:cubicBezTo>
                <a:close/>
                <a:moveTo>
                  <a:pt x="47" y="274"/>
                </a:moveTo>
                <a:cubicBezTo>
                  <a:pt x="46" y="275"/>
                  <a:pt x="44" y="270"/>
                  <a:pt x="46" y="269"/>
                </a:cubicBezTo>
                <a:cubicBezTo>
                  <a:pt x="48" y="269"/>
                  <a:pt x="48" y="274"/>
                  <a:pt x="47" y="274"/>
                </a:cubicBezTo>
                <a:close/>
                <a:moveTo>
                  <a:pt x="48" y="282"/>
                </a:moveTo>
                <a:cubicBezTo>
                  <a:pt x="46" y="280"/>
                  <a:pt x="50" y="279"/>
                  <a:pt x="48" y="282"/>
                </a:cubicBezTo>
                <a:close/>
                <a:moveTo>
                  <a:pt x="51" y="287"/>
                </a:moveTo>
                <a:cubicBezTo>
                  <a:pt x="48" y="289"/>
                  <a:pt x="51" y="281"/>
                  <a:pt x="52" y="285"/>
                </a:cubicBezTo>
                <a:cubicBezTo>
                  <a:pt x="52" y="286"/>
                  <a:pt x="51" y="287"/>
                  <a:pt x="51" y="287"/>
                </a:cubicBezTo>
                <a:close/>
                <a:moveTo>
                  <a:pt x="53" y="285"/>
                </a:moveTo>
                <a:cubicBezTo>
                  <a:pt x="54" y="284"/>
                  <a:pt x="54" y="285"/>
                  <a:pt x="54" y="285"/>
                </a:cubicBezTo>
                <a:cubicBezTo>
                  <a:pt x="53" y="286"/>
                  <a:pt x="54" y="285"/>
                  <a:pt x="53" y="285"/>
                </a:cubicBezTo>
                <a:close/>
                <a:moveTo>
                  <a:pt x="55" y="281"/>
                </a:moveTo>
                <a:cubicBezTo>
                  <a:pt x="54" y="282"/>
                  <a:pt x="56" y="280"/>
                  <a:pt x="55" y="281"/>
                </a:cubicBezTo>
                <a:close/>
                <a:moveTo>
                  <a:pt x="57" y="266"/>
                </a:moveTo>
                <a:cubicBezTo>
                  <a:pt x="56" y="266"/>
                  <a:pt x="54" y="265"/>
                  <a:pt x="54" y="265"/>
                </a:cubicBezTo>
                <a:cubicBezTo>
                  <a:pt x="50" y="263"/>
                  <a:pt x="46" y="255"/>
                  <a:pt x="50" y="252"/>
                </a:cubicBezTo>
                <a:cubicBezTo>
                  <a:pt x="52" y="251"/>
                  <a:pt x="56" y="253"/>
                  <a:pt x="56" y="254"/>
                </a:cubicBezTo>
                <a:cubicBezTo>
                  <a:pt x="56" y="255"/>
                  <a:pt x="56" y="256"/>
                  <a:pt x="56" y="257"/>
                </a:cubicBezTo>
                <a:cubicBezTo>
                  <a:pt x="56" y="258"/>
                  <a:pt x="57" y="258"/>
                  <a:pt x="57" y="258"/>
                </a:cubicBezTo>
                <a:cubicBezTo>
                  <a:pt x="58" y="260"/>
                  <a:pt x="57" y="262"/>
                  <a:pt x="57" y="264"/>
                </a:cubicBezTo>
                <a:cubicBezTo>
                  <a:pt x="57" y="265"/>
                  <a:pt x="57" y="265"/>
                  <a:pt x="57" y="266"/>
                </a:cubicBezTo>
                <a:close/>
                <a:moveTo>
                  <a:pt x="58" y="333"/>
                </a:moveTo>
                <a:cubicBezTo>
                  <a:pt x="58" y="333"/>
                  <a:pt x="57" y="333"/>
                  <a:pt x="57" y="332"/>
                </a:cubicBezTo>
                <a:cubicBezTo>
                  <a:pt x="57" y="331"/>
                  <a:pt x="58" y="332"/>
                  <a:pt x="58" y="333"/>
                </a:cubicBezTo>
                <a:close/>
                <a:moveTo>
                  <a:pt x="64" y="334"/>
                </a:moveTo>
                <a:cubicBezTo>
                  <a:pt x="63" y="334"/>
                  <a:pt x="63" y="333"/>
                  <a:pt x="64" y="332"/>
                </a:cubicBezTo>
                <a:cubicBezTo>
                  <a:pt x="64" y="332"/>
                  <a:pt x="65" y="334"/>
                  <a:pt x="64" y="334"/>
                </a:cubicBezTo>
                <a:close/>
                <a:moveTo>
                  <a:pt x="70" y="242"/>
                </a:moveTo>
                <a:cubicBezTo>
                  <a:pt x="71" y="242"/>
                  <a:pt x="72" y="242"/>
                  <a:pt x="72" y="243"/>
                </a:cubicBezTo>
                <a:cubicBezTo>
                  <a:pt x="72" y="245"/>
                  <a:pt x="68" y="243"/>
                  <a:pt x="70" y="242"/>
                </a:cubicBezTo>
                <a:close/>
                <a:moveTo>
                  <a:pt x="71" y="259"/>
                </a:moveTo>
                <a:cubicBezTo>
                  <a:pt x="70" y="259"/>
                  <a:pt x="70" y="258"/>
                  <a:pt x="70" y="258"/>
                </a:cubicBezTo>
                <a:cubicBezTo>
                  <a:pt x="71" y="257"/>
                  <a:pt x="71" y="259"/>
                  <a:pt x="71" y="259"/>
                </a:cubicBezTo>
                <a:close/>
                <a:moveTo>
                  <a:pt x="68" y="253"/>
                </a:moveTo>
                <a:cubicBezTo>
                  <a:pt x="69" y="252"/>
                  <a:pt x="69" y="254"/>
                  <a:pt x="68" y="254"/>
                </a:cubicBezTo>
                <a:cubicBezTo>
                  <a:pt x="68" y="254"/>
                  <a:pt x="67" y="253"/>
                  <a:pt x="68" y="253"/>
                </a:cubicBezTo>
                <a:close/>
                <a:moveTo>
                  <a:pt x="68" y="246"/>
                </a:moveTo>
                <a:cubicBezTo>
                  <a:pt x="68" y="246"/>
                  <a:pt x="69" y="247"/>
                  <a:pt x="68" y="247"/>
                </a:cubicBezTo>
                <a:cubicBezTo>
                  <a:pt x="68" y="247"/>
                  <a:pt x="67" y="247"/>
                  <a:pt x="68" y="246"/>
                </a:cubicBezTo>
                <a:close/>
                <a:moveTo>
                  <a:pt x="69" y="248"/>
                </a:moveTo>
                <a:cubicBezTo>
                  <a:pt x="68" y="246"/>
                  <a:pt x="69" y="250"/>
                  <a:pt x="69" y="248"/>
                </a:cubicBezTo>
                <a:close/>
                <a:moveTo>
                  <a:pt x="67" y="243"/>
                </a:moveTo>
                <a:cubicBezTo>
                  <a:pt x="68" y="244"/>
                  <a:pt x="68" y="245"/>
                  <a:pt x="69" y="246"/>
                </a:cubicBezTo>
                <a:cubicBezTo>
                  <a:pt x="68" y="246"/>
                  <a:pt x="67" y="244"/>
                  <a:pt x="67" y="243"/>
                </a:cubicBezTo>
                <a:close/>
                <a:moveTo>
                  <a:pt x="67" y="277"/>
                </a:moveTo>
                <a:cubicBezTo>
                  <a:pt x="69" y="275"/>
                  <a:pt x="70" y="280"/>
                  <a:pt x="70" y="282"/>
                </a:cubicBezTo>
                <a:cubicBezTo>
                  <a:pt x="68" y="281"/>
                  <a:pt x="66" y="279"/>
                  <a:pt x="67" y="277"/>
                </a:cubicBezTo>
                <a:close/>
                <a:moveTo>
                  <a:pt x="66" y="267"/>
                </a:moveTo>
                <a:cubicBezTo>
                  <a:pt x="65" y="267"/>
                  <a:pt x="65" y="266"/>
                  <a:pt x="66" y="266"/>
                </a:cubicBezTo>
                <a:cubicBezTo>
                  <a:pt x="67" y="265"/>
                  <a:pt x="66" y="267"/>
                  <a:pt x="66" y="267"/>
                </a:cubicBezTo>
                <a:close/>
                <a:moveTo>
                  <a:pt x="64" y="237"/>
                </a:moveTo>
                <a:cubicBezTo>
                  <a:pt x="65" y="236"/>
                  <a:pt x="66" y="239"/>
                  <a:pt x="65" y="239"/>
                </a:cubicBezTo>
                <a:cubicBezTo>
                  <a:pt x="64" y="239"/>
                  <a:pt x="64" y="238"/>
                  <a:pt x="64" y="237"/>
                </a:cubicBezTo>
                <a:close/>
                <a:moveTo>
                  <a:pt x="64" y="255"/>
                </a:moveTo>
                <a:cubicBezTo>
                  <a:pt x="64" y="255"/>
                  <a:pt x="65" y="256"/>
                  <a:pt x="64" y="257"/>
                </a:cubicBezTo>
                <a:cubicBezTo>
                  <a:pt x="64" y="256"/>
                  <a:pt x="64" y="256"/>
                  <a:pt x="64" y="255"/>
                </a:cubicBezTo>
                <a:close/>
                <a:moveTo>
                  <a:pt x="64" y="265"/>
                </a:moveTo>
                <a:cubicBezTo>
                  <a:pt x="64" y="265"/>
                  <a:pt x="64" y="265"/>
                  <a:pt x="64" y="265"/>
                </a:cubicBezTo>
                <a:cubicBezTo>
                  <a:pt x="65" y="264"/>
                  <a:pt x="62" y="267"/>
                  <a:pt x="64" y="265"/>
                </a:cubicBezTo>
                <a:close/>
                <a:moveTo>
                  <a:pt x="63" y="259"/>
                </a:moveTo>
                <a:cubicBezTo>
                  <a:pt x="64" y="258"/>
                  <a:pt x="64" y="259"/>
                  <a:pt x="64" y="259"/>
                </a:cubicBezTo>
                <a:cubicBezTo>
                  <a:pt x="64" y="260"/>
                  <a:pt x="63" y="259"/>
                  <a:pt x="63" y="259"/>
                </a:cubicBezTo>
                <a:close/>
                <a:moveTo>
                  <a:pt x="59" y="265"/>
                </a:moveTo>
                <a:cubicBezTo>
                  <a:pt x="60" y="265"/>
                  <a:pt x="61" y="268"/>
                  <a:pt x="60" y="269"/>
                </a:cubicBezTo>
                <a:cubicBezTo>
                  <a:pt x="59" y="269"/>
                  <a:pt x="58" y="266"/>
                  <a:pt x="59" y="265"/>
                </a:cubicBezTo>
                <a:close/>
                <a:moveTo>
                  <a:pt x="67" y="342"/>
                </a:moveTo>
                <a:cubicBezTo>
                  <a:pt x="66" y="343"/>
                  <a:pt x="65" y="341"/>
                  <a:pt x="66" y="341"/>
                </a:cubicBezTo>
                <a:cubicBezTo>
                  <a:pt x="67" y="341"/>
                  <a:pt x="67" y="342"/>
                  <a:pt x="67" y="342"/>
                </a:cubicBezTo>
                <a:close/>
                <a:moveTo>
                  <a:pt x="70" y="301"/>
                </a:moveTo>
                <a:cubicBezTo>
                  <a:pt x="70" y="301"/>
                  <a:pt x="69" y="301"/>
                  <a:pt x="69" y="301"/>
                </a:cubicBezTo>
                <a:cubicBezTo>
                  <a:pt x="68" y="302"/>
                  <a:pt x="66" y="299"/>
                  <a:pt x="65" y="297"/>
                </a:cubicBezTo>
                <a:cubicBezTo>
                  <a:pt x="65" y="298"/>
                  <a:pt x="65" y="300"/>
                  <a:pt x="65" y="301"/>
                </a:cubicBezTo>
                <a:cubicBezTo>
                  <a:pt x="65" y="306"/>
                  <a:pt x="63" y="297"/>
                  <a:pt x="63" y="297"/>
                </a:cubicBezTo>
                <a:cubicBezTo>
                  <a:pt x="62" y="291"/>
                  <a:pt x="61" y="287"/>
                  <a:pt x="60" y="282"/>
                </a:cubicBezTo>
                <a:cubicBezTo>
                  <a:pt x="60" y="281"/>
                  <a:pt x="59" y="274"/>
                  <a:pt x="60" y="273"/>
                </a:cubicBezTo>
                <a:cubicBezTo>
                  <a:pt x="61" y="272"/>
                  <a:pt x="62" y="281"/>
                  <a:pt x="63" y="284"/>
                </a:cubicBezTo>
                <a:cubicBezTo>
                  <a:pt x="63" y="288"/>
                  <a:pt x="63" y="291"/>
                  <a:pt x="64" y="293"/>
                </a:cubicBezTo>
                <a:cubicBezTo>
                  <a:pt x="64" y="291"/>
                  <a:pt x="65" y="289"/>
                  <a:pt x="68" y="289"/>
                </a:cubicBezTo>
                <a:cubicBezTo>
                  <a:pt x="73" y="289"/>
                  <a:pt x="72" y="297"/>
                  <a:pt x="70" y="301"/>
                </a:cubicBezTo>
                <a:close/>
                <a:moveTo>
                  <a:pt x="72" y="283"/>
                </a:moveTo>
                <a:cubicBezTo>
                  <a:pt x="72" y="283"/>
                  <a:pt x="72" y="283"/>
                  <a:pt x="72" y="283"/>
                </a:cubicBezTo>
                <a:cubicBezTo>
                  <a:pt x="74" y="282"/>
                  <a:pt x="70" y="285"/>
                  <a:pt x="72" y="283"/>
                </a:cubicBezTo>
                <a:close/>
                <a:moveTo>
                  <a:pt x="25" y="317"/>
                </a:moveTo>
                <a:cubicBezTo>
                  <a:pt x="27" y="317"/>
                  <a:pt x="26" y="320"/>
                  <a:pt x="25" y="320"/>
                </a:cubicBezTo>
                <a:cubicBezTo>
                  <a:pt x="24" y="321"/>
                  <a:pt x="23" y="317"/>
                  <a:pt x="25" y="317"/>
                </a:cubicBezTo>
                <a:close/>
                <a:moveTo>
                  <a:pt x="24" y="294"/>
                </a:moveTo>
                <a:cubicBezTo>
                  <a:pt x="26" y="293"/>
                  <a:pt x="25" y="296"/>
                  <a:pt x="24" y="296"/>
                </a:cubicBezTo>
                <a:cubicBezTo>
                  <a:pt x="23" y="296"/>
                  <a:pt x="23" y="295"/>
                  <a:pt x="24" y="294"/>
                </a:cubicBezTo>
                <a:close/>
                <a:moveTo>
                  <a:pt x="8" y="242"/>
                </a:moveTo>
                <a:cubicBezTo>
                  <a:pt x="9" y="241"/>
                  <a:pt x="9" y="244"/>
                  <a:pt x="8" y="243"/>
                </a:cubicBezTo>
                <a:cubicBezTo>
                  <a:pt x="8" y="243"/>
                  <a:pt x="8" y="242"/>
                  <a:pt x="8" y="242"/>
                </a:cubicBezTo>
                <a:close/>
                <a:moveTo>
                  <a:pt x="2" y="238"/>
                </a:moveTo>
                <a:cubicBezTo>
                  <a:pt x="2" y="237"/>
                  <a:pt x="0" y="239"/>
                  <a:pt x="2" y="238"/>
                </a:cubicBezTo>
                <a:close/>
                <a:moveTo>
                  <a:pt x="2" y="242"/>
                </a:moveTo>
                <a:cubicBezTo>
                  <a:pt x="2" y="242"/>
                  <a:pt x="2" y="241"/>
                  <a:pt x="2" y="241"/>
                </a:cubicBezTo>
                <a:cubicBezTo>
                  <a:pt x="3" y="240"/>
                  <a:pt x="3" y="242"/>
                  <a:pt x="2" y="242"/>
                </a:cubicBezTo>
                <a:close/>
                <a:moveTo>
                  <a:pt x="3" y="351"/>
                </a:moveTo>
                <a:cubicBezTo>
                  <a:pt x="2" y="353"/>
                  <a:pt x="4" y="350"/>
                  <a:pt x="3" y="351"/>
                </a:cubicBezTo>
                <a:close/>
                <a:moveTo>
                  <a:pt x="3" y="442"/>
                </a:moveTo>
                <a:cubicBezTo>
                  <a:pt x="3" y="442"/>
                  <a:pt x="3" y="442"/>
                  <a:pt x="3" y="442"/>
                </a:cubicBezTo>
                <a:cubicBezTo>
                  <a:pt x="4" y="441"/>
                  <a:pt x="1" y="445"/>
                  <a:pt x="3" y="442"/>
                </a:cubicBezTo>
                <a:close/>
                <a:moveTo>
                  <a:pt x="11" y="295"/>
                </a:moveTo>
                <a:cubicBezTo>
                  <a:pt x="13" y="295"/>
                  <a:pt x="12" y="300"/>
                  <a:pt x="11" y="299"/>
                </a:cubicBezTo>
                <a:cubicBezTo>
                  <a:pt x="9" y="299"/>
                  <a:pt x="10" y="295"/>
                  <a:pt x="11" y="295"/>
                </a:cubicBezTo>
                <a:close/>
                <a:moveTo>
                  <a:pt x="9" y="283"/>
                </a:moveTo>
                <a:cubicBezTo>
                  <a:pt x="12" y="283"/>
                  <a:pt x="10" y="288"/>
                  <a:pt x="8" y="288"/>
                </a:cubicBezTo>
                <a:cubicBezTo>
                  <a:pt x="6" y="288"/>
                  <a:pt x="7" y="283"/>
                  <a:pt x="9" y="283"/>
                </a:cubicBezTo>
                <a:close/>
                <a:moveTo>
                  <a:pt x="5" y="239"/>
                </a:moveTo>
                <a:cubicBezTo>
                  <a:pt x="6" y="239"/>
                  <a:pt x="6" y="243"/>
                  <a:pt x="5" y="243"/>
                </a:cubicBezTo>
                <a:cubicBezTo>
                  <a:pt x="4" y="243"/>
                  <a:pt x="3" y="239"/>
                  <a:pt x="5" y="239"/>
                </a:cubicBezTo>
                <a:close/>
                <a:moveTo>
                  <a:pt x="5" y="282"/>
                </a:moveTo>
                <a:cubicBezTo>
                  <a:pt x="4" y="281"/>
                  <a:pt x="7" y="281"/>
                  <a:pt x="5" y="282"/>
                </a:cubicBezTo>
                <a:close/>
                <a:moveTo>
                  <a:pt x="6" y="383"/>
                </a:moveTo>
                <a:cubicBezTo>
                  <a:pt x="5" y="382"/>
                  <a:pt x="7" y="381"/>
                  <a:pt x="6" y="383"/>
                </a:cubicBezTo>
                <a:close/>
                <a:moveTo>
                  <a:pt x="7" y="413"/>
                </a:moveTo>
                <a:cubicBezTo>
                  <a:pt x="7" y="414"/>
                  <a:pt x="7" y="414"/>
                  <a:pt x="7" y="413"/>
                </a:cubicBezTo>
                <a:close/>
                <a:moveTo>
                  <a:pt x="7" y="412"/>
                </a:moveTo>
                <a:cubicBezTo>
                  <a:pt x="6" y="411"/>
                  <a:pt x="8" y="410"/>
                  <a:pt x="7" y="412"/>
                </a:cubicBezTo>
                <a:close/>
                <a:moveTo>
                  <a:pt x="11" y="364"/>
                </a:moveTo>
                <a:cubicBezTo>
                  <a:pt x="9" y="362"/>
                  <a:pt x="12" y="361"/>
                  <a:pt x="11" y="364"/>
                </a:cubicBezTo>
                <a:close/>
                <a:moveTo>
                  <a:pt x="11" y="360"/>
                </a:moveTo>
                <a:cubicBezTo>
                  <a:pt x="10" y="360"/>
                  <a:pt x="11" y="359"/>
                  <a:pt x="11" y="358"/>
                </a:cubicBezTo>
                <a:cubicBezTo>
                  <a:pt x="12" y="359"/>
                  <a:pt x="11" y="360"/>
                  <a:pt x="11" y="360"/>
                </a:cubicBezTo>
                <a:close/>
                <a:moveTo>
                  <a:pt x="12" y="342"/>
                </a:moveTo>
                <a:cubicBezTo>
                  <a:pt x="11" y="344"/>
                  <a:pt x="9" y="343"/>
                  <a:pt x="7" y="345"/>
                </a:cubicBezTo>
                <a:cubicBezTo>
                  <a:pt x="4" y="343"/>
                  <a:pt x="3" y="336"/>
                  <a:pt x="6" y="332"/>
                </a:cubicBezTo>
                <a:cubicBezTo>
                  <a:pt x="10" y="324"/>
                  <a:pt x="16" y="336"/>
                  <a:pt x="12" y="342"/>
                </a:cubicBezTo>
                <a:close/>
                <a:moveTo>
                  <a:pt x="13" y="293"/>
                </a:moveTo>
                <a:cubicBezTo>
                  <a:pt x="12" y="293"/>
                  <a:pt x="12" y="291"/>
                  <a:pt x="13" y="291"/>
                </a:cubicBezTo>
                <a:cubicBezTo>
                  <a:pt x="14" y="292"/>
                  <a:pt x="14" y="294"/>
                  <a:pt x="13" y="293"/>
                </a:cubicBezTo>
                <a:close/>
                <a:moveTo>
                  <a:pt x="20" y="292"/>
                </a:moveTo>
                <a:cubicBezTo>
                  <a:pt x="19" y="292"/>
                  <a:pt x="18" y="288"/>
                  <a:pt x="20" y="288"/>
                </a:cubicBezTo>
                <a:cubicBezTo>
                  <a:pt x="22" y="288"/>
                  <a:pt x="21" y="292"/>
                  <a:pt x="20" y="292"/>
                </a:cubicBezTo>
                <a:close/>
                <a:moveTo>
                  <a:pt x="21" y="325"/>
                </a:moveTo>
                <a:cubicBezTo>
                  <a:pt x="21" y="325"/>
                  <a:pt x="20" y="324"/>
                  <a:pt x="21" y="324"/>
                </a:cubicBezTo>
                <a:cubicBezTo>
                  <a:pt x="22" y="324"/>
                  <a:pt x="22" y="325"/>
                  <a:pt x="21" y="325"/>
                </a:cubicBezTo>
                <a:close/>
                <a:moveTo>
                  <a:pt x="22" y="295"/>
                </a:moveTo>
                <a:cubicBezTo>
                  <a:pt x="21" y="296"/>
                  <a:pt x="21" y="293"/>
                  <a:pt x="21" y="293"/>
                </a:cubicBezTo>
                <a:cubicBezTo>
                  <a:pt x="22" y="292"/>
                  <a:pt x="23" y="295"/>
                  <a:pt x="22" y="295"/>
                </a:cubicBezTo>
                <a:close/>
                <a:moveTo>
                  <a:pt x="26" y="373"/>
                </a:moveTo>
                <a:cubicBezTo>
                  <a:pt x="25" y="372"/>
                  <a:pt x="28" y="371"/>
                  <a:pt x="26" y="373"/>
                </a:cubicBezTo>
                <a:close/>
                <a:moveTo>
                  <a:pt x="27" y="459"/>
                </a:moveTo>
                <a:cubicBezTo>
                  <a:pt x="26" y="458"/>
                  <a:pt x="28" y="457"/>
                  <a:pt x="27" y="459"/>
                </a:cubicBezTo>
                <a:close/>
                <a:moveTo>
                  <a:pt x="31" y="330"/>
                </a:moveTo>
                <a:cubicBezTo>
                  <a:pt x="32" y="329"/>
                  <a:pt x="32" y="332"/>
                  <a:pt x="31" y="332"/>
                </a:cubicBezTo>
                <a:cubicBezTo>
                  <a:pt x="31" y="332"/>
                  <a:pt x="31" y="330"/>
                  <a:pt x="31" y="330"/>
                </a:cubicBezTo>
                <a:close/>
                <a:moveTo>
                  <a:pt x="31" y="465"/>
                </a:moveTo>
                <a:cubicBezTo>
                  <a:pt x="30" y="463"/>
                  <a:pt x="30" y="461"/>
                  <a:pt x="31" y="458"/>
                </a:cubicBezTo>
                <a:cubicBezTo>
                  <a:pt x="32" y="460"/>
                  <a:pt x="31" y="463"/>
                  <a:pt x="31" y="465"/>
                </a:cubicBezTo>
                <a:close/>
                <a:moveTo>
                  <a:pt x="33" y="366"/>
                </a:moveTo>
                <a:cubicBezTo>
                  <a:pt x="32" y="360"/>
                  <a:pt x="31" y="354"/>
                  <a:pt x="31" y="348"/>
                </a:cubicBezTo>
                <a:cubicBezTo>
                  <a:pt x="33" y="353"/>
                  <a:pt x="33" y="362"/>
                  <a:pt x="35" y="369"/>
                </a:cubicBezTo>
                <a:cubicBezTo>
                  <a:pt x="36" y="374"/>
                  <a:pt x="33" y="367"/>
                  <a:pt x="33" y="366"/>
                </a:cubicBezTo>
                <a:close/>
                <a:moveTo>
                  <a:pt x="35" y="330"/>
                </a:moveTo>
                <a:cubicBezTo>
                  <a:pt x="36" y="331"/>
                  <a:pt x="35" y="331"/>
                  <a:pt x="35" y="330"/>
                </a:cubicBezTo>
                <a:close/>
                <a:moveTo>
                  <a:pt x="46" y="336"/>
                </a:moveTo>
                <a:cubicBezTo>
                  <a:pt x="46" y="336"/>
                  <a:pt x="46" y="337"/>
                  <a:pt x="46" y="337"/>
                </a:cubicBezTo>
                <a:cubicBezTo>
                  <a:pt x="46" y="338"/>
                  <a:pt x="45" y="337"/>
                  <a:pt x="46" y="336"/>
                </a:cubicBezTo>
                <a:close/>
                <a:moveTo>
                  <a:pt x="39" y="421"/>
                </a:moveTo>
                <a:cubicBezTo>
                  <a:pt x="38" y="420"/>
                  <a:pt x="40" y="419"/>
                  <a:pt x="39" y="421"/>
                </a:cubicBezTo>
                <a:close/>
                <a:moveTo>
                  <a:pt x="40" y="416"/>
                </a:moveTo>
                <a:cubicBezTo>
                  <a:pt x="38" y="417"/>
                  <a:pt x="39" y="414"/>
                  <a:pt x="39" y="414"/>
                </a:cubicBezTo>
                <a:cubicBezTo>
                  <a:pt x="40" y="414"/>
                  <a:pt x="39" y="415"/>
                  <a:pt x="40" y="416"/>
                </a:cubicBezTo>
                <a:close/>
                <a:moveTo>
                  <a:pt x="43" y="333"/>
                </a:moveTo>
                <a:cubicBezTo>
                  <a:pt x="43" y="333"/>
                  <a:pt x="42" y="334"/>
                  <a:pt x="42" y="334"/>
                </a:cubicBezTo>
                <a:cubicBezTo>
                  <a:pt x="41" y="335"/>
                  <a:pt x="42" y="332"/>
                  <a:pt x="43" y="333"/>
                </a:cubicBezTo>
                <a:close/>
                <a:moveTo>
                  <a:pt x="43" y="405"/>
                </a:moveTo>
                <a:cubicBezTo>
                  <a:pt x="43" y="407"/>
                  <a:pt x="44" y="410"/>
                  <a:pt x="43" y="411"/>
                </a:cubicBezTo>
                <a:cubicBezTo>
                  <a:pt x="42" y="411"/>
                  <a:pt x="42" y="407"/>
                  <a:pt x="43" y="405"/>
                </a:cubicBezTo>
                <a:close/>
                <a:moveTo>
                  <a:pt x="43" y="446"/>
                </a:moveTo>
                <a:cubicBezTo>
                  <a:pt x="43" y="447"/>
                  <a:pt x="42" y="448"/>
                  <a:pt x="43" y="446"/>
                </a:cubicBezTo>
                <a:close/>
                <a:moveTo>
                  <a:pt x="43" y="449"/>
                </a:moveTo>
                <a:cubicBezTo>
                  <a:pt x="43" y="449"/>
                  <a:pt x="44" y="450"/>
                  <a:pt x="44" y="450"/>
                </a:cubicBezTo>
                <a:cubicBezTo>
                  <a:pt x="43" y="451"/>
                  <a:pt x="42" y="450"/>
                  <a:pt x="43" y="449"/>
                </a:cubicBezTo>
                <a:close/>
                <a:moveTo>
                  <a:pt x="43" y="404"/>
                </a:moveTo>
                <a:cubicBezTo>
                  <a:pt x="42" y="404"/>
                  <a:pt x="43" y="394"/>
                  <a:pt x="43" y="395"/>
                </a:cubicBezTo>
                <a:cubicBezTo>
                  <a:pt x="44" y="397"/>
                  <a:pt x="45" y="401"/>
                  <a:pt x="43" y="404"/>
                </a:cubicBezTo>
                <a:close/>
                <a:moveTo>
                  <a:pt x="44" y="379"/>
                </a:moveTo>
                <a:cubicBezTo>
                  <a:pt x="44" y="379"/>
                  <a:pt x="44" y="379"/>
                  <a:pt x="44" y="379"/>
                </a:cubicBezTo>
                <a:cubicBezTo>
                  <a:pt x="44" y="379"/>
                  <a:pt x="44" y="379"/>
                  <a:pt x="44" y="379"/>
                </a:cubicBezTo>
                <a:cubicBezTo>
                  <a:pt x="44" y="379"/>
                  <a:pt x="44" y="379"/>
                  <a:pt x="44" y="379"/>
                </a:cubicBezTo>
                <a:close/>
                <a:moveTo>
                  <a:pt x="46" y="410"/>
                </a:moveTo>
                <a:cubicBezTo>
                  <a:pt x="44" y="409"/>
                  <a:pt x="44" y="404"/>
                  <a:pt x="47" y="405"/>
                </a:cubicBezTo>
                <a:cubicBezTo>
                  <a:pt x="49" y="406"/>
                  <a:pt x="48" y="410"/>
                  <a:pt x="46" y="410"/>
                </a:cubicBezTo>
                <a:close/>
                <a:moveTo>
                  <a:pt x="48" y="365"/>
                </a:moveTo>
                <a:cubicBezTo>
                  <a:pt x="45" y="365"/>
                  <a:pt x="45" y="360"/>
                  <a:pt x="47" y="360"/>
                </a:cubicBezTo>
                <a:cubicBezTo>
                  <a:pt x="50" y="360"/>
                  <a:pt x="49" y="365"/>
                  <a:pt x="48" y="365"/>
                </a:cubicBezTo>
                <a:close/>
                <a:moveTo>
                  <a:pt x="52" y="444"/>
                </a:moveTo>
                <a:cubicBezTo>
                  <a:pt x="51" y="444"/>
                  <a:pt x="50" y="442"/>
                  <a:pt x="51" y="441"/>
                </a:cubicBezTo>
                <a:cubicBezTo>
                  <a:pt x="52" y="440"/>
                  <a:pt x="52" y="444"/>
                  <a:pt x="52" y="444"/>
                </a:cubicBezTo>
                <a:close/>
                <a:moveTo>
                  <a:pt x="55" y="387"/>
                </a:moveTo>
                <a:cubicBezTo>
                  <a:pt x="56" y="388"/>
                  <a:pt x="55" y="389"/>
                  <a:pt x="55" y="390"/>
                </a:cubicBezTo>
                <a:cubicBezTo>
                  <a:pt x="55" y="389"/>
                  <a:pt x="54" y="388"/>
                  <a:pt x="55" y="387"/>
                </a:cubicBezTo>
                <a:close/>
                <a:moveTo>
                  <a:pt x="54" y="397"/>
                </a:moveTo>
                <a:cubicBezTo>
                  <a:pt x="55" y="396"/>
                  <a:pt x="55" y="399"/>
                  <a:pt x="54" y="399"/>
                </a:cubicBezTo>
                <a:cubicBezTo>
                  <a:pt x="54" y="400"/>
                  <a:pt x="52" y="397"/>
                  <a:pt x="54" y="397"/>
                </a:cubicBezTo>
                <a:close/>
                <a:moveTo>
                  <a:pt x="55" y="464"/>
                </a:moveTo>
                <a:cubicBezTo>
                  <a:pt x="54" y="459"/>
                  <a:pt x="54" y="453"/>
                  <a:pt x="54" y="448"/>
                </a:cubicBezTo>
                <a:cubicBezTo>
                  <a:pt x="56" y="453"/>
                  <a:pt x="56" y="459"/>
                  <a:pt x="55" y="464"/>
                </a:cubicBezTo>
                <a:close/>
                <a:moveTo>
                  <a:pt x="57" y="480"/>
                </a:moveTo>
                <a:cubicBezTo>
                  <a:pt x="56" y="476"/>
                  <a:pt x="56" y="471"/>
                  <a:pt x="56" y="467"/>
                </a:cubicBezTo>
                <a:cubicBezTo>
                  <a:pt x="56" y="471"/>
                  <a:pt x="58" y="475"/>
                  <a:pt x="57" y="480"/>
                </a:cubicBezTo>
                <a:close/>
                <a:moveTo>
                  <a:pt x="64" y="450"/>
                </a:moveTo>
                <a:cubicBezTo>
                  <a:pt x="63" y="451"/>
                  <a:pt x="64" y="449"/>
                  <a:pt x="64" y="450"/>
                </a:cubicBezTo>
                <a:close/>
                <a:moveTo>
                  <a:pt x="71" y="454"/>
                </a:moveTo>
                <a:cubicBezTo>
                  <a:pt x="72" y="455"/>
                  <a:pt x="70" y="456"/>
                  <a:pt x="71" y="454"/>
                </a:cubicBezTo>
                <a:close/>
                <a:moveTo>
                  <a:pt x="75" y="408"/>
                </a:moveTo>
                <a:cubicBezTo>
                  <a:pt x="75" y="408"/>
                  <a:pt x="75" y="408"/>
                  <a:pt x="75" y="408"/>
                </a:cubicBezTo>
                <a:cubicBezTo>
                  <a:pt x="75" y="408"/>
                  <a:pt x="75" y="408"/>
                  <a:pt x="75" y="408"/>
                </a:cubicBezTo>
                <a:cubicBezTo>
                  <a:pt x="75" y="408"/>
                  <a:pt x="75" y="408"/>
                  <a:pt x="75" y="408"/>
                </a:cubicBezTo>
                <a:close/>
                <a:moveTo>
                  <a:pt x="80" y="382"/>
                </a:moveTo>
                <a:cubicBezTo>
                  <a:pt x="80" y="382"/>
                  <a:pt x="80" y="382"/>
                  <a:pt x="80" y="382"/>
                </a:cubicBezTo>
                <a:cubicBezTo>
                  <a:pt x="80" y="382"/>
                  <a:pt x="80" y="382"/>
                  <a:pt x="80" y="382"/>
                </a:cubicBezTo>
                <a:cubicBezTo>
                  <a:pt x="80" y="382"/>
                  <a:pt x="80" y="382"/>
                  <a:pt x="80" y="382"/>
                </a:cubicBezTo>
                <a:close/>
                <a:moveTo>
                  <a:pt x="78" y="214"/>
                </a:moveTo>
                <a:cubicBezTo>
                  <a:pt x="78" y="214"/>
                  <a:pt x="78" y="212"/>
                  <a:pt x="78" y="212"/>
                </a:cubicBezTo>
                <a:cubicBezTo>
                  <a:pt x="78" y="211"/>
                  <a:pt x="79" y="213"/>
                  <a:pt x="78" y="214"/>
                </a:cubicBezTo>
                <a:close/>
                <a:moveTo>
                  <a:pt x="78" y="214"/>
                </a:moveTo>
                <a:cubicBezTo>
                  <a:pt x="79" y="214"/>
                  <a:pt x="78" y="216"/>
                  <a:pt x="78" y="216"/>
                </a:cubicBezTo>
                <a:cubicBezTo>
                  <a:pt x="78" y="216"/>
                  <a:pt x="77" y="215"/>
                  <a:pt x="78" y="214"/>
                </a:cubicBezTo>
                <a:close/>
                <a:moveTo>
                  <a:pt x="76" y="204"/>
                </a:moveTo>
                <a:cubicBezTo>
                  <a:pt x="77" y="205"/>
                  <a:pt x="77" y="206"/>
                  <a:pt x="77" y="208"/>
                </a:cubicBezTo>
                <a:cubicBezTo>
                  <a:pt x="77" y="207"/>
                  <a:pt x="75" y="206"/>
                  <a:pt x="76" y="204"/>
                </a:cubicBezTo>
                <a:close/>
                <a:moveTo>
                  <a:pt x="76" y="221"/>
                </a:moveTo>
                <a:cubicBezTo>
                  <a:pt x="76" y="221"/>
                  <a:pt x="76" y="221"/>
                  <a:pt x="76" y="221"/>
                </a:cubicBezTo>
                <a:cubicBezTo>
                  <a:pt x="76" y="222"/>
                  <a:pt x="75" y="221"/>
                  <a:pt x="76" y="221"/>
                </a:cubicBezTo>
                <a:close/>
                <a:moveTo>
                  <a:pt x="77" y="253"/>
                </a:moveTo>
                <a:cubicBezTo>
                  <a:pt x="77" y="254"/>
                  <a:pt x="75" y="251"/>
                  <a:pt x="76" y="251"/>
                </a:cubicBezTo>
                <a:cubicBezTo>
                  <a:pt x="77" y="251"/>
                  <a:pt x="78" y="253"/>
                  <a:pt x="77" y="253"/>
                </a:cubicBezTo>
                <a:close/>
                <a:moveTo>
                  <a:pt x="76" y="260"/>
                </a:moveTo>
                <a:cubicBezTo>
                  <a:pt x="79" y="259"/>
                  <a:pt x="79" y="264"/>
                  <a:pt x="77" y="265"/>
                </a:cubicBezTo>
                <a:cubicBezTo>
                  <a:pt x="75" y="266"/>
                  <a:pt x="74" y="261"/>
                  <a:pt x="76" y="260"/>
                </a:cubicBezTo>
                <a:close/>
                <a:moveTo>
                  <a:pt x="78" y="258"/>
                </a:moveTo>
                <a:cubicBezTo>
                  <a:pt x="77" y="257"/>
                  <a:pt x="79" y="256"/>
                  <a:pt x="78" y="258"/>
                </a:cubicBezTo>
                <a:close/>
                <a:moveTo>
                  <a:pt x="76" y="353"/>
                </a:moveTo>
                <a:cubicBezTo>
                  <a:pt x="75" y="353"/>
                  <a:pt x="74" y="351"/>
                  <a:pt x="75" y="351"/>
                </a:cubicBezTo>
                <a:cubicBezTo>
                  <a:pt x="75" y="351"/>
                  <a:pt x="76" y="353"/>
                  <a:pt x="76" y="353"/>
                </a:cubicBezTo>
                <a:close/>
                <a:moveTo>
                  <a:pt x="79" y="279"/>
                </a:moveTo>
                <a:cubicBezTo>
                  <a:pt x="79" y="278"/>
                  <a:pt x="81" y="279"/>
                  <a:pt x="81" y="278"/>
                </a:cubicBezTo>
                <a:cubicBezTo>
                  <a:pt x="81" y="277"/>
                  <a:pt x="80" y="276"/>
                  <a:pt x="79" y="276"/>
                </a:cubicBezTo>
                <a:cubicBezTo>
                  <a:pt x="78" y="276"/>
                  <a:pt x="78" y="278"/>
                  <a:pt x="77" y="277"/>
                </a:cubicBezTo>
                <a:cubicBezTo>
                  <a:pt x="78" y="278"/>
                  <a:pt x="77" y="279"/>
                  <a:pt x="77" y="277"/>
                </a:cubicBezTo>
                <a:cubicBezTo>
                  <a:pt x="76" y="277"/>
                  <a:pt x="77" y="276"/>
                  <a:pt x="77" y="275"/>
                </a:cubicBezTo>
                <a:cubicBezTo>
                  <a:pt x="76" y="274"/>
                  <a:pt x="76" y="274"/>
                  <a:pt x="76" y="272"/>
                </a:cubicBezTo>
                <a:cubicBezTo>
                  <a:pt x="76" y="271"/>
                  <a:pt x="79" y="267"/>
                  <a:pt x="81" y="270"/>
                </a:cubicBezTo>
                <a:cubicBezTo>
                  <a:pt x="82" y="273"/>
                  <a:pt x="83" y="278"/>
                  <a:pt x="81" y="280"/>
                </a:cubicBezTo>
                <a:cubicBezTo>
                  <a:pt x="81" y="281"/>
                  <a:pt x="78" y="281"/>
                  <a:pt x="79" y="279"/>
                </a:cubicBezTo>
                <a:close/>
                <a:moveTo>
                  <a:pt x="82" y="357"/>
                </a:moveTo>
                <a:cubicBezTo>
                  <a:pt x="82" y="358"/>
                  <a:pt x="82" y="358"/>
                  <a:pt x="82" y="359"/>
                </a:cubicBezTo>
                <a:cubicBezTo>
                  <a:pt x="82" y="359"/>
                  <a:pt x="82" y="358"/>
                  <a:pt x="82" y="357"/>
                </a:cubicBezTo>
                <a:close/>
                <a:moveTo>
                  <a:pt x="81" y="298"/>
                </a:moveTo>
                <a:cubicBezTo>
                  <a:pt x="82" y="299"/>
                  <a:pt x="83" y="302"/>
                  <a:pt x="83" y="304"/>
                </a:cubicBezTo>
                <a:cubicBezTo>
                  <a:pt x="81" y="302"/>
                  <a:pt x="82" y="300"/>
                  <a:pt x="81" y="298"/>
                </a:cubicBezTo>
                <a:close/>
                <a:moveTo>
                  <a:pt x="81" y="240"/>
                </a:moveTo>
                <a:cubicBezTo>
                  <a:pt x="83" y="236"/>
                  <a:pt x="78" y="238"/>
                  <a:pt x="77" y="238"/>
                </a:cubicBezTo>
                <a:cubicBezTo>
                  <a:pt x="76" y="236"/>
                  <a:pt x="78" y="233"/>
                  <a:pt x="78" y="230"/>
                </a:cubicBezTo>
                <a:cubicBezTo>
                  <a:pt x="78" y="229"/>
                  <a:pt x="76" y="224"/>
                  <a:pt x="77" y="223"/>
                </a:cubicBezTo>
                <a:cubicBezTo>
                  <a:pt x="79" y="223"/>
                  <a:pt x="79" y="229"/>
                  <a:pt x="79" y="229"/>
                </a:cubicBezTo>
                <a:cubicBezTo>
                  <a:pt x="80" y="230"/>
                  <a:pt x="83" y="226"/>
                  <a:pt x="84" y="226"/>
                </a:cubicBezTo>
                <a:cubicBezTo>
                  <a:pt x="92" y="224"/>
                  <a:pt x="89" y="237"/>
                  <a:pt x="87" y="241"/>
                </a:cubicBezTo>
                <a:cubicBezTo>
                  <a:pt x="84" y="246"/>
                  <a:pt x="86" y="236"/>
                  <a:pt x="81" y="240"/>
                </a:cubicBezTo>
                <a:close/>
                <a:moveTo>
                  <a:pt x="83" y="303"/>
                </a:moveTo>
                <a:cubicBezTo>
                  <a:pt x="83" y="302"/>
                  <a:pt x="85" y="304"/>
                  <a:pt x="84" y="304"/>
                </a:cubicBezTo>
                <a:cubicBezTo>
                  <a:pt x="84" y="304"/>
                  <a:pt x="83" y="303"/>
                  <a:pt x="83" y="303"/>
                </a:cubicBezTo>
                <a:close/>
                <a:moveTo>
                  <a:pt x="84" y="307"/>
                </a:moveTo>
                <a:cubicBezTo>
                  <a:pt x="83" y="306"/>
                  <a:pt x="84" y="305"/>
                  <a:pt x="84" y="307"/>
                </a:cubicBezTo>
                <a:close/>
                <a:moveTo>
                  <a:pt x="85" y="311"/>
                </a:moveTo>
                <a:cubicBezTo>
                  <a:pt x="84" y="311"/>
                  <a:pt x="84" y="309"/>
                  <a:pt x="84" y="308"/>
                </a:cubicBezTo>
                <a:cubicBezTo>
                  <a:pt x="84" y="309"/>
                  <a:pt x="85" y="310"/>
                  <a:pt x="85" y="311"/>
                </a:cubicBezTo>
                <a:close/>
                <a:moveTo>
                  <a:pt x="83" y="365"/>
                </a:moveTo>
                <a:cubicBezTo>
                  <a:pt x="84" y="366"/>
                  <a:pt x="83" y="367"/>
                  <a:pt x="84" y="368"/>
                </a:cubicBezTo>
                <a:cubicBezTo>
                  <a:pt x="83" y="368"/>
                  <a:pt x="83" y="366"/>
                  <a:pt x="83" y="365"/>
                </a:cubicBezTo>
                <a:close/>
                <a:moveTo>
                  <a:pt x="84" y="329"/>
                </a:moveTo>
                <a:cubicBezTo>
                  <a:pt x="85" y="329"/>
                  <a:pt x="86" y="330"/>
                  <a:pt x="85" y="331"/>
                </a:cubicBezTo>
                <a:cubicBezTo>
                  <a:pt x="84" y="331"/>
                  <a:pt x="84" y="329"/>
                  <a:pt x="84" y="329"/>
                </a:cubicBezTo>
                <a:close/>
                <a:moveTo>
                  <a:pt x="85" y="377"/>
                </a:moveTo>
                <a:cubicBezTo>
                  <a:pt x="84" y="377"/>
                  <a:pt x="85" y="376"/>
                  <a:pt x="85" y="375"/>
                </a:cubicBezTo>
                <a:cubicBezTo>
                  <a:pt x="84" y="374"/>
                  <a:pt x="85" y="376"/>
                  <a:pt x="85" y="377"/>
                </a:cubicBezTo>
                <a:close/>
                <a:moveTo>
                  <a:pt x="85" y="378"/>
                </a:moveTo>
                <a:cubicBezTo>
                  <a:pt x="85" y="378"/>
                  <a:pt x="85" y="379"/>
                  <a:pt x="85" y="380"/>
                </a:cubicBezTo>
                <a:cubicBezTo>
                  <a:pt x="85" y="380"/>
                  <a:pt x="85" y="378"/>
                  <a:pt x="85" y="378"/>
                </a:cubicBezTo>
                <a:close/>
                <a:moveTo>
                  <a:pt x="86" y="260"/>
                </a:moveTo>
                <a:cubicBezTo>
                  <a:pt x="84" y="260"/>
                  <a:pt x="83" y="256"/>
                  <a:pt x="87" y="256"/>
                </a:cubicBezTo>
                <a:cubicBezTo>
                  <a:pt x="89" y="256"/>
                  <a:pt x="88" y="261"/>
                  <a:pt x="86" y="260"/>
                </a:cubicBezTo>
                <a:close/>
                <a:moveTo>
                  <a:pt x="90" y="332"/>
                </a:moveTo>
                <a:cubicBezTo>
                  <a:pt x="89" y="332"/>
                  <a:pt x="88" y="328"/>
                  <a:pt x="90" y="328"/>
                </a:cubicBezTo>
                <a:cubicBezTo>
                  <a:pt x="90" y="328"/>
                  <a:pt x="90" y="331"/>
                  <a:pt x="90" y="332"/>
                </a:cubicBezTo>
                <a:close/>
                <a:moveTo>
                  <a:pt x="91" y="222"/>
                </a:moveTo>
                <a:cubicBezTo>
                  <a:pt x="91" y="223"/>
                  <a:pt x="91" y="224"/>
                  <a:pt x="91" y="225"/>
                </a:cubicBezTo>
                <a:cubicBezTo>
                  <a:pt x="90" y="224"/>
                  <a:pt x="90" y="223"/>
                  <a:pt x="91" y="222"/>
                </a:cubicBezTo>
                <a:close/>
                <a:moveTo>
                  <a:pt x="91" y="228"/>
                </a:moveTo>
                <a:cubicBezTo>
                  <a:pt x="91" y="229"/>
                  <a:pt x="90" y="228"/>
                  <a:pt x="91" y="227"/>
                </a:cubicBezTo>
                <a:cubicBezTo>
                  <a:pt x="91" y="227"/>
                  <a:pt x="92" y="228"/>
                  <a:pt x="91" y="228"/>
                </a:cubicBezTo>
                <a:close/>
                <a:moveTo>
                  <a:pt x="158" y="205"/>
                </a:moveTo>
                <a:cubicBezTo>
                  <a:pt x="159" y="205"/>
                  <a:pt x="159" y="208"/>
                  <a:pt x="158" y="208"/>
                </a:cubicBezTo>
                <a:cubicBezTo>
                  <a:pt x="158" y="208"/>
                  <a:pt x="157" y="206"/>
                  <a:pt x="158" y="205"/>
                </a:cubicBezTo>
                <a:close/>
                <a:moveTo>
                  <a:pt x="154" y="169"/>
                </a:moveTo>
                <a:cubicBezTo>
                  <a:pt x="155" y="168"/>
                  <a:pt x="155" y="171"/>
                  <a:pt x="154" y="171"/>
                </a:cubicBezTo>
                <a:cubicBezTo>
                  <a:pt x="154" y="171"/>
                  <a:pt x="153" y="170"/>
                  <a:pt x="154" y="169"/>
                </a:cubicBezTo>
                <a:close/>
                <a:moveTo>
                  <a:pt x="155" y="227"/>
                </a:moveTo>
                <a:cubicBezTo>
                  <a:pt x="154" y="227"/>
                  <a:pt x="153" y="225"/>
                  <a:pt x="154" y="225"/>
                </a:cubicBezTo>
                <a:cubicBezTo>
                  <a:pt x="155" y="224"/>
                  <a:pt x="155" y="227"/>
                  <a:pt x="155" y="227"/>
                </a:cubicBezTo>
                <a:close/>
                <a:moveTo>
                  <a:pt x="154" y="181"/>
                </a:moveTo>
                <a:cubicBezTo>
                  <a:pt x="154" y="181"/>
                  <a:pt x="155" y="182"/>
                  <a:pt x="154" y="182"/>
                </a:cubicBezTo>
                <a:cubicBezTo>
                  <a:pt x="153" y="183"/>
                  <a:pt x="153" y="182"/>
                  <a:pt x="154" y="181"/>
                </a:cubicBezTo>
                <a:close/>
                <a:moveTo>
                  <a:pt x="150" y="242"/>
                </a:moveTo>
                <a:cubicBezTo>
                  <a:pt x="149" y="242"/>
                  <a:pt x="150" y="241"/>
                  <a:pt x="150" y="241"/>
                </a:cubicBezTo>
                <a:cubicBezTo>
                  <a:pt x="150" y="240"/>
                  <a:pt x="150" y="242"/>
                  <a:pt x="150" y="242"/>
                </a:cubicBezTo>
                <a:close/>
                <a:moveTo>
                  <a:pt x="149" y="249"/>
                </a:moveTo>
                <a:cubicBezTo>
                  <a:pt x="149" y="249"/>
                  <a:pt x="150" y="251"/>
                  <a:pt x="150" y="251"/>
                </a:cubicBezTo>
                <a:cubicBezTo>
                  <a:pt x="149" y="251"/>
                  <a:pt x="149" y="249"/>
                  <a:pt x="149" y="249"/>
                </a:cubicBezTo>
                <a:close/>
                <a:moveTo>
                  <a:pt x="150" y="301"/>
                </a:moveTo>
                <a:cubicBezTo>
                  <a:pt x="149" y="300"/>
                  <a:pt x="149" y="299"/>
                  <a:pt x="149" y="299"/>
                </a:cubicBezTo>
                <a:cubicBezTo>
                  <a:pt x="149" y="299"/>
                  <a:pt x="150" y="300"/>
                  <a:pt x="150" y="301"/>
                </a:cubicBezTo>
                <a:close/>
                <a:moveTo>
                  <a:pt x="149" y="200"/>
                </a:moveTo>
                <a:cubicBezTo>
                  <a:pt x="151" y="199"/>
                  <a:pt x="150" y="203"/>
                  <a:pt x="149" y="203"/>
                </a:cubicBezTo>
                <a:cubicBezTo>
                  <a:pt x="148" y="202"/>
                  <a:pt x="148" y="200"/>
                  <a:pt x="149" y="200"/>
                </a:cubicBezTo>
                <a:close/>
                <a:moveTo>
                  <a:pt x="148" y="231"/>
                </a:moveTo>
                <a:cubicBezTo>
                  <a:pt x="148" y="232"/>
                  <a:pt x="147" y="231"/>
                  <a:pt x="147" y="231"/>
                </a:cubicBezTo>
                <a:cubicBezTo>
                  <a:pt x="147" y="231"/>
                  <a:pt x="148" y="231"/>
                  <a:pt x="148" y="231"/>
                </a:cubicBezTo>
                <a:close/>
                <a:moveTo>
                  <a:pt x="147" y="333"/>
                </a:moveTo>
                <a:cubicBezTo>
                  <a:pt x="146" y="334"/>
                  <a:pt x="149" y="333"/>
                  <a:pt x="147" y="333"/>
                </a:cubicBezTo>
                <a:close/>
                <a:moveTo>
                  <a:pt x="146" y="173"/>
                </a:moveTo>
                <a:cubicBezTo>
                  <a:pt x="146" y="173"/>
                  <a:pt x="146" y="172"/>
                  <a:pt x="146" y="172"/>
                </a:cubicBezTo>
                <a:cubicBezTo>
                  <a:pt x="148" y="172"/>
                  <a:pt x="144" y="175"/>
                  <a:pt x="146" y="173"/>
                </a:cubicBezTo>
                <a:close/>
                <a:moveTo>
                  <a:pt x="145" y="190"/>
                </a:moveTo>
                <a:cubicBezTo>
                  <a:pt x="145" y="190"/>
                  <a:pt x="146" y="190"/>
                  <a:pt x="146" y="190"/>
                </a:cubicBezTo>
                <a:cubicBezTo>
                  <a:pt x="148" y="189"/>
                  <a:pt x="144" y="192"/>
                  <a:pt x="145" y="190"/>
                </a:cubicBezTo>
                <a:close/>
                <a:moveTo>
                  <a:pt x="144" y="178"/>
                </a:moveTo>
                <a:cubicBezTo>
                  <a:pt x="145" y="178"/>
                  <a:pt x="145" y="180"/>
                  <a:pt x="144" y="180"/>
                </a:cubicBezTo>
                <a:cubicBezTo>
                  <a:pt x="144" y="180"/>
                  <a:pt x="143" y="178"/>
                  <a:pt x="144" y="178"/>
                </a:cubicBezTo>
                <a:close/>
                <a:moveTo>
                  <a:pt x="145" y="222"/>
                </a:moveTo>
                <a:cubicBezTo>
                  <a:pt x="145" y="221"/>
                  <a:pt x="146" y="220"/>
                  <a:pt x="147" y="221"/>
                </a:cubicBezTo>
                <a:cubicBezTo>
                  <a:pt x="148" y="221"/>
                  <a:pt x="148" y="224"/>
                  <a:pt x="147" y="224"/>
                </a:cubicBezTo>
                <a:cubicBezTo>
                  <a:pt x="146" y="224"/>
                  <a:pt x="146" y="223"/>
                  <a:pt x="145" y="222"/>
                </a:cubicBezTo>
                <a:cubicBezTo>
                  <a:pt x="145" y="222"/>
                  <a:pt x="145" y="222"/>
                  <a:pt x="145" y="222"/>
                </a:cubicBezTo>
                <a:cubicBezTo>
                  <a:pt x="144" y="221"/>
                  <a:pt x="144" y="219"/>
                  <a:pt x="143" y="217"/>
                </a:cubicBezTo>
                <a:cubicBezTo>
                  <a:pt x="144" y="218"/>
                  <a:pt x="145" y="220"/>
                  <a:pt x="145" y="222"/>
                </a:cubicBezTo>
                <a:close/>
                <a:moveTo>
                  <a:pt x="145" y="245"/>
                </a:moveTo>
                <a:cubicBezTo>
                  <a:pt x="147" y="244"/>
                  <a:pt x="146" y="248"/>
                  <a:pt x="145" y="248"/>
                </a:cubicBezTo>
                <a:cubicBezTo>
                  <a:pt x="144" y="248"/>
                  <a:pt x="143" y="246"/>
                  <a:pt x="145" y="245"/>
                </a:cubicBezTo>
                <a:close/>
                <a:moveTo>
                  <a:pt x="145" y="314"/>
                </a:moveTo>
                <a:cubicBezTo>
                  <a:pt x="145" y="314"/>
                  <a:pt x="144" y="313"/>
                  <a:pt x="144" y="312"/>
                </a:cubicBezTo>
                <a:cubicBezTo>
                  <a:pt x="144" y="311"/>
                  <a:pt x="145" y="314"/>
                  <a:pt x="145" y="314"/>
                </a:cubicBezTo>
                <a:close/>
                <a:moveTo>
                  <a:pt x="141" y="194"/>
                </a:moveTo>
                <a:cubicBezTo>
                  <a:pt x="141" y="194"/>
                  <a:pt x="140" y="193"/>
                  <a:pt x="140" y="193"/>
                </a:cubicBezTo>
                <a:cubicBezTo>
                  <a:pt x="140" y="192"/>
                  <a:pt x="142" y="194"/>
                  <a:pt x="141" y="194"/>
                </a:cubicBezTo>
                <a:close/>
                <a:moveTo>
                  <a:pt x="142" y="199"/>
                </a:moveTo>
                <a:cubicBezTo>
                  <a:pt x="141" y="199"/>
                  <a:pt x="141" y="198"/>
                  <a:pt x="141" y="197"/>
                </a:cubicBezTo>
                <a:cubicBezTo>
                  <a:pt x="141" y="197"/>
                  <a:pt x="142" y="198"/>
                  <a:pt x="142" y="199"/>
                </a:cubicBezTo>
                <a:close/>
                <a:moveTo>
                  <a:pt x="142" y="216"/>
                </a:moveTo>
                <a:cubicBezTo>
                  <a:pt x="141" y="214"/>
                  <a:pt x="140" y="211"/>
                  <a:pt x="139" y="209"/>
                </a:cubicBezTo>
                <a:cubicBezTo>
                  <a:pt x="141" y="210"/>
                  <a:pt x="142" y="214"/>
                  <a:pt x="142" y="216"/>
                </a:cubicBezTo>
                <a:close/>
                <a:moveTo>
                  <a:pt x="141" y="232"/>
                </a:moveTo>
                <a:cubicBezTo>
                  <a:pt x="141" y="233"/>
                  <a:pt x="141" y="231"/>
                  <a:pt x="141" y="232"/>
                </a:cubicBezTo>
                <a:close/>
                <a:moveTo>
                  <a:pt x="140" y="226"/>
                </a:moveTo>
                <a:cubicBezTo>
                  <a:pt x="139" y="224"/>
                  <a:pt x="140" y="224"/>
                  <a:pt x="140" y="226"/>
                </a:cubicBezTo>
                <a:close/>
                <a:moveTo>
                  <a:pt x="134" y="215"/>
                </a:moveTo>
                <a:cubicBezTo>
                  <a:pt x="134" y="216"/>
                  <a:pt x="133" y="215"/>
                  <a:pt x="133" y="215"/>
                </a:cubicBezTo>
                <a:cubicBezTo>
                  <a:pt x="133" y="214"/>
                  <a:pt x="134" y="215"/>
                  <a:pt x="134" y="215"/>
                </a:cubicBezTo>
                <a:close/>
                <a:moveTo>
                  <a:pt x="128" y="205"/>
                </a:moveTo>
                <a:cubicBezTo>
                  <a:pt x="128" y="203"/>
                  <a:pt x="128" y="202"/>
                  <a:pt x="130" y="202"/>
                </a:cubicBezTo>
                <a:cubicBezTo>
                  <a:pt x="131" y="202"/>
                  <a:pt x="132" y="206"/>
                  <a:pt x="131" y="207"/>
                </a:cubicBezTo>
                <a:cubicBezTo>
                  <a:pt x="130" y="208"/>
                  <a:pt x="130" y="207"/>
                  <a:pt x="129" y="207"/>
                </a:cubicBezTo>
                <a:cubicBezTo>
                  <a:pt x="129" y="207"/>
                  <a:pt x="129" y="207"/>
                  <a:pt x="129" y="207"/>
                </a:cubicBezTo>
                <a:cubicBezTo>
                  <a:pt x="128" y="207"/>
                  <a:pt x="127" y="205"/>
                  <a:pt x="128" y="205"/>
                </a:cubicBezTo>
                <a:close/>
                <a:moveTo>
                  <a:pt x="131" y="346"/>
                </a:moveTo>
                <a:cubicBezTo>
                  <a:pt x="133" y="346"/>
                  <a:pt x="132" y="348"/>
                  <a:pt x="131" y="346"/>
                </a:cubicBezTo>
                <a:close/>
                <a:moveTo>
                  <a:pt x="128" y="352"/>
                </a:moveTo>
                <a:cubicBezTo>
                  <a:pt x="129" y="352"/>
                  <a:pt x="129" y="353"/>
                  <a:pt x="129" y="353"/>
                </a:cubicBezTo>
                <a:cubicBezTo>
                  <a:pt x="128" y="354"/>
                  <a:pt x="128" y="353"/>
                  <a:pt x="128" y="352"/>
                </a:cubicBezTo>
                <a:close/>
                <a:moveTo>
                  <a:pt x="128" y="244"/>
                </a:moveTo>
                <a:cubicBezTo>
                  <a:pt x="128" y="243"/>
                  <a:pt x="129" y="245"/>
                  <a:pt x="129" y="246"/>
                </a:cubicBezTo>
                <a:cubicBezTo>
                  <a:pt x="128" y="245"/>
                  <a:pt x="129" y="245"/>
                  <a:pt x="128" y="244"/>
                </a:cubicBezTo>
                <a:close/>
                <a:moveTo>
                  <a:pt x="128" y="274"/>
                </a:moveTo>
                <a:cubicBezTo>
                  <a:pt x="129" y="275"/>
                  <a:pt x="129" y="276"/>
                  <a:pt x="130" y="277"/>
                </a:cubicBezTo>
                <a:cubicBezTo>
                  <a:pt x="129" y="277"/>
                  <a:pt x="128" y="275"/>
                  <a:pt x="128" y="274"/>
                </a:cubicBezTo>
                <a:close/>
                <a:moveTo>
                  <a:pt x="129" y="246"/>
                </a:moveTo>
                <a:cubicBezTo>
                  <a:pt x="132" y="246"/>
                  <a:pt x="128" y="249"/>
                  <a:pt x="129" y="247"/>
                </a:cubicBezTo>
                <a:cubicBezTo>
                  <a:pt x="129" y="247"/>
                  <a:pt x="129" y="246"/>
                  <a:pt x="129" y="246"/>
                </a:cubicBezTo>
                <a:close/>
                <a:moveTo>
                  <a:pt x="129" y="241"/>
                </a:moveTo>
                <a:cubicBezTo>
                  <a:pt x="130" y="240"/>
                  <a:pt x="130" y="242"/>
                  <a:pt x="130" y="242"/>
                </a:cubicBezTo>
                <a:cubicBezTo>
                  <a:pt x="130" y="242"/>
                  <a:pt x="129" y="241"/>
                  <a:pt x="129" y="241"/>
                </a:cubicBezTo>
                <a:close/>
                <a:moveTo>
                  <a:pt x="130" y="275"/>
                </a:moveTo>
                <a:cubicBezTo>
                  <a:pt x="129" y="274"/>
                  <a:pt x="130" y="273"/>
                  <a:pt x="130" y="274"/>
                </a:cubicBezTo>
                <a:cubicBezTo>
                  <a:pt x="131" y="274"/>
                  <a:pt x="131" y="275"/>
                  <a:pt x="130" y="275"/>
                </a:cubicBezTo>
                <a:close/>
                <a:moveTo>
                  <a:pt x="128" y="210"/>
                </a:moveTo>
                <a:cubicBezTo>
                  <a:pt x="127" y="210"/>
                  <a:pt x="127" y="208"/>
                  <a:pt x="127" y="207"/>
                </a:cubicBezTo>
                <a:cubicBezTo>
                  <a:pt x="128" y="208"/>
                  <a:pt x="128" y="209"/>
                  <a:pt x="128" y="210"/>
                </a:cubicBezTo>
                <a:close/>
                <a:moveTo>
                  <a:pt x="126" y="269"/>
                </a:moveTo>
                <a:cubicBezTo>
                  <a:pt x="127" y="270"/>
                  <a:pt x="128" y="271"/>
                  <a:pt x="128" y="273"/>
                </a:cubicBezTo>
                <a:cubicBezTo>
                  <a:pt x="127" y="272"/>
                  <a:pt x="126" y="271"/>
                  <a:pt x="126" y="269"/>
                </a:cubicBezTo>
                <a:close/>
                <a:moveTo>
                  <a:pt x="123" y="221"/>
                </a:moveTo>
                <a:cubicBezTo>
                  <a:pt x="123" y="221"/>
                  <a:pt x="124" y="221"/>
                  <a:pt x="124" y="222"/>
                </a:cubicBezTo>
                <a:cubicBezTo>
                  <a:pt x="124" y="222"/>
                  <a:pt x="122" y="222"/>
                  <a:pt x="123" y="221"/>
                </a:cubicBezTo>
                <a:close/>
                <a:moveTo>
                  <a:pt x="125" y="273"/>
                </a:moveTo>
                <a:cubicBezTo>
                  <a:pt x="123" y="272"/>
                  <a:pt x="123" y="271"/>
                  <a:pt x="123" y="270"/>
                </a:cubicBezTo>
                <a:cubicBezTo>
                  <a:pt x="124" y="270"/>
                  <a:pt x="125" y="272"/>
                  <a:pt x="125" y="273"/>
                </a:cubicBezTo>
                <a:close/>
                <a:moveTo>
                  <a:pt x="119" y="230"/>
                </a:moveTo>
                <a:cubicBezTo>
                  <a:pt x="119" y="231"/>
                  <a:pt x="119" y="230"/>
                  <a:pt x="119" y="230"/>
                </a:cubicBezTo>
                <a:cubicBezTo>
                  <a:pt x="116" y="228"/>
                  <a:pt x="120" y="229"/>
                  <a:pt x="119" y="230"/>
                </a:cubicBezTo>
                <a:close/>
                <a:moveTo>
                  <a:pt x="116" y="209"/>
                </a:moveTo>
                <a:cubicBezTo>
                  <a:pt x="117" y="209"/>
                  <a:pt x="117" y="211"/>
                  <a:pt x="117" y="211"/>
                </a:cubicBezTo>
                <a:cubicBezTo>
                  <a:pt x="117" y="211"/>
                  <a:pt x="116" y="210"/>
                  <a:pt x="116" y="209"/>
                </a:cubicBezTo>
                <a:close/>
                <a:moveTo>
                  <a:pt x="117" y="220"/>
                </a:moveTo>
                <a:cubicBezTo>
                  <a:pt x="118" y="221"/>
                  <a:pt x="118" y="223"/>
                  <a:pt x="118" y="224"/>
                </a:cubicBezTo>
                <a:cubicBezTo>
                  <a:pt x="118" y="226"/>
                  <a:pt x="119" y="228"/>
                  <a:pt x="118" y="228"/>
                </a:cubicBezTo>
                <a:cubicBezTo>
                  <a:pt x="118" y="228"/>
                  <a:pt x="118" y="228"/>
                  <a:pt x="118" y="227"/>
                </a:cubicBezTo>
                <a:cubicBezTo>
                  <a:pt x="118" y="228"/>
                  <a:pt x="118" y="228"/>
                  <a:pt x="118" y="228"/>
                </a:cubicBezTo>
                <a:cubicBezTo>
                  <a:pt x="118" y="228"/>
                  <a:pt x="117" y="229"/>
                  <a:pt x="117" y="229"/>
                </a:cubicBezTo>
                <a:cubicBezTo>
                  <a:pt x="116" y="229"/>
                  <a:pt x="111" y="224"/>
                  <a:pt x="112" y="221"/>
                </a:cubicBezTo>
                <a:cubicBezTo>
                  <a:pt x="112" y="219"/>
                  <a:pt x="115" y="218"/>
                  <a:pt x="117" y="220"/>
                </a:cubicBezTo>
                <a:close/>
                <a:moveTo>
                  <a:pt x="114" y="428"/>
                </a:moveTo>
                <a:cubicBezTo>
                  <a:pt x="114" y="430"/>
                  <a:pt x="112" y="427"/>
                  <a:pt x="112" y="425"/>
                </a:cubicBezTo>
                <a:cubicBezTo>
                  <a:pt x="111" y="421"/>
                  <a:pt x="110" y="416"/>
                  <a:pt x="110" y="413"/>
                </a:cubicBezTo>
                <a:cubicBezTo>
                  <a:pt x="110" y="413"/>
                  <a:pt x="110" y="411"/>
                  <a:pt x="110" y="411"/>
                </a:cubicBezTo>
                <a:cubicBezTo>
                  <a:pt x="111" y="411"/>
                  <a:pt x="114" y="426"/>
                  <a:pt x="114" y="428"/>
                </a:cubicBezTo>
                <a:close/>
                <a:moveTo>
                  <a:pt x="111" y="324"/>
                </a:moveTo>
                <a:cubicBezTo>
                  <a:pt x="110" y="325"/>
                  <a:pt x="111" y="323"/>
                  <a:pt x="111" y="324"/>
                </a:cubicBezTo>
                <a:close/>
                <a:moveTo>
                  <a:pt x="113" y="271"/>
                </a:moveTo>
                <a:cubicBezTo>
                  <a:pt x="115" y="271"/>
                  <a:pt x="117" y="274"/>
                  <a:pt x="115" y="276"/>
                </a:cubicBezTo>
                <a:cubicBezTo>
                  <a:pt x="112" y="280"/>
                  <a:pt x="109" y="271"/>
                  <a:pt x="113" y="271"/>
                </a:cubicBezTo>
                <a:close/>
                <a:moveTo>
                  <a:pt x="114" y="252"/>
                </a:moveTo>
                <a:cubicBezTo>
                  <a:pt x="114" y="252"/>
                  <a:pt x="115" y="253"/>
                  <a:pt x="114" y="254"/>
                </a:cubicBezTo>
                <a:cubicBezTo>
                  <a:pt x="113" y="254"/>
                  <a:pt x="113" y="252"/>
                  <a:pt x="114" y="252"/>
                </a:cubicBezTo>
                <a:close/>
                <a:moveTo>
                  <a:pt x="115" y="374"/>
                </a:moveTo>
                <a:cubicBezTo>
                  <a:pt x="117" y="374"/>
                  <a:pt x="117" y="378"/>
                  <a:pt x="115" y="378"/>
                </a:cubicBezTo>
                <a:cubicBezTo>
                  <a:pt x="115" y="378"/>
                  <a:pt x="113" y="375"/>
                  <a:pt x="115" y="374"/>
                </a:cubicBezTo>
                <a:close/>
                <a:moveTo>
                  <a:pt x="115" y="266"/>
                </a:moveTo>
                <a:cubicBezTo>
                  <a:pt x="118" y="267"/>
                  <a:pt x="116" y="270"/>
                  <a:pt x="115" y="266"/>
                </a:cubicBezTo>
                <a:close/>
                <a:moveTo>
                  <a:pt x="110" y="225"/>
                </a:moveTo>
                <a:cubicBezTo>
                  <a:pt x="112" y="225"/>
                  <a:pt x="110" y="226"/>
                  <a:pt x="110" y="225"/>
                </a:cubicBezTo>
                <a:close/>
                <a:moveTo>
                  <a:pt x="108" y="237"/>
                </a:moveTo>
                <a:cubicBezTo>
                  <a:pt x="106" y="236"/>
                  <a:pt x="109" y="235"/>
                  <a:pt x="108" y="237"/>
                </a:cubicBezTo>
                <a:close/>
                <a:moveTo>
                  <a:pt x="106" y="237"/>
                </a:moveTo>
                <a:cubicBezTo>
                  <a:pt x="107" y="236"/>
                  <a:pt x="108" y="238"/>
                  <a:pt x="107" y="239"/>
                </a:cubicBezTo>
                <a:cubicBezTo>
                  <a:pt x="106" y="239"/>
                  <a:pt x="106" y="237"/>
                  <a:pt x="106" y="237"/>
                </a:cubicBezTo>
                <a:close/>
                <a:moveTo>
                  <a:pt x="97" y="223"/>
                </a:moveTo>
                <a:cubicBezTo>
                  <a:pt x="98" y="223"/>
                  <a:pt x="98" y="225"/>
                  <a:pt x="96" y="225"/>
                </a:cubicBezTo>
                <a:cubicBezTo>
                  <a:pt x="95" y="224"/>
                  <a:pt x="96" y="223"/>
                  <a:pt x="97" y="223"/>
                </a:cubicBezTo>
                <a:close/>
                <a:moveTo>
                  <a:pt x="96" y="249"/>
                </a:moveTo>
                <a:cubicBezTo>
                  <a:pt x="97" y="250"/>
                  <a:pt x="96" y="250"/>
                  <a:pt x="96" y="249"/>
                </a:cubicBezTo>
                <a:close/>
                <a:moveTo>
                  <a:pt x="96" y="195"/>
                </a:moveTo>
                <a:cubicBezTo>
                  <a:pt x="96" y="195"/>
                  <a:pt x="96" y="196"/>
                  <a:pt x="96" y="197"/>
                </a:cubicBezTo>
                <a:cubicBezTo>
                  <a:pt x="96" y="197"/>
                  <a:pt x="95" y="196"/>
                  <a:pt x="96" y="195"/>
                </a:cubicBezTo>
                <a:close/>
                <a:moveTo>
                  <a:pt x="93" y="195"/>
                </a:moveTo>
                <a:cubicBezTo>
                  <a:pt x="94" y="195"/>
                  <a:pt x="93" y="195"/>
                  <a:pt x="93" y="195"/>
                </a:cubicBezTo>
                <a:cubicBezTo>
                  <a:pt x="93" y="195"/>
                  <a:pt x="93" y="195"/>
                  <a:pt x="93" y="195"/>
                </a:cubicBezTo>
                <a:close/>
                <a:moveTo>
                  <a:pt x="93" y="195"/>
                </a:moveTo>
                <a:cubicBezTo>
                  <a:pt x="93" y="196"/>
                  <a:pt x="93" y="196"/>
                  <a:pt x="93" y="195"/>
                </a:cubicBezTo>
                <a:close/>
                <a:moveTo>
                  <a:pt x="92" y="212"/>
                </a:moveTo>
                <a:cubicBezTo>
                  <a:pt x="91" y="213"/>
                  <a:pt x="90" y="211"/>
                  <a:pt x="89" y="211"/>
                </a:cubicBezTo>
                <a:cubicBezTo>
                  <a:pt x="88" y="207"/>
                  <a:pt x="94" y="209"/>
                  <a:pt x="92" y="212"/>
                </a:cubicBezTo>
                <a:close/>
                <a:moveTo>
                  <a:pt x="92" y="259"/>
                </a:moveTo>
                <a:cubicBezTo>
                  <a:pt x="91" y="259"/>
                  <a:pt x="93" y="251"/>
                  <a:pt x="92" y="248"/>
                </a:cubicBezTo>
                <a:cubicBezTo>
                  <a:pt x="94" y="249"/>
                  <a:pt x="93" y="260"/>
                  <a:pt x="92" y="259"/>
                </a:cubicBezTo>
                <a:close/>
                <a:moveTo>
                  <a:pt x="93" y="228"/>
                </a:moveTo>
                <a:cubicBezTo>
                  <a:pt x="91" y="227"/>
                  <a:pt x="93" y="226"/>
                  <a:pt x="93" y="228"/>
                </a:cubicBezTo>
                <a:close/>
                <a:moveTo>
                  <a:pt x="92" y="225"/>
                </a:moveTo>
                <a:cubicBezTo>
                  <a:pt x="92" y="225"/>
                  <a:pt x="92" y="223"/>
                  <a:pt x="92" y="223"/>
                </a:cubicBezTo>
                <a:cubicBezTo>
                  <a:pt x="93" y="223"/>
                  <a:pt x="93" y="226"/>
                  <a:pt x="92" y="225"/>
                </a:cubicBezTo>
                <a:close/>
                <a:moveTo>
                  <a:pt x="94" y="198"/>
                </a:moveTo>
                <a:cubicBezTo>
                  <a:pt x="95" y="198"/>
                  <a:pt x="95" y="199"/>
                  <a:pt x="95" y="199"/>
                </a:cubicBezTo>
                <a:cubicBezTo>
                  <a:pt x="95" y="199"/>
                  <a:pt x="93" y="200"/>
                  <a:pt x="93" y="200"/>
                </a:cubicBezTo>
                <a:cubicBezTo>
                  <a:pt x="92" y="200"/>
                  <a:pt x="92" y="198"/>
                  <a:pt x="94" y="198"/>
                </a:cubicBezTo>
                <a:close/>
                <a:moveTo>
                  <a:pt x="94" y="407"/>
                </a:moveTo>
                <a:cubicBezTo>
                  <a:pt x="95" y="409"/>
                  <a:pt x="93" y="409"/>
                  <a:pt x="94" y="407"/>
                </a:cubicBezTo>
                <a:close/>
                <a:moveTo>
                  <a:pt x="96" y="275"/>
                </a:moveTo>
                <a:cubicBezTo>
                  <a:pt x="95" y="275"/>
                  <a:pt x="95" y="273"/>
                  <a:pt x="95" y="272"/>
                </a:cubicBezTo>
                <a:cubicBezTo>
                  <a:pt x="97" y="271"/>
                  <a:pt x="97" y="275"/>
                  <a:pt x="96" y="275"/>
                </a:cubicBezTo>
                <a:close/>
                <a:moveTo>
                  <a:pt x="95" y="257"/>
                </a:moveTo>
                <a:cubicBezTo>
                  <a:pt x="97" y="257"/>
                  <a:pt x="98" y="260"/>
                  <a:pt x="98" y="262"/>
                </a:cubicBezTo>
                <a:cubicBezTo>
                  <a:pt x="97" y="260"/>
                  <a:pt x="96" y="259"/>
                  <a:pt x="95" y="257"/>
                </a:cubicBezTo>
                <a:close/>
                <a:moveTo>
                  <a:pt x="99" y="345"/>
                </a:moveTo>
                <a:cubicBezTo>
                  <a:pt x="98" y="346"/>
                  <a:pt x="98" y="344"/>
                  <a:pt x="98" y="344"/>
                </a:cubicBezTo>
                <a:cubicBezTo>
                  <a:pt x="99" y="344"/>
                  <a:pt x="99" y="345"/>
                  <a:pt x="99" y="345"/>
                </a:cubicBezTo>
                <a:close/>
                <a:moveTo>
                  <a:pt x="99" y="391"/>
                </a:moveTo>
                <a:cubicBezTo>
                  <a:pt x="100" y="393"/>
                  <a:pt x="99" y="393"/>
                  <a:pt x="99" y="391"/>
                </a:cubicBezTo>
                <a:close/>
                <a:moveTo>
                  <a:pt x="98" y="263"/>
                </a:moveTo>
                <a:cubicBezTo>
                  <a:pt x="99" y="265"/>
                  <a:pt x="100" y="266"/>
                  <a:pt x="100" y="268"/>
                </a:cubicBezTo>
                <a:cubicBezTo>
                  <a:pt x="100" y="267"/>
                  <a:pt x="99" y="265"/>
                  <a:pt x="98" y="263"/>
                </a:cubicBezTo>
                <a:close/>
                <a:moveTo>
                  <a:pt x="100" y="245"/>
                </a:moveTo>
                <a:cubicBezTo>
                  <a:pt x="98" y="243"/>
                  <a:pt x="100" y="243"/>
                  <a:pt x="100" y="245"/>
                </a:cubicBezTo>
                <a:close/>
                <a:moveTo>
                  <a:pt x="98" y="231"/>
                </a:moveTo>
                <a:cubicBezTo>
                  <a:pt x="97" y="231"/>
                  <a:pt x="98" y="227"/>
                  <a:pt x="99" y="227"/>
                </a:cubicBezTo>
                <a:cubicBezTo>
                  <a:pt x="101" y="227"/>
                  <a:pt x="101" y="232"/>
                  <a:pt x="98" y="231"/>
                </a:cubicBezTo>
                <a:close/>
                <a:moveTo>
                  <a:pt x="99" y="205"/>
                </a:moveTo>
                <a:cubicBezTo>
                  <a:pt x="99" y="204"/>
                  <a:pt x="100" y="206"/>
                  <a:pt x="99" y="206"/>
                </a:cubicBezTo>
                <a:cubicBezTo>
                  <a:pt x="99" y="206"/>
                  <a:pt x="99" y="205"/>
                  <a:pt x="99" y="205"/>
                </a:cubicBezTo>
                <a:close/>
                <a:moveTo>
                  <a:pt x="102" y="420"/>
                </a:moveTo>
                <a:cubicBezTo>
                  <a:pt x="102" y="420"/>
                  <a:pt x="102" y="420"/>
                  <a:pt x="102" y="420"/>
                </a:cubicBezTo>
                <a:cubicBezTo>
                  <a:pt x="102" y="420"/>
                  <a:pt x="102" y="420"/>
                  <a:pt x="102" y="420"/>
                </a:cubicBezTo>
                <a:cubicBezTo>
                  <a:pt x="102" y="420"/>
                  <a:pt x="102" y="420"/>
                  <a:pt x="102" y="420"/>
                </a:cubicBezTo>
                <a:close/>
                <a:moveTo>
                  <a:pt x="101" y="348"/>
                </a:moveTo>
                <a:cubicBezTo>
                  <a:pt x="99" y="349"/>
                  <a:pt x="102" y="346"/>
                  <a:pt x="102" y="347"/>
                </a:cubicBezTo>
                <a:cubicBezTo>
                  <a:pt x="102" y="348"/>
                  <a:pt x="102" y="348"/>
                  <a:pt x="101" y="348"/>
                </a:cubicBezTo>
                <a:close/>
                <a:moveTo>
                  <a:pt x="102" y="273"/>
                </a:moveTo>
                <a:cubicBezTo>
                  <a:pt x="101" y="273"/>
                  <a:pt x="101" y="271"/>
                  <a:pt x="101" y="270"/>
                </a:cubicBezTo>
                <a:cubicBezTo>
                  <a:pt x="102" y="270"/>
                  <a:pt x="103" y="273"/>
                  <a:pt x="102" y="273"/>
                </a:cubicBezTo>
                <a:close/>
                <a:moveTo>
                  <a:pt x="102" y="211"/>
                </a:moveTo>
                <a:cubicBezTo>
                  <a:pt x="102" y="210"/>
                  <a:pt x="103" y="210"/>
                  <a:pt x="102" y="210"/>
                </a:cubicBezTo>
                <a:cubicBezTo>
                  <a:pt x="102" y="210"/>
                  <a:pt x="102" y="211"/>
                  <a:pt x="102" y="211"/>
                </a:cubicBezTo>
                <a:close/>
                <a:moveTo>
                  <a:pt x="101" y="211"/>
                </a:moveTo>
                <a:cubicBezTo>
                  <a:pt x="101" y="211"/>
                  <a:pt x="101" y="210"/>
                  <a:pt x="101" y="210"/>
                </a:cubicBezTo>
                <a:cubicBezTo>
                  <a:pt x="101" y="211"/>
                  <a:pt x="100" y="212"/>
                  <a:pt x="101" y="211"/>
                </a:cubicBezTo>
                <a:close/>
                <a:moveTo>
                  <a:pt x="103" y="355"/>
                </a:moveTo>
                <a:cubicBezTo>
                  <a:pt x="102" y="355"/>
                  <a:pt x="102" y="354"/>
                  <a:pt x="102" y="353"/>
                </a:cubicBezTo>
                <a:cubicBezTo>
                  <a:pt x="103" y="354"/>
                  <a:pt x="103" y="354"/>
                  <a:pt x="103" y="355"/>
                </a:cubicBezTo>
                <a:close/>
                <a:moveTo>
                  <a:pt x="105" y="290"/>
                </a:moveTo>
                <a:cubicBezTo>
                  <a:pt x="105" y="291"/>
                  <a:pt x="104" y="291"/>
                  <a:pt x="103" y="290"/>
                </a:cubicBezTo>
                <a:cubicBezTo>
                  <a:pt x="101" y="289"/>
                  <a:pt x="106" y="287"/>
                  <a:pt x="105" y="290"/>
                </a:cubicBezTo>
                <a:close/>
                <a:moveTo>
                  <a:pt x="103" y="252"/>
                </a:moveTo>
                <a:cubicBezTo>
                  <a:pt x="104" y="252"/>
                  <a:pt x="103" y="253"/>
                  <a:pt x="103" y="252"/>
                </a:cubicBezTo>
                <a:close/>
                <a:moveTo>
                  <a:pt x="105" y="207"/>
                </a:moveTo>
                <a:cubicBezTo>
                  <a:pt x="104" y="207"/>
                  <a:pt x="103" y="205"/>
                  <a:pt x="102" y="205"/>
                </a:cubicBezTo>
                <a:cubicBezTo>
                  <a:pt x="102" y="206"/>
                  <a:pt x="103" y="207"/>
                  <a:pt x="102" y="207"/>
                </a:cubicBezTo>
                <a:cubicBezTo>
                  <a:pt x="102" y="206"/>
                  <a:pt x="98" y="203"/>
                  <a:pt x="98" y="200"/>
                </a:cubicBezTo>
                <a:cubicBezTo>
                  <a:pt x="98" y="199"/>
                  <a:pt x="99" y="196"/>
                  <a:pt x="102" y="196"/>
                </a:cubicBezTo>
                <a:cubicBezTo>
                  <a:pt x="103" y="197"/>
                  <a:pt x="106" y="201"/>
                  <a:pt x="106" y="203"/>
                </a:cubicBezTo>
                <a:cubicBezTo>
                  <a:pt x="105" y="204"/>
                  <a:pt x="105" y="205"/>
                  <a:pt x="105" y="206"/>
                </a:cubicBezTo>
                <a:cubicBezTo>
                  <a:pt x="105" y="206"/>
                  <a:pt x="106" y="207"/>
                  <a:pt x="105" y="207"/>
                </a:cubicBezTo>
                <a:close/>
                <a:moveTo>
                  <a:pt x="106" y="270"/>
                </a:moveTo>
                <a:cubicBezTo>
                  <a:pt x="105" y="270"/>
                  <a:pt x="106" y="270"/>
                  <a:pt x="106" y="270"/>
                </a:cubicBezTo>
                <a:close/>
                <a:moveTo>
                  <a:pt x="106" y="271"/>
                </a:moveTo>
                <a:cubicBezTo>
                  <a:pt x="106" y="271"/>
                  <a:pt x="106" y="271"/>
                  <a:pt x="106" y="271"/>
                </a:cubicBezTo>
                <a:cubicBezTo>
                  <a:pt x="106" y="271"/>
                  <a:pt x="106" y="271"/>
                  <a:pt x="106" y="271"/>
                </a:cubicBezTo>
                <a:cubicBezTo>
                  <a:pt x="106" y="271"/>
                  <a:pt x="106" y="271"/>
                  <a:pt x="106" y="271"/>
                </a:cubicBezTo>
                <a:close/>
                <a:moveTo>
                  <a:pt x="107" y="250"/>
                </a:moveTo>
                <a:cubicBezTo>
                  <a:pt x="107" y="249"/>
                  <a:pt x="108" y="250"/>
                  <a:pt x="109" y="250"/>
                </a:cubicBezTo>
                <a:cubicBezTo>
                  <a:pt x="112" y="250"/>
                  <a:pt x="112" y="254"/>
                  <a:pt x="111" y="255"/>
                </a:cubicBezTo>
                <a:cubicBezTo>
                  <a:pt x="111" y="255"/>
                  <a:pt x="111" y="255"/>
                  <a:pt x="111" y="255"/>
                </a:cubicBezTo>
                <a:cubicBezTo>
                  <a:pt x="111" y="255"/>
                  <a:pt x="111" y="255"/>
                  <a:pt x="111" y="255"/>
                </a:cubicBezTo>
                <a:cubicBezTo>
                  <a:pt x="111" y="259"/>
                  <a:pt x="102" y="254"/>
                  <a:pt x="107" y="250"/>
                </a:cubicBezTo>
                <a:close/>
                <a:moveTo>
                  <a:pt x="107" y="458"/>
                </a:moveTo>
                <a:cubicBezTo>
                  <a:pt x="108" y="460"/>
                  <a:pt x="106" y="460"/>
                  <a:pt x="107" y="458"/>
                </a:cubicBezTo>
                <a:close/>
                <a:moveTo>
                  <a:pt x="109" y="360"/>
                </a:moveTo>
                <a:cubicBezTo>
                  <a:pt x="111" y="360"/>
                  <a:pt x="110" y="363"/>
                  <a:pt x="109" y="363"/>
                </a:cubicBezTo>
                <a:cubicBezTo>
                  <a:pt x="108" y="362"/>
                  <a:pt x="108" y="361"/>
                  <a:pt x="109" y="360"/>
                </a:cubicBezTo>
                <a:close/>
                <a:moveTo>
                  <a:pt x="109" y="423"/>
                </a:moveTo>
                <a:cubicBezTo>
                  <a:pt x="109" y="423"/>
                  <a:pt x="108" y="420"/>
                  <a:pt x="110" y="422"/>
                </a:cubicBezTo>
                <a:cubicBezTo>
                  <a:pt x="112" y="425"/>
                  <a:pt x="112" y="431"/>
                  <a:pt x="113" y="435"/>
                </a:cubicBezTo>
                <a:cubicBezTo>
                  <a:pt x="111" y="432"/>
                  <a:pt x="109" y="427"/>
                  <a:pt x="109" y="423"/>
                </a:cubicBezTo>
                <a:close/>
                <a:moveTo>
                  <a:pt x="113" y="436"/>
                </a:moveTo>
                <a:cubicBezTo>
                  <a:pt x="115" y="437"/>
                  <a:pt x="117" y="442"/>
                  <a:pt x="117" y="446"/>
                </a:cubicBezTo>
                <a:cubicBezTo>
                  <a:pt x="115" y="443"/>
                  <a:pt x="114" y="439"/>
                  <a:pt x="113" y="436"/>
                </a:cubicBezTo>
                <a:close/>
                <a:moveTo>
                  <a:pt x="116" y="414"/>
                </a:moveTo>
                <a:cubicBezTo>
                  <a:pt x="116" y="415"/>
                  <a:pt x="114" y="414"/>
                  <a:pt x="116" y="414"/>
                </a:cubicBezTo>
                <a:close/>
                <a:moveTo>
                  <a:pt x="117" y="400"/>
                </a:moveTo>
                <a:cubicBezTo>
                  <a:pt x="115" y="401"/>
                  <a:pt x="112" y="391"/>
                  <a:pt x="116" y="392"/>
                </a:cubicBezTo>
                <a:cubicBezTo>
                  <a:pt x="118" y="393"/>
                  <a:pt x="117" y="396"/>
                  <a:pt x="117" y="397"/>
                </a:cubicBezTo>
                <a:cubicBezTo>
                  <a:pt x="117" y="398"/>
                  <a:pt x="116" y="398"/>
                  <a:pt x="116" y="398"/>
                </a:cubicBezTo>
                <a:cubicBezTo>
                  <a:pt x="116" y="398"/>
                  <a:pt x="118" y="400"/>
                  <a:pt x="117" y="400"/>
                </a:cubicBezTo>
                <a:close/>
                <a:moveTo>
                  <a:pt x="119" y="371"/>
                </a:moveTo>
                <a:cubicBezTo>
                  <a:pt x="117" y="370"/>
                  <a:pt x="120" y="368"/>
                  <a:pt x="119" y="371"/>
                </a:cubicBezTo>
                <a:close/>
                <a:moveTo>
                  <a:pt x="118" y="368"/>
                </a:moveTo>
                <a:cubicBezTo>
                  <a:pt x="118" y="368"/>
                  <a:pt x="117" y="366"/>
                  <a:pt x="118" y="366"/>
                </a:cubicBezTo>
                <a:cubicBezTo>
                  <a:pt x="119" y="365"/>
                  <a:pt x="120" y="369"/>
                  <a:pt x="118" y="368"/>
                </a:cubicBezTo>
                <a:close/>
                <a:moveTo>
                  <a:pt x="119" y="278"/>
                </a:moveTo>
                <a:cubicBezTo>
                  <a:pt x="118" y="278"/>
                  <a:pt x="118" y="277"/>
                  <a:pt x="118" y="276"/>
                </a:cubicBezTo>
                <a:cubicBezTo>
                  <a:pt x="121" y="274"/>
                  <a:pt x="122" y="280"/>
                  <a:pt x="119" y="278"/>
                </a:cubicBezTo>
                <a:close/>
                <a:moveTo>
                  <a:pt x="120" y="239"/>
                </a:moveTo>
                <a:cubicBezTo>
                  <a:pt x="119" y="241"/>
                  <a:pt x="117" y="235"/>
                  <a:pt x="119" y="235"/>
                </a:cubicBezTo>
                <a:cubicBezTo>
                  <a:pt x="121" y="234"/>
                  <a:pt x="122" y="238"/>
                  <a:pt x="120" y="239"/>
                </a:cubicBezTo>
                <a:close/>
                <a:moveTo>
                  <a:pt x="133" y="398"/>
                </a:moveTo>
                <a:cubicBezTo>
                  <a:pt x="131" y="392"/>
                  <a:pt x="130" y="386"/>
                  <a:pt x="128" y="380"/>
                </a:cubicBezTo>
                <a:cubicBezTo>
                  <a:pt x="125" y="375"/>
                  <a:pt x="122" y="370"/>
                  <a:pt x="122" y="364"/>
                </a:cubicBezTo>
                <a:cubicBezTo>
                  <a:pt x="122" y="364"/>
                  <a:pt x="123" y="363"/>
                  <a:pt x="123" y="363"/>
                </a:cubicBezTo>
                <a:cubicBezTo>
                  <a:pt x="124" y="363"/>
                  <a:pt x="128" y="373"/>
                  <a:pt x="128" y="376"/>
                </a:cubicBezTo>
                <a:cubicBezTo>
                  <a:pt x="129" y="381"/>
                  <a:pt x="131" y="385"/>
                  <a:pt x="132" y="390"/>
                </a:cubicBezTo>
                <a:cubicBezTo>
                  <a:pt x="132" y="392"/>
                  <a:pt x="136" y="397"/>
                  <a:pt x="135" y="399"/>
                </a:cubicBezTo>
                <a:cubicBezTo>
                  <a:pt x="135" y="403"/>
                  <a:pt x="133" y="398"/>
                  <a:pt x="133" y="398"/>
                </a:cubicBezTo>
                <a:close/>
                <a:moveTo>
                  <a:pt x="134" y="304"/>
                </a:moveTo>
                <a:cubicBezTo>
                  <a:pt x="134" y="304"/>
                  <a:pt x="133" y="304"/>
                  <a:pt x="133" y="303"/>
                </a:cubicBezTo>
                <a:cubicBezTo>
                  <a:pt x="133" y="303"/>
                  <a:pt x="134" y="304"/>
                  <a:pt x="134" y="304"/>
                </a:cubicBezTo>
                <a:close/>
                <a:moveTo>
                  <a:pt x="134" y="250"/>
                </a:moveTo>
                <a:cubicBezTo>
                  <a:pt x="135" y="250"/>
                  <a:pt x="136" y="254"/>
                  <a:pt x="134" y="254"/>
                </a:cubicBezTo>
                <a:cubicBezTo>
                  <a:pt x="134" y="254"/>
                  <a:pt x="132" y="250"/>
                  <a:pt x="134" y="250"/>
                </a:cubicBezTo>
                <a:close/>
                <a:moveTo>
                  <a:pt x="136" y="417"/>
                </a:moveTo>
                <a:cubicBezTo>
                  <a:pt x="137" y="418"/>
                  <a:pt x="137" y="419"/>
                  <a:pt x="138" y="420"/>
                </a:cubicBezTo>
                <a:cubicBezTo>
                  <a:pt x="137" y="420"/>
                  <a:pt x="136" y="418"/>
                  <a:pt x="136" y="417"/>
                </a:cubicBezTo>
                <a:close/>
                <a:moveTo>
                  <a:pt x="137" y="421"/>
                </a:moveTo>
                <a:cubicBezTo>
                  <a:pt x="137" y="422"/>
                  <a:pt x="138" y="420"/>
                  <a:pt x="137" y="421"/>
                </a:cubicBezTo>
                <a:close/>
                <a:moveTo>
                  <a:pt x="135" y="249"/>
                </a:moveTo>
                <a:cubicBezTo>
                  <a:pt x="136" y="248"/>
                  <a:pt x="133" y="247"/>
                  <a:pt x="132" y="246"/>
                </a:cubicBezTo>
                <a:cubicBezTo>
                  <a:pt x="129" y="238"/>
                  <a:pt x="140" y="237"/>
                  <a:pt x="139" y="245"/>
                </a:cubicBezTo>
                <a:cubicBezTo>
                  <a:pt x="139" y="246"/>
                  <a:pt x="138" y="249"/>
                  <a:pt x="135" y="249"/>
                </a:cubicBezTo>
                <a:close/>
                <a:moveTo>
                  <a:pt x="138" y="250"/>
                </a:moveTo>
                <a:cubicBezTo>
                  <a:pt x="138" y="250"/>
                  <a:pt x="138" y="249"/>
                  <a:pt x="138" y="249"/>
                </a:cubicBezTo>
                <a:cubicBezTo>
                  <a:pt x="139" y="248"/>
                  <a:pt x="139" y="250"/>
                  <a:pt x="138" y="250"/>
                </a:cubicBezTo>
                <a:close/>
                <a:moveTo>
                  <a:pt x="140" y="271"/>
                </a:moveTo>
                <a:cubicBezTo>
                  <a:pt x="140" y="271"/>
                  <a:pt x="140" y="270"/>
                  <a:pt x="140" y="271"/>
                </a:cubicBezTo>
                <a:close/>
                <a:moveTo>
                  <a:pt x="139" y="232"/>
                </a:moveTo>
                <a:cubicBezTo>
                  <a:pt x="140" y="232"/>
                  <a:pt x="141" y="232"/>
                  <a:pt x="141" y="232"/>
                </a:cubicBezTo>
                <a:cubicBezTo>
                  <a:pt x="145" y="235"/>
                  <a:pt x="139" y="234"/>
                  <a:pt x="139" y="232"/>
                </a:cubicBezTo>
                <a:close/>
                <a:moveTo>
                  <a:pt x="142" y="304"/>
                </a:moveTo>
                <a:cubicBezTo>
                  <a:pt x="143" y="306"/>
                  <a:pt x="145" y="309"/>
                  <a:pt x="143" y="310"/>
                </a:cubicBezTo>
                <a:cubicBezTo>
                  <a:pt x="144" y="308"/>
                  <a:pt x="142" y="307"/>
                  <a:pt x="142" y="304"/>
                </a:cubicBezTo>
                <a:close/>
                <a:moveTo>
                  <a:pt x="144" y="445"/>
                </a:moveTo>
                <a:cubicBezTo>
                  <a:pt x="144" y="445"/>
                  <a:pt x="144" y="444"/>
                  <a:pt x="144" y="444"/>
                </a:cubicBezTo>
                <a:cubicBezTo>
                  <a:pt x="147" y="445"/>
                  <a:pt x="141" y="446"/>
                  <a:pt x="144" y="445"/>
                </a:cubicBezTo>
                <a:close/>
                <a:moveTo>
                  <a:pt x="144" y="390"/>
                </a:moveTo>
                <a:cubicBezTo>
                  <a:pt x="145" y="390"/>
                  <a:pt x="144" y="391"/>
                  <a:pt x="145" y="391"/>
                </a:cubicBezTo>
                <a:cubicBezTo>
                  <a:pt x="144" y="392"/>
                  <a:pt x="144" y="390"/>
                  <a:pt x="144" y="390"/>
                </a:cubicBezTo>
                <a:close/>
                <a:moveTo>
                  <a:pt x="145" y="345"/>
                </a:moveTo>
                <a:cubicBezTo>
                  <a:pt x="141" y="343"/>
                  <a:pt x="142" y="334"/>
                  <a:pt x="147" y="334"/>
                </a:cubicBezTo>
                <a:cubicBezTo>
                  <a:pt x="153" y="335"/>
                  <a:pt x="151" y="349"/>
                  <a:pt x="145" y="345"/>
                </a:cubicBezTo>
                <a:close/>
                <a:moveTo>
                  <a:pt x="150" y="229"/>
                </a:moveTo>
                <a:cubicBezTo>
                  <a:pt x="151" y="228"/>
                  <a:pt x="152" y="230"/>
                  <a:pt x="151" y="230"/>
                </a:cubicBezTo>
                <a:cubicBezTo>
                  <a:pt x="151" y="231"/>
                  <a:pt x="150" y="229"/>
                  <a:pt x="150" y="229"/>
                </a:cubicBezTo>
                <a:close/>
                <a:moveTo>
                  <a:pt x="152" y="263"/>
                </a:moveTo>
                <a:cubicBezTo>
                  <a:pt x="150" y="260"/>
                  <a:pt x="152" y="259"/>
                  <a:pt x="152" y="263"/>
                </a:cubicBezTo>
                <a:close/>
                <a:moveTo>
                  <a:pt x="156" y="234"/>
                </a:moveTo>
                <a:cubicBezTo>
                  <a:pt x="155" y="233"/>
                  <a:pt x="153" y="230"/>
                  <a:pt x="152" y="229"/>
                </a:cubicBezTo>
                <a:cubicBezTo>
                  <a:pt x="151" y="226"/>
                  <a:pt x="157" y="231"/>
                  <a:pt x="156" y="234"/>
                </a:cubicBezTo>
                <a:close/>
                <a:moveTo>
                  <a:pt x="153" y="303"/>
                </a:moveTo>
                <a:cubicBezTo>
                  <a:pt x="154" y="304"/>
                  <a:pt x="152" y="305"/>
                  <a:pt x="153" y="303"/>
                </a:cubicBezTo>
                <a:close/>
                <a:moveTo>
                  <a:pt x="156" y="299"/>
                </a:moveTo>
                <a:cubicBezTo>
                  <a:pt x="155" y="299"/>
                  <a:pt x="155" y="299"/>
                  <a:pt x="155" y="299"/>
                </a:cubicBezTo>
                <a:cubicBezTo>
                  <a:pt x="155" y="299"/>
                  <a:pt x="156" y="298"/>
                  <a:pt x="156" y="298"/>
                </a:cubicBezTo>
                <a:cubicBezTo>
                  <a:pt x="156" y="298"/>
                  <a:pt x="156" y="298"/>
                  <a:pt x="156" y="299"/>
                </a:cubicBezTo>
                <a:close/>
                <a:moveTo>
                  <a:pt x="157" y="293"/>
                </a:moveTo>
                <a:cubicBezTo>
                  <a:pt x="157" y="293"/>
                  <a:pt x="152" y="289"/>
                  <a:pt x="154" y="288"/>
                </a:cubicBezTo>
                <a:cubicBezTo>
                  <a:pt x="156" y="286"/>
                  <a:pt x="158" y="293"/>
                  <a:pt x="157" y="293"/>
                </a:cubicBezTo>
                <a:close/>
                <a:moveTo>
                  <a:pt x="158" y="227"/>
                </a:moveTo>
                <a:cubicBezTo>
                  <a:pt x="158" y="227"/>
                  <a:pt x="159" y="228"/>
                  <a:pt x="159" y="228"/>
                </a:cubicBezTo>
                <a:cubicBezTo>
                  <a:pt x="158" y="229"/>
                  <a:pt x="158" y="227"/>
                  <a:pt x="158" y="227"/>
                </a:cubicBezTo>
                <a:close/>
                <a:moveTo>
                  <a:pt x="180" y="198"/>
                </a:moveTo>
                <a:cubicBezTo>
                  <a:pt x="180" y="198"/>
                  <a:pt x="179" y="198"/>
                  <a:pt x="179" y="197"/>
                </a:cubicBezTo>
                <a:cubicBezTo>
                  <a:pt x="180" y="197"/>
                  <a:pt x="181" y="198"/>
                  <a:pt x="180" y="198"/>
                </a:cubicBezTo>
                <a:close/>
                <a:moveTo>
                  <a:pt x="177" y="199"/>
                </a:moveTo>
                <a:cubicBezTo>
                  <a:pt x="178" y="199"/>
                  <a:pt x="179" y="201"/>
                  <a:pt x="177" y="200"/>
                </a:cubicBezTo>
                <a:cubicBezTo>
                  <a:pt x="177" y="200"/>
                  <a:pt x="177" y="200"/>
                  <a:pt x="177" y="199"/>
                </a:cubicBezTo>
                <a:close/>
                <a:moveTo>
                  <a:pt x="175" y="198"/>
                </a:moveTo>
                <a:cubicBezTo>
                  <a:pt x="177" y="197"/>
                  <a:pt x="174" y="198"/>
                  <a:pt x="175" y="198"/>
                </a:cubicBezTo>
                <a:close/>
                <a:moveTo>
                  <a:pt x="178" y="260"/>
                </a:moveTo>
                <a:cubicBezTo>
                  <a:pt x="176" y="259"/>
                  <a:pt x="176" y="258"/>
                  <a:pt x="175" y="257"/>
                </a:cubicBezTo>
                <a:cubicBezTo>
                  <a:pt x="176" y="257"/>
                  <a:pt x="178" y="259"/>
                  <a:pt x="178" y="260"/>
                </a:cubicBezTo>
                <a:close/>
                <a:moveTo>
                  <a:pt x="174" y="205"/>
                </a:moveTo>
                <a:cubicBezTo>
                  <a:pt x="173" y="205"/>
                  <a:pt x="175" y="206"/>
                  <a:pt x="174" y="207"/>
                </a:cubicBezTo>
                <a:cubicBezTo>
                  <a:pt x="174" y="207"/>
                  <a:pt x="172" y="205"/>
                  <a:pt x="174" y="205"/>
                </a:cubicBezTo>
                <a:close/>
                <a:moveTo>
                  <a:pt x="173" y="231"/>
                </a:moveTo>
                <a:cubicBezTo>
                  <a:pt x="171" y="230"/>
                  <a:pt x="174" y="232"/>
                  <a:pt x="173" y="231"/>
                </a:cubicBezTo>
                <a:close/>
                <a:moveTo>
                  <a:pt x="170" y="230"/>
                </a:moveTo>
                <a:cubicBezTo>
                  <a:pt x="171" y="230"/>
                  <a:pt x="172" y="233"/>
                  <a:pt x="171" y="234"/>
                </a:cubicBezTo>
                <a:cubicBezTo>
                  <a:pt x="170" y="235"/>
                  <a:pt x="168" y="231"/>
                  <a:pt x="170" y="230"/>
                </a:cubicBezTo>
                <a:close/>
                <a:moveTo>
                  <a:pt x="167" y="193"/>
                </a:moveTo>
                <a:cubicBezTo>
                  <a:pt x="168" y="192"/>
                  <a:pt x="169" y="194"/>
                  <a:pt x="168" y="195"/>
                </a:cubicBezTo>
                <a:cubicBezTo>
                  <a:pt x="167" y="195"/>
                  <a:pt x="167" y="193"/>
                  <a:pt x="167" y="193"/>
                </a:cubicBezTo>
                <a:close/>
                <a:moveTo>
                  <a:pt x="168" y="274"/>
                </a:moveTo>
                <a:cubicBezTo>
                  <a:pt x="167" y="273"/>
                  <a:pt x="167" y="272"/>
                  <a:pt x="166" y="272"/>
                </a:cubicBezTo>
                <a:cubicBezTo>
                  <a:pt x="167" y="272"/>
                  <a:pt x="168" y="273"/>
                  <a:pt x="168" y="274"/>
                </a:cubicBezTo>
                <a:close/>
                <a:moveTo>
                  <a:pt x="166" y="208"/>
                </a:moveTo>
                <a:cubicBezTo>
                  <a:pt x="166" y="208"/>
                  <a:pt x="166" y="208"/>
                  <a:pt x="166" y="207"/>
                </a:cubicBezTo>
                <a:cubicBezTo>
                  <a:pt x="166" y="206"/>
                  <a:pt x="168" y="208"/>
                  <a:pt x="166" y="208"/>
                </a:cubicBezTo>
                <a:close/>
                <a:moveTo>
                  <a:pt x="167" y="224"/>
                </a:moveTo>
                <a:cubicBezTo>
                  <a:pt x="165" y="222"/>
                  <a:pt x="165" y="218"/>
                  <a:pt x="163" y="214"/>
                </a:cubicBezTo>
                <a:cubicBezTo>
                  <a:pt x="166" y="217"/>
                  <a:pt x="166" y="221"/>
                  <a:pt x="167" y="224"/>
                </a:cubicBezTo>
                <a:close/>
                <a:moveTo>
                  <a:pt x="166" y="338"/>
                </a:moveTo>
                <a:cubicBezTo>
                  <a:pt x="164" y="337"/>
                  <a:pt x="166" y="334"/>
                  <a:pt x="166" y="338"/>
                </a:cubicBezTo>
                <a:close/>
                <a:moveTo>
                  <a:pt x="163" y="266"/>
                </a:moveTo>
                <a:cubicBezTo>
                  <a:pt x="165" y="266"/>
                  <a:pt x="165" y="269"/>
                  <a:pt x="166" y="270"/>
                </a:cubicBezTo>
                <a:cubicBezTo>
                  <a:pt x="164" y="270"/>
                  <a:pt x="164" y="267"/>
                  <a:pt x="163" y="266"/>
                </a:cubicBezTo>
                <a:close/>
                <a:moveTo>
                  <a:pt x="161" y="230"/>
                </a:moveTo>
                <a:cubicBezTo>
                  <a:pt x="159" y="230"/>
                  <a:pt x="160" y="228"/>
                  <a:pt x="161" y="230"/>
                </a:cubicBezTo>
                <a:close/>
                <a:moveTo>
                  <a:pt x="162" y="222"/>
                </a:moveTo>
                <a:cubicBezTo>
                  <a:pt x="162" y="222"/>
                  <a:pt x="164" y="223"/>
                  <a:pt x="164" y="223"/>
                </a:cubicBezTo>
                <a:cubicBezTo>
                  <a:pt x="165" y="223"/>
                  <a:pt x="166" y="224"/>
                  <a:pt x="165" y="226"/>
                </a:cubicBezTo>
                <a:cubicBezTo>
                  <a:pt x="165" y="226"/>
                  <a:pt x="164" y="226"/>
                  <a:pt x="164" y="225"/>
                </a:cubicBezTo>
                <a:cubicBezTo>
                  <a:pt x="164" y="226"/>
                  <a:pt x="163" y="229"/>
                  <a:pt x="162" y="229"/>
                </a:cubicBezTo>
                <a:cubicBezTo>
                  <a:pt x="159" y="229"/>
                  <a:pt x="161" y="222"/>
                  <a:pt x="162" y="222"/>
                </a:cubicBezTo>
                <a:close/>
                <a:moveTo>
                  <a:pt x="162" y="231"/>
                </a:moveTo>
                <a:cubicBezTo>
                  <a:pt x="162" y="231"/>
                  <a:pt x="163" y="232"/>
                  <a:pt x="162" y="232"/>
                </a:cubicBezTo>
                <a:cubicBezTo>
                  <a:pt x="162" y="232"/>
                  <a:pt x="162" y="231"/>
                  <a:pt x="162" y="231"/>
                </a:cubicBezTo>
                <a:close/>
                <a:moveTo>
                  <a:pt x="163" y="344"/>
                </a:moveTo>
                <a:cubicBezTo>
                  <a:pt x="164" y="346"/>
                  <a:pt x="166" y="350"/>
                  <a:pt x="167" y="353"/>
                </a:cubicBezTo>
                <a:cubicBezTo>
                  <a:pt x="165" y="351"/>
                  <a:pt x="164" y="347"/>
                  <a:pt x="163" y="344"/>
                </a:cubicBezTo>
                <a:close/>
                <a:moveTo>
                  <a:pt x="167" y="354"/>
                </a:moveTo>
                <a:cubicBezTo>
                  <a:pt x="167" y="353"/>
                  <a:pt x="168" y="355"/>
                  <a:pt x="168" y="355"/>
                </a:cubicBezTo>
                <a:cubicBezTo>
                  <a:pt x="168" y="355"/>
                  <a:pt x="167" y="355"/>
                  <a:pt x="167" y="354"/>
                </a:cubicBezTo>
                <a:close/>
                <a:moveTo>
                  <a:pt x="170" y="358"/>
                </a:moveTo>
                <a:cubicBezTo>
                  <a:pt x="169" y="358"/>
                  <a:pt x="168" y="356"/>
                  <a:pt x="168" y="356"/>
                </a:cubicBezTo>
                <a:cubicBezTo>
                  <a:pt x="168" y="355"/>
                  <a:pt x="171" y="358"/>
                  <a:pt x="170" y="358"/>
                </a:cubicBezTo>
                <a:close/>
                <a:moveTo>
                  <a:pt x="171" y="267"/>
                </a:moveTo>
                <a:cubicBezTo>
                  <a:pt x="169" y="267"/>
                  <a:pt x="170" y="265"/>
                  <a:pt x="171" y="267"/>
                </a:cubicBezTo>
                <a:close/>
                <a:moveTo>
                  <a:pt x="173" y="269"/>
                </a:moveTo>
                <a:cubicBezTo>
                  <a:pt x="171" y="269"/>
                  <a:pt x="172" y="267"/>
                  <a:pt x="173" y="269"/>
                </a:cubicBezTo>
                <a:close/>
                <a:moveTo>
                  <a:pt x="173" y="268"/>
                </a:moveTo>
                <a:cubicBezTo>
                  <a:pt x="172" y="269"/>
                  <a:pt x="170" y="264"/>
                  <a:pt x="173" y="264"/>
                </a:cubicBezTo>
                <a:cubicBezTo>
                  <a:pt x="175" y="264"/>
                  <a:pt x="175" y="268"/>
                  <a:pt x="173" y="268"/>
                </a:cubicBezTo>
                <a:close/>
                <a:moveTo>
                  <a:pt x="177" y="280"/>
                </a:moveTo>
                <a:cubicBezTo>
                  <a:pt x="175" y="280"/>
                  <a:pt x="175" y="278"/>
                  <a:pt x="174" y="277"/>
                </a:cubicBezTo>
                <a:cubicBezTo>
                  <a:pt x="175" y="277"/>
                  <a:pt x="176" y="279"/>
                  <a:pt x="177" y="280"/>
                </a:cubicBezTo>
                <a:close/>
                <a:moveTo>
                  <a:pt x="179" y="434"/>
                </a:moveTo>
                <a:cubicBezTo>
                  <a:pt x="179" y="433"/>
                  <a:pt x="178" y="432"/>
                  <a:pt x="179" y="431"/>
                </a:cubicBezTo>
                <a:cubicBezTo>
                  <a:pt x="179" y="432"/>
                  <a:pt x="179" y="433"/>
                  <a:pt x="179" y="434"/>
                </a:cubicBezTo>
                <a:close/>
                <a:moveTo>
                  <a:pt x="178" y="387"/>
                </a:moveTo>
                <a:cubicBezTo>
                  <a:pt x="177" y="387"/>
                  <a:pt x="174" y="383"/>
                  <a:pt x="176" y="381"/>
                </a:cubicBezTo>
                <a:cubicBezTo>
                  <a:pt x="176" y="381"/>
                  <a:pt x="178" y="381"/>
                  <a:pt x="178" y="381"/>
                </a:cubicBezTo>
                <a:cubicBezTo>
                  <a:pt x="178" y="380"/>
                  <a:pt x="176" y="378"/>
                  <a:pt x="176" y="377"/>
                </a:cubicBezTo>
                <a:cubicBezTo>
                  <a:pt x="176" y="377"/>
                  <a:pt x="179" y="381"/>
                  <a:pt x="179" y="383"/>
                </a:cubicBezTo>
                <a:cubicBezTo>
                  <a:pt x="179" y="383"/>
                  <a:pt x="178" y="387"/>
                  <a:pt x="178" y="387"/>
                </a:cubicBezTo>
                <a:close/>
                <a:moveTo>
                  <a:pt x="178" y="354"/>
                </a:moveTo>
                <a:cubicBezTo>
                  <a:pt x="179" y="353"/>
                  <a:pt x="180" y="356"/>
                  <a:pt x="179" y="356"/>
                </a:cubicBezTo>
                <a:cubicBezTo>
                  <a:pt x="178" y="356"/>
                  <a:pt x="178" y="354"/>
                  <a:pt x="178" y="354"/>
                </a:cubicBezTo>
                <a:close/>
                <a:moveTo>
                  <a:pt x="181" y="290"/>
                </a:moveTo>
                <a:cubicBezTo>
                  <a:pt x="179" y="287"/>
                  <a:pt x="177" y="285"/>
                  <a:pt x="176" y="284"/>
                </a:cubicBezTo>
                <a:cubicBezTo>
                  <a:pt x="176" y="281"/>
                  <a:pt x="179" y="285"/>
                  <a:pt x="179" y="285"/>
                </a:cubicBezTo>
                <a:cubicBezTo>
                  <a:pt x="180" y="287"/>
                  <a:pt x="180" y="288"/>
                  <a:pt x="181" y="290"/>
                </a:cubicBezTo>
                <a:cubicBezTo>
                  <a:pt x="181" y="290"/>
                  <a:pt x="181" y="291"/>
                  <a:pt x="181" y="291"/>
                </a:cubicBezTo>
                <a:cubicBezTo>
                  <a:pt x="181" y="291"/>
                  <a:pt x="181" y="290"/>
                  <a:pt x="181" y="290"/>
                </a:cubicBezTo>
                <a:close/>
                <a:moveTo>
                  <a:pt x="182" y="217"/>
                </a:moveTo>
                <a:cubicBezTo>
                  <a:pt x="182" y="218"/>
                  <a:pt x="181" y="217"/>
                  <a:pt x="181" y="217"/>
                </a:cubicBezTo>
                <a:cubicBezTo>
                  <a:pt x="179" y="215"/>
                  <a:pt x="183" y="216"/>
                  <a:pt x="182" y="217"/>
                </a:cubicBezTo>
                <a:close/>
                <a:moveTo>
                  <a:pt x="310" y="745"/>
                </a:moveTo>
                <a:cubicBezTo>
                  <a:pt x="309" y="747"/>
                  <a:pt x="304" y="748"/>
                  <a:pt x="302" y="747"/>
                </a:cubicBezTo>
                <a:cubicBezTo>
                  <a:pt x="301" y="747"/>
                  <a:pt x="299" y="748"/>
                  <a:pt x="298" y="747"/>
                </a:cubicBezTo>
                <a:cubicBezTo>
                  <a:pt x="297" y="747"/>
                  <a:pt x="298" y="744"/>
                  <a:pt x="296" y="744"/>
                </a:cubicBezTo>
                <a:cubicBezTo>
                  <a:pt x="300" y="744"/>
                  <a:pt x="295" y="742"/>
                  <a:pt x="295" y="742"/>
                </a:cubicBezTo>
                <a:cubicBezTo>
                  <a:pt x="294" y="739"/>
                  <a:pt x="301" y="738"/>
                  <a:pt x="302" y="738"/>
                </a:cubicBezTo>
                <a:cubicBezTo>
                  <a:pt x="304" y="738"/>
                  <a:pt x="311" y="740"/>
                  <a:pt x="310" y="745"/>
                </a:cubicBezTo>
                <a:close/>
                <a:moveTo>
                  <a:pt x="295" y="179"/>
                </a:moveTo>
                <a:cubicBezTo>
                  <a:pt x="292" y="179"/>
                  <a:pt x="292" y="177"/>
                  <a:pt x="295" y="179"/>
                </a:cubicBezTo>
                <a:close/>
                <a:moveTo>
                  <a:pt x="292" y="164"/>
                </a:moveTo>
                <a:cubicBezTo>
                  <a:pt x="292" y="164"/>
                  <a:pt x="292" y="163"/>
                  <a:pt x="292" y="163"/>
                </a:cubicBezTo>
                <a:cubicBezTo>
                  <a:pt x="292" y="162"/>
                  <a:pt x="294" y="164"/>
                  <a:pt x="292" y="164"/>
                </a:cubicBezTo>
                <a:close/>
                <a:moveTo>
                  <a:pt x="295" y="173"/>
                </a:moveTo>
                <a:cubicBezTo>
                  <a:pt x="294" y="173"/>
                  <a:pt x="294" y="171"/>
                  <a:pt x="295" y="172"/>
                </a:cubicBezTo>
                <a:cubicBezTo>
                  <a:pt x="295" y="172"/>
                  <a:pt x="295" y="173"/>
                  <a:pt x="295" y="173"/>
                </a:cubicBezTo>
                <a:close/>
                <a:moveTo>
                  <a:pt x="293" y="108"/>
                </a:moveTo>
                <a:cubicBezTo>
                  <a:pt x="294" y="106"/>
                  <a:pt x="296" y="110"/>
                  <a:pt x="297" y="112"/>
                </a:cubicBezTo>
                <a:cubicBezTo>
                  <a:pt x="295" y="112"/>
                  <a:pt x="292" y="110"/>
                  <a:pt x="293" y="108"/>
                </a:cubicBezTo>
                <a:close/>
                <a:moveTo>
                  <a:pt x="296" y="183"/>
                </a:moveTo>
                <a:cubicBezTo>
                  <a:pt x="298" y="182"/>
                  <a:pt x="300" y="186"/>
                  <a:pt x="298" y="187"/>
                </a:cubicBezTo>
                <a:cubicBezTo>
                  <a:pt x="296" y="189"/>
                  <a:pt x="294" y="184"/>
                  <a:pt x="296" y="183"/>
                </a:cubicBezTo>
                <a:close/>
                <a:moveTo>
                  <a:pt x="297" y="144"/>
                </a:moveTo>
                <a:cubicBezTo>
                  <a:pt x="299" y="144"/>
                  <a:pt x="298" y="146"/>
                  <a:pt x="297" y="144"/>
                </a:cubicBezTo>
                <a:close/>
                <a:moveTo>
                  <a:pt x="300" y="188"/>
                </a:moveTo>
                <a:cubicBezTo>
                  <a:pt x="299" y="187"/>
                  <a:pt x="301" y="189"/>
                  <a:pt x="300" y="188"/>
                </a:cubicBezTo>
                <a:close/>
                <a:moveTo>
                  <a:pt x="301" y="225"/>
                </a:moveTo>
                <a:cubicBezTo>
                  <a:pt x="301" y="225"/>
                  <a:pt x="300" y="224"/>
                  <a:pt x="300" y="224"/>
                </a:cubicBezTo>
                <a:cubicBezTo>
                  <a:pt x="301" y="224"/>
                  <a:pt x="302" y="225"/>
                  <a:pt x="301" y="225"/>
                </a:cubicBezTo>
                <a:close/>
                <a:moveTo>
                  <a:pt x="300" y="518"/>
                </a:moveTo>
                <a:cubicBezTo>
                  <a:pt x="301" y="519"/>
                  <a:pt x="299" y="517"/>
                  <a:pt x="299" y="517"/>
                </a:cubicBezTo>
                <a:cubicBezTo>
                  <a:pt x="299" y="516"/>
                  <a:pt x="300" y="517"/>
                  <a:pt x="300" y="518"/>
                </a:cubicBezTo>
                <a:close/>
                <a:moveTo>
                  <a:pt x="300" y="733"/>
                </a:moveTo>
                <a:cubicBezTo>
                  <a:pt x="301" y="733"/>
                  <a:pt x="299" y="734"/>
                  <a:pt x="299" y="734"/>
                </a:cubicBezTo>
                <a:cubicBezTo>
                  <a:pt x="298" y="733"/>
                  <a:pt x="300" y="733"/>
                  <a:pt x="300" y="733"/>
                </a:cubicBezTo>
                <a:close/>
                <a:moveTo>
                  <a:pt x="298" y="724"/>
                </a:moveTo>
                <a:cubicBezTo>
                  <a:pt x="298" y="723"/>
                  <a:pt x="300" y="725"/>
                  <a:pt x="298" y="724"/>
                </a:cubicBezTo>
                <a:close/>
                <a:moveTo>
                  <a:pt x="297" y="681"/>
                </a:moveTo>
                <a:cubicBezTo>
                  <a:pt x="297" y="681"/>
                  <a:pt x="297" y="681"/>
                  <a:pt x="297" y="681"/>
                </a:cubicBezTo>
                <a:cubicBezTo>
                  <a:pt x="298" y="681"/>
                  <a:pt x="298" y="682"/>
                  <a:pt x="297" y="681"/>
                </a:cubicBezTo>
                <a:close/>
                <a:moveTo>
                  <a:pt x="303" y="683"/>
                </a:moveTo>
                <a:cubicBezTo>
                  <a:pt x="303" y="683"/>
                  <a:pt x="304" y="682"/>
                  <a:pt x="305" y="683"/>
                </a:cubicBezTo>
                <a:cubicBezTo>
                  <a:pt x="305" y="683"/>
                  <a:pt x="303" y="683"/>
                  <a:pt x="303" y="683"/>
                </a:cubicBezTo>
                <a:close/>
                <a:moveTo>
                  <a:pt x="304" y="731"/>
                </a:moveTo>
                <a:cubicBezTo>
                  <a:pt x="305" y="731"/>
                  <a:pt x="302" y="730"/>
                  <a:pt x="304" y="731"/>
                </a:cubicBezTo>
                <a:close/>
                <a:moveTo>
                  <a:pt x="303" y="675"/>
                </a:moveTo>
                <a:cubicBezTo>
                  <a:pt x="305" y="673"/>
                  <a:pt x="305" y="677"/>
                  <a:pt x="303" y="675"/>
                </a:cubicBezTo>
                <a:close/>
                <a:moveTo>
                  <a:pt x="302" y="671"/>
                </a:moveTo>
                <a:cubicBezTo>
                  <a:pt x="302" y="669"/>
                  <a:pt x="304" y="669"/>
                  <a:pt x="305" y="670"/>
                </a:cubicBezTo>
                <a:cubicBezTo>
                  <a:pt x="306" y="671"/>
                  <a:pt x="302" y="672"/>
                  <a:pt x="302" y="671"/>
                </a:cubicBezTo>
                <a:close/>
                <a:moveTo>
                  <a:pt x="304" y="158"/>
                </a:moveTo>
                <a:cubicBezTo>
                  <a:pt x="304" y="158"/>
                  <a:pt x="303" y="158"/>
                  <a:pt x="304" y="157"/>
                </a:cubicBezTo>
                <a:cubicBezTo>
                  <a:pt x="304" y="157"/>
                  <a:pt x="305" y="158"/>
                  <a:pt x="304" y="158"/>
                </a:cubicBezTo>
                <a:close/>
                <a:moveTo>
                  <a:pt x="304" y="613"/>
                </a:moveTo>
                <a:cubicBezTo>
                  <a:pt x="305" y="615"/>
                  <a:pt x="301" y="614"/>
                  <a:pt x="302" y="612"/>
                </a:cubicBezTo>
                <a:cubicBezTo>
                  <a:pt x="302" y="612"/>
                  <a:pt x="304" y="612"/>
                  <a:pt x="304" y="613"/>
                </a:cubicBezTo>
                <a:close/>
                <a:moveTo>
                  <a:pt x="305" y="735"/>
                </a:moveTo>
                <a:cubicBezTo>
                  <a:pt x="307" y="734"/>
                  <a:pt x="308" y="736"/>
                  <a:pt x="305" y="735"/>
                </a:cubicBezTo>
                <a:close/>
                <a:moveTo>
                  <a:pt x="307" y="737"/>
                </a:moveTo>
                <a:cubicBezTo>
                  <a:pt x="307" y="737"/>
                  <a:pt x="308" y="737"/>
                  <a:pt x="309" y="737"/>
                </a:cubicBezTo>
                <a:cubicBezTo>
                  <a:pt x="308" y="737"/>
                  <a:pt x="308" y="737"/>
                  <a:pt x="307" y="737"/>
                </a:cubicBezTo>
                <a:close/>
                <a:moveTo>
                  <a:pt x="311" y="752"/>
                </a:moveTo>
                <a:cubicBezTo>
                  <a:pt x="311" y="752"/>
                  <a:pt x="311" y="752"/>
                  <a:pt x="311" y="752"/>
                </a:cubicBezTo>
                <a:cubicBezTo>
                  <a:pt x="313" y="752"/>
                  <a:pt x="312" y="753"/>
                  <a:pt x="311" y="752"/>
                </a:cubicBezTo>
                <a:close/>
                <a:moveTo>
                  <a:pt x="314" y="737"/>
                </a:moveTo>
                <a:cubicBezTo>
                  <a:pt x="315" y="736"/>
                  <a:pt x="316" y="737"/>
                  <a:pt x="316" y="738"/>
                </a:cubicBezTo>
                <a:cubicBezTo>
                  <a:pt x="317" y="739"/>
                  <a:pt x="313" y="738"/>
                  <a:pt x="314" y="737"/>
                </a:cubicBezTo>
                <a:close/>
                <a:moveTo>
                  <a:pt x="313" y="737"/>
                </a:moveTo>
                <a:cubicBezTo>
                  <a:pt x="309" y="737"/>
                  <a:pt x="308" y="733"/>
                  <a:pt x="302" y="734"/>
                </a:cubicBezTo>
                <a:cubicBezTo>
                  <a:pt x="303" y="733"/>
                  <a:pt x="305" y="733"/>
                  <a:pt x="306" y="732"/>
                </a:cubicBezTo>
                <a:cubicBezTo>
                  <a:pt x="306" y="732"/>
                  <a:pt x="305" y="731"/>
                  <a:pt x="305" y="732"/>
                </a:cubicBezTo>
                <a:cubicBezTo>
                  <a:pt x="305" y="731"/>
                  <a:pt x="306" y="731"/>
                  <a:pt x="306" y="731"/>
                </a:cubicBezTo>
                <a:cubicBezTo>
                  <a:pt x="307" y="729"/>
                  <a:pt x="304" y="729"/>
                  <a:pt x="306" y="728"/>
                </a:cubicBezTo>
                <a:cubicBezTo>
                  <a:pt x="307" y="727"/>
                  <a:pt x="308" y="728"/>
                  <a:pt x="310" y="728"/>
                </a:cubicBezTo>
                <a:cubicBezTo>
                  <a:pt x="310" y="728"/>
                  <a:pt x="313" y="728"/>
                  <a:pt x="315" y="729"/>
                </a:cubicBezTo>
                <a:cubicBezTo>
                  <a:pt x="319" y="730"/>
                  <a:pt x="318" y="736"/>
                  <a:pt x="313" y="737"/>
                </a:cubicBezTo>
                <a:close/>
                <a:moveTo>
                  <a:pt x="306" y="205"/>
                </a:moveTo>
                <a:cubicBezTo>
                  <a:pt x="307" y="205"/>
                  <a:pt x="306" y="206"/>
                  <a:pt x="306" y="206"/>
                </a:cubicBezTo>
                <a:cubicBezTo>
                  <a:pt x="304" y="205"/>
                  <a:pt x="306" y="204"/>
                  <a:pt x="306" y="205"/>
                </a:cubicBezTo>
                <a:close/>
                <a:moveTo>
                  <a:pt x="305" y="103"/>
                </a:moveTo>
                <a:cubicBezTo>
                  <a:pt x="307" y="102"/>
                  <a:pt x="308" y="105"/>
                  <a:pt x="306" y="104"/>
                </a:cubicBezTo>
                <a:cubicBezTo>
                  <a:pt x="305" y="104"/>
                  <a:pt x="305" y="103"/>
                  <a:pt x="305" y="103"/>
                </a:cubicBezTo>
                <a:close/>
                <a:moveTo>
                  <a:pt x="311" y="167"/>
                </a:moveTo>
                <a:cubicBezTo>
                  <a:pt x="311" y="167"/>
                  <a:pt x="311" y="167"/>
                  <a:pt x="311" y="167"/>
                </a:cubicBezTo>
                <a:cubicBezTo>
                  <a:pt x="311" y="167"/>
                  <a:pt x="311" y="167"/>
                  <a:pt x="312" y="167"/>
                </a:cubicBezTo>
                <a:cubicBezTo>
                  <a:pt x="312" y="167"/>
                  <a:pt x="311" y="167"/>
                  <a:pt x="311" y="167"/>
                </a:cubicBezTo>
                <a:close/>
                <a:moveTo>
                  <a:pt x="310" y="638"/>
                </a:moveTo>
                <a:cubicBezTo>
                  <a:pt x="314" y="639"/>
                  <a:pt x="311" y="641"/>
                  <a:pt x="310" y="638"/>
                </a:cubicBezTo>
                <a:close/>
                <a:moveTo>
                  <a:pt x="311" y="123"/>
                </a:moveTo>
                <a:cubicBezTo>
                  <a:pt x="309" y="123"/>
                  <a:pt x="312" y="124"/>
                  <a:pt x="311" y="123"/>
                </a:cubicBezTo>
                <a:close/>
                <a:moveTo>
                  <a:pt x="310" y="111"/>
                </a:moveTo>
                <a:cubicBezTo>
                  <a:pt x="311" y="111"/>
                  <a:pt x="312" y="112"/>
                  <a:pt x="311" y="112"/>
                </a:cubicBezTo>
                <a:cubicBezTo>
                  <a:pt x="311" y="112"/>
                  <a:pt x="310" y="112"/>
                  <a:pt x="310" y="111"/>
                </a:cubicBezTo>
                <a:close/>
                <a:moveTo>
                  <a:pt x="308" y="612"/>
                </a:moveTo>
                <a:cubicBezTo>
                  <a:pt x="308" y="611"/>
                  <a:pt x="310" y="612"/>
                  <a:pt x="310" y="612"/>
                </a:cubicBezTo>
                <a:cubicBezTo>
                  <a:pt x="311" y="614"/>
                  <a:pt x="308" y="613"/>
                  <a:pt x="308" y="612"/>
                </a:cubicBezTo>
                <a:close/>
                <a:moveTo>
                  <a:pt x="316" y="436"/>
                </a:moveTo>
                <a:cubicBezTo>
                  <a:pt x="317" y="435"/>
                  <a:pt x="318" y="436"/>
                  <a:pt x="318" y="437"/>
                </a:cubicBezTo>
                <a:cubicBezTo>
                  <a:pt x="320" y="439"/>
                  <a:pt x="316" y="436"/>
                  <a:pt x="316" y="436"/>
                </a:cubicBezTo>
                <a:close/>
                <a:moveTo>
                  <a:pt x="317" y="526"/>
                </a:moveTo>
                <a:cubicBezTo>
                  <a:pt x="317" y="526"/>
                  <a:pt x="318" y="527"/>
                  <a:pt x="319" y="528"/>
                </a:cubicBezTo>
                <a:cubicBezTo>
                  <a:pt x="319" y="529"/>
                  <a:pt x="317" y="527"/>
                  <a:pt x="317" y="526"/>
                </a:cubicBezTo>
                <a:close/>
                <a:moveTo>
                  <a:pt x="316" y="682"/>
                </a:moveTo>
                <a:cubicBezTo>
                  <a:pt x="318" y="683"/>
                  <a:pt x="316" y="684"/>
                  <a:pt x="316" y="682"/>
                </a:cubicBezTo>
                <a:close/>
                <a:moveTo>
                  <a:pt x="315" y="197"/>
                </a:moveTo>
                <a:cubicBezTo>
                  <a:pt x="315" y="196"/>
                  <a:pt x="317" y="197"/>
                  <a:pt x="316" y="198"/>
                </a:cubicBezTo>
                <a:cubicBezTo>
                  <a:pt x="316" y="198"/>
                  <a:pt x="315" y="197"/>
                  <a:pt x="315" y="197"/>
                </a:cubicBezTo>
                <a:close/>
                <a:moveTo>
                  <a:pt x="315" y="98"/>
                </a:moveTo>
                <a:cubicBezTo>
                  <a:pt x="313" y="97"/>
                  <a:pt x="318" y="96"/>
                  <a:pt x="317" y="98"/>
                </a:cubicBezTo>
                <a:cubicBezTo>
                  <a:pt x="316" y="98"/>
                  <a:pt x="316" y="98"/>
                  <a:pt x="315" y="98"/>
                </a:cubicBezTo>
                <a:close/>
                <a:moveTo>
                  <a:pt x="314" y="99"/>
                </a:moveTo>
                <a:cubicBezTo>
                  <a:pt x="317" y="99"/>
                  <a:pt x="315" y="102"/>
                  <a:pt x="314" y="99"/>
                </a:cubicBezTo>
                <a:close/>
                <a:moveTo>
                  <a:pt x="314" y="129"/>
                </a:moveTo>
                <a:cubicBezTo>
                  <a:pt x="314" y="129"/>
                  <a:pt x="314" y="129"/>
                  <a:pt x="314" y="129"/>
                </a:cubicBezTo>
                <a:cubicBezTo>
                  <a:pt x="311" y="127"/>
                  <a:pt x="317" y="129"/>
                  <a:pt x="314" y="129"/>
                </a:cubicBezTo>
                <a:close/>
                <a:moveTo>
                  <a:pt x="313" y="166"/>
                </a:moveTo>
                <a:cubicBezTo>
                  <a:pt x="315" y="165"/>
                  <a:pt x="313" y="168"/>
                  <a:pt x="313" y="166"/>
                </a:cubicBezTo>
                <a:cubicBezTo>
                  <a:pt x="312" y="166"/>
                  <a:pt x="313" y="166"/>
                  <a:pt x="313" y="166"/>
                </a:cubicBezTo>
                <a:close/>
                <a:moveTo>
                  <a:pt x="313" y="636"/>
                </a:moveTo>
                <a:cubicBezTo>
                  <a:pt x="313" y="636"/>
                  <a:pt x="314" y="637"/>
                  <a:pt x="314" y="637"/>
                </a:cubicBezTo>
                <a:cubicBezTo>
                  <a:pt x="316" y="639"/>
                  <a:pt x="311" y="637"/>
                  <a:pt x="313" y="636"/>
                </a:cubicBezTo>
                <a:close/>
                <a:moveTo>
                  <a:pt x="316" y="540"/>
                </a:moveTo>
                <a:cubicBezTo>
                  <a:pt x="317" y="539"/>
                  <a:pt x="318" y="540"/>
                  <a:pt x="319" y="541"/>
                </a:cubicBezTo>
                <a:cubicBezTo>
                  <a:pt x="319" y="542"/>
                  <a:pt x="316" y="541"/>
                  <a:pt x="316" y="540"/>
                </a:cubicBezTo>
                <a:close/>
                <a:moveTo>
                  <a:pt x="318" y="161"/>
                </a:moveTo>
                <a:cubicBezTo>
                  <a:pt x="318" y="162"/>
                  <a:pt x="317" y="161"/>
                  <a:pt x="317" y="161"/>
                </a:cubicBezTo>
                <a:cubicBezTo>
                  <a:pt x="315" y="158"/>
                  <a:pt x="320" y="159"/>
                  <a:pt x="318" y="161"/>
                </a:cubicBezTo>
                <a:close/>
                <a:moveTo>
                  <a:pt x="317" y="121"/>
                </a:moveTo>
                <a:cubicBezTo>
                  <a:pt x="319" y="122"/>
                  <a:pt x="316" y="121"/>
                  <a:pt x="317" y="121"/>
                </a:cubicBezTo>
                <a:close/>
                <a:moveTo>
                  <a:pt x="318" y="139"/>
                </a:moveTo>
                <a:cubicBezTo>
                  <a:pt x="319" y="138"/>
                  <a:pt x="320" y="141"/>
                  <a:pt x="319" y="140"/>
                </a:cubicBezTo>
                <a:cubicBezTo>
                  <a:pt x="319" y="140"/>
                  <a:pt x="318" y="140"/>
                  <a:pt x="318" y="139"/>
                </a:cubicBezTo>
                <a:close/>
                <a:moveTo>
                  <a:pt x="318" y="103"/>
                </a:moveTo>
                <a:cubicBezTo>
                  <a:pt x="319" y="103"/>
                  <a:pt x="319" y="104"/>
                  <a:pt x="319" y="104"/>
                </a:cubicBezTo>
                <a:cubicBezTo>
                  <a:pt x="319" y="104"/>
                  <a:pt x="319" y="104"/>
                  <a:pt x="319" y="104"/>
                </a:cubicBezTo>
                <a:cubicBezTo>
                  <a:pt x="319" y="103"/>
                  <a:pt x="318" y="103"/>
                  <a:pt x="318" y="103"/>
                </a:cubicBezTo>
                <a:close/>
                <a:moveTo>
                  <a:pt x="319" y="603"/>
                </a:moveTo>
                <a:cubicBezTo>
                  <a:pt x="320" y="602"/>
                  <a:pt x="321" y="603"/>
                  <a:pt x="321" y="603"/>
                </a:cubicBezTo>
                <a:cubicBezTo>
                  <a:pt x="321" y="605"/>
                  <a:pt x="318" y="603"/>
                  <a:pt x="319" y="603"/>
                </a:cubicBezTo>
                <a:close/>
                <a:moveTo>
                  <a:pt x="322" y="158"/>
                </a:moveTo>
                <a:cubicBezTo>
                  <a:pt x="321" y="159"/>
                  <a:pt x="320" y="157"/>
                  <a:pt x="321" y="157"/>
                </a:cubicBezTo>
                <a:cubicBezTo>
                  <a:pt x="322" y="157"/>
                  <a:pt x="322" y="158"/>
                  <a:pt x="322" y="158"/>
                </a:cubicBezTo>
                <a:close/>
                <a:moveTo>
                  <a:pt x="322" y="131"/>
                </a:moveTo>
                <a:cubicBezTo>
                  <a:pt x="323" y="132"/>
                  <a:pt x="321" y="131"/>
                  <a:pt x="322" y="131"/>
                </a:cubicBezTo>
                <a:close/>
                <a:moveTo>
                  <a:pt x="321" y="762"/>
                </a:moveTo>
                <a:cubicBezTo>
                  <a:pt x="322" y="762"/>
                  <a:pt x="323" y="762"/>
                  <a:pt x="324" y="763"/>
                </a:cubicBezTo>
                <a:cubicBezTo>
                  <a:pt x="325" y="766"/>
                  <a:pt x="316" y="764"/>
                  <a:pt x="321" y="762"/>
                </a:cubicBezTo>
                <a:close/>
                <a:moveTo>
                  <a:pt x="328" y="213"/>
                </a:moveTo>
                <a:cubicBezTo>
                  <a:pt x="328" y="213"/>
                  <a:pt x="327" y="213"/>
                  <a:pt x="327" y="212"/>
                </a:cubicBezTo>
                <a:cubicBezTo>
                  <a:pt x="325" y="210"/>
                  <a:pt x="330" y="211"/>
                  <a:pt x="328" y="213"/>
                </a:cubicBezTo>
                <a:close/>
                <a:moveTo>
                  <a:pt x="326" y="141"/>
                </a:moveTo>
                <a:cubicBezTo>
                  <a:pt x="326" y="141"/>
                  <a:pt x="327" y="142"/>
                  <a:pt x="327" y="142"/>
                </a:cubicBezTo>
                <a:cubicBezTo>
                  <a:pt x="327" y="142"/>
                  <a:pt x="326" y="142"/>
                  <a:pt x="326" y="141"/>
                </a:cubicBezTo>
                <a:close/>
                <a:moveTo>
                  <a:pt x="340" y="128"/>
                </a:moveTo>
                <a:cubicBezTo>
                  <a:pt x="342" y="128"/>
                  <a:pt x="347" y="132"/>
                  <a:pt x="349" y="135"/>
                </a:cubicBezTo>
                <a:cubicBezTo>
                  <a:pt x="349" y="135"/>
                  <a:pt x="351" y="135"/>
                  <a:pt x="350" y="136"/>
                </a:cubicBezTo>
                <a:cubicBezTo>
                  <a:pt x="349" y="137"/>
                  <a:pt x="345" y="134"/>
                  <a:pt x="346" y="135"/>
                </a:cubicBezTo>
                <a:cubicBezTo>
                  <a:pt x="344" y="134"/>
                  <a:pt x="343" y="131"/>
                  <a:pt x="342" y="130"/>
                </a:cubicBezTo>
                <a:cubicBezTo>
                  <a:pt x="338" y="126"/>
                  <a:pt x="333" y="125"/>
                  <a:pt x="330" y="121"/>
                </a:cubicBezTo>
                <a:cubicBezTo>
                  <a:pt x="334" y="121"/>
                  <a:pt x="336" y="126"/>
                  <a:pt x="340" y="128"/>
                </a:cubicBezTo>
                <a:close/>
                <a:moveTo>
                  <a:pt x="331" y="113"/>
                </a:moveTo>
                <a:cubicBezTo>
                  <a:pt x="332" y="112"/>
                  <a:pt x="332" y="114"/>
                  <a:pt x="332" y="114"/>
                </a:cubicBezTo>
                <a:cubicBezTo>
                  <a:pt x="331" y="114"/>
                  <a:pt x="331" y="113"/>
                  <a:pt x="331" y="113"/>
                </a:cubicBezTo>
                <a:close/>
                <a:moveTo>
                  <a:pt x="335" y="82"/>
                </a:moveTo>
                <a:cubicBezTo>
                  <a:pt x="334" y="81"/>
                  <a:pt x="337" y="82"/>
                  <a:pt x="335" y="82"/>
                </a:cubicBezTo>
                <a:close/>
                <a:moveTo>
                  <a:pt x="337" y="101"/>
                </a:moveTo>
                <a:cubicBezTo>
                  <a:pt x="338" y="100"/>
                  <a:pt x="338" y="102"/>
                  <a:pt x="339" y="101"/>
                </a:cubicBezTo>
                <a:cubicBezTo>
                  <a:pt x="339" y="102"/>
                  <a:pt x="337" y="102"/>
                  <a:pt x="337" y="101"/>
                </a:cubicBezTo>
                <a:close/>
                <a:moveTo>
                  <a:pt x="355" y="124"/>
                </a:moveTo>
                <a:cubicBezTo>
                  <a:pt x="354" y="123"/>
                  <a:pt x="352" y="122"/>
                  <a:pt x="351" y="120"/>
                </a:cubicBezTo>
                <a:cubicBezTo>
                  <a:pt x="353" y="121"/>
                  <a:pt x="354" y="122"/>
                  <a:pt x="355" y="124"/>
                </a:cubicBezTo>
                <a:close/>
                <a:moveTo>
                  <a:pt x="353" y="90"/>
                </a:moveTo>
                <a:cubicBezTo>
                  <a:pt x="353" y="90"/>
                  <a:pt x="353" y="90"/>
                  <a:pt x="353" y="90"/>
                </a:cubicBezTo>
                <a:cubicBezTo>
                  <a:pt x="355" y="92"/>
                  <a:pt x="353" y="90"/>
                  <a:pt x="353" y="90"/>
                </a:cubicBezTo>
                <a:close/>
                <a:moveTo>
                  <a:pt x="366" y="123"/>
                </a:moveTo>
                <a:cubicBezTo>
                  <a:pt x="365" y="124"/>
                  <a:pt x="364" y="123"/>
                  <a:pt x="364" y="123"/>
                </a:cubicBezTo>
                <a:cubicBezTo>
                  <a:pt x="361" y="121"/>
                  <a:pt x="367" y="121"/>
                  <a:pt x="366" y="123"/>
                </a:cubicBezTo>
                <a:close/>
                <a:moveTo>
                  <a:pt x="365" y="109"/>
                </a:moveTo>
                <a:cubicBezTo>
                  <a:pt x="365" y="109"/>
                  <a:pt x="365" y="109"/>
                  <a:pt x="365" y="109"/>
                </a:cubicBezTo>
                <a:cubicBezTo>
                  <a:pt x="363" y="108"/>
                  <a:pt x="367" y="109"/>
                  <a:pt x="365" y="109"/>
                </a:cubicBezTo>
                <a:close/>
                <a:moveTo>
                  <a:pt x="364" y="93"/>
                </a:moveTo>
                <a:cubicBezTo>
                  <a:pt x="363" y="94"/>
                  <a:pt x="363" y="93"/>
                  <a:pt x="363" y="93"/>
                </a:cubicBezTo>
                <a:cubicBezTo>
                  <a:pt x="361" y="92"/>
                  <a:pt x="364" y="92"/>
                  <a:pt x="364" y="93"/>
                </a:cubicBezTo>
                <a:close/>
                <a:moveTo>
                  <a:pt x="363" y="131"/>
                </a:moveTo>
                <a:cubicBezTo>
                  <a:pt x="361" y="130"/>
                  <a:pt x="359" y="128"/>
                  <a:pt x="358" y="126"/>
                </a:cubicBezTo>
                <a:cubicBezTo>
                  <a:pt x="360" y="127"/>
                  <a:pt x="361" y="129"/>
                  <a:pt x="363" y="131"/>
                </a:cubicBezTo>
                <a:close/>
                <a:moveTo>
                  <a:pt x="368" y="604"/>
                </a:moveTo>
                <a:cubicBezTo>
                  <a:pt x="365" y="603"/>
                  <a:pt x="367" y="602"/>
                  <a:pt x="368" y="604"/>
                </a:cubicBezTo>
                <a:close/>
                <a:moveTo>
                  <a:pt x="367" y="364"/>
                </a:moveTo>
                <a:cubicBezTo>
                  <a:pt x="369" y="364"/>
                  <a:pt x="370" y="367"/>
                  <a:pt x="371" y="368"/>
                </a:cubicBezTo>
                <a:cubicBezTo>
                  <a:pt x="369" y="368"/>
                  <a:pt x="368" y="365"/>
                  <a:pt x="367" y="364"/>
                </a:cubicBezTo>
                <a:close/>
                <a:moveTo>
                  <a:pt x="367" y="638"/>
                </a:moveTo>
                <a:cubicBezTo>
                  <a:pt x="368" y="637"/>
                  <a:pt x="368" y="639"/>
                  <a:pt x="367" y="638"/>
                </a:cubicBezTo>
                <a:close/>
                <a:moveTo>
                  <a:pt x="373" y="642"/>
                </a:moveTo>
                <a:cubicBezTo>
                  <a:pt x="375" y="643"/>
                  <a:pt x="376" y="644"/>
                  <a:pt x="376" y="646"/>
                </a:cubicBezTo>
                <a:cubicBezTo>
                  <a:pt x="377" y="652"/>
                  <a:pt x="365" y="646"/>
                  <a:pt x="365" y="645"/>
                </a:cubicBezTo>
                <a:cubicBezTo>
                  <a:pt x="365" y="644"/>
                  <a:pt x="372" y="642"/>
                  <a:pt x="373" y="642"/>
                </a:cubicBezTo>
                <a:close/>
                <a:moveTo>
                  <a:pt x="374" y="562"/>
                </a:moveTo>
                <a:cubicBezTo>
                  <a:pt x="375" y="563"/>
                  <a:pt x="372" y="562"/>
                  <a:pt x="373" y="561"/>
                </a:cubicBezTo>
                <a:cubicBezTo>
                  <a:pt x="374" y="561"/>
                  <a:pt x="374" y="562"/>
                  <a:pt x="374" y="562"/>
                </a:cubicBezTo>
                <a:close/>
                <a:moveTo>
                  <a:pt x="374" y="444"/>
                </a:moveTo>
                <a:cubicBezTo>
                  <a:pt x="373" y="445"/>
                  <a:pt x="373" y="442"/>
                  <a:pt x="374" y="444"/>
                </a:cubicBezTo>
                <a:close/>
                <a:moveTo>
                  <a:pt x="372" y="582"/>
                </a:moveTo>
                <a:cubicBezTo>
                  <a:pt x="375" y="582"/>
                  <a:pt x="372" y="584"/>
                  <a:pt x="372" y="582"/>
                </a:cubicBezTo>
                <a:close/>
                <a:moveTo>
                  <a:pt x="371" y="374"/>
                </a:moveTo>
                <a:cubicBezTo>
                  <a:pt x="372" y="373"/>
                  <a:pt x="372" y="375"/>
                  <a:pt x="371" y="374"/>
                </a:cubicBezTo>
                <a:close/>
                <a:moveTo>
                  <a:pt x="365" y="654"/>
                </a:moveTo>
                <a:cubicBezTo>
                  <a:pt x="366" y="652"/>
                  <a:pt x="367" y="655"/>
                  <a:pt x="365" y="654"/>
                </a:cubicBezTo>
                <a:close/>
                <a:moveTo>
                  <a:pt x="366" y="661"/>
                </a:moveTo>
                <a:cubicBezTo>
                  <a:pt x="369" y="661"/>
                  <a:pt x="370" y="659"/>
                  <a:pt x="371" y="661"/>
                </a:cubicBezTo>
                <a:cubicBezTo>
                  <a:pt x="372" y="661"/>
                  <a:pt x="371" y="662"/>
                  <a:pt x="372" y="663"/>
                </a:cubicBezTo>
                <a:cubicBezTo>
                  <a:pt x="375" y="666"/>
                  <a:pt x="386" y="664"/>
                  <a:pt x="386" y="668"/>
                </a:cubicBezTo>
                <a:cubicBezTo>
                  <a:pt x="387" y="671"/>
                  <a:pt x="373" y="665"/>
                  <a:pt x="372" y="664"/>
                </a:cubicBezTo>
                <a:cubicBezTo>
                  <a:pt x="369" y="662"/>
                  <a:pt x="364" y="662"/>
                  <a:pt x="362" y="661"/>
                </a:cubicBezTo>
                <a:cubicBezTo>
                  <a:pt x="362" y="660"/>
                  <a:pt x="361" y="660"/>
                  <a:pt x="361" y="659"/>
                </a:cubicBezTo>
                <a:cubicBezTo>
                  <a:pt x="362" y="657"/>
                  <a:pt x="364" y="661"/>
                  <a:pt x="366" y="661"/>
                </a:cubicBezTo>
                <a:close/>
                <a:moveTo>
                  <a:pt x="377" y="623"/>
                </a:moveTo>
                <a:cubicBezTo>
                  <a:pt x="379" y="623"/>
                  <a:pt x="377" y="625"/>
                  <a:pt x="377" y="623"/>
                </a:cubicBezTo>
                <a:close/>
                <a:moveTo>
                  <a:pt x="385" y="646"/>
                </a:moveTo>
                <a:cubicBezTo>
                  <a:pt x="385" y="645"/>
                  <a:pt x="387" y="645"/>
                  <a:pt x="387" y="646"/>
                </a:cubicBezTo>
                <a:cubicBezTo>
                  <a:pt x="387" y="647"/>
                  <a:pt x="385" y="647"/>
                  <a:pt x="385" y="646"/>
                </a:cubicBezTo>
                <a:close/>
                <a:moveTo>
                  <a:pt x="387" y="661"/>
                </a:moveTo>
                <a:cubicBezTo>
                  <a:pt x="389" y="662"/>
                  <a:pt x="384" y="662"/>
                  <a:pt x="385" y="661"/>
                </a:cubicBezTo>
                <a:cubicBezTo>
                  <a:pt x="385" y="660"/>
                  <a:pt x="387" y="660"/>
                  <a:pt x="387" y="661"/>
                </a:cubicBezTo>
                <a:close/>
                <a:moveTo>
                  <a:pt x="385" y="654"/>
                </a:moveTo>
                <a:cubicBezTo>
                  <a:pt x="388" y="654"/>
                  <a:pt x="385" y="656"/>
                  <a:pt x="385" y="654"/>
                </a:cubicBezTo>
                <a:close/>
                <a:moveTo>
                  <a:pt x="380" y="671"/>
                </a:moveTo>
                <a:cubicBezTo>
                  <a:pt x="382" y="672"/>
                  <a:pt x="380" y="673"/>
                  <a:pt x="380" y="671"/>
                </a:cubicBezTo>
                <a:close/>
                <a:moveTo>
                  <a:pt x="379" y="676"/>
                </a:moveTo>
                <a:cubicBezTo>
                  <a:pt x="379" y="676"/>
                  <a:pt x="380" y="675"/>
                  <a:pt x="380" y="675"/>
                </a:cubicBezTo>
                <a:cubicBezTo>
                  <a:pt x="380" y="676"/>
                  <a:pt x="380" y="677"/>
                  <a:pt x="379" y="676"/>
                </a:cubicBezTo>
                <a:close/>
                <a:moveTo>
                  <a:pt x="378" y="669"/>
                </a:moveTo>
                <a:cubicBezTo>
                  <a:pt x="377" y="669"/>
                  <a:pt x="377" y="666"/>
                  <a:pt x="378" y="668"/>
                </a:cubicBezTo>
                <a:cubicBezTo>
                  <a:pt x="378" y="668"/>
                  <a:pt x="378" y="669"/>
                  <a:pt x="378" y="669"/>
                </a:cubicBezTo>
                <a:close/>
                <a:moveTo>
                  <a:pt x="366" y="677"/>
                </a:moveTo>
                <a:cubicBezTo>
                  <a:pt x="369" y="676"/>
                  <a:pt x="367" y="673"/>
                  <a:pt x="368" y="672"/>
                </a:cubicBezTo>
                <a:cubicBezTo>
                  <a:pt x="370" y="671"/>
                  <a:pt x="373" y="675"/>
                  <a:pt x="372" y="677"/>
                </a:cubicBezTo>
                <a:cubicBezTo>
                  <a:pt x="371" y="678"/>
                  <a:pt x="368" y="676"/>
                  <a:pt x="366" y="677"/>
                </a:cubicBezTo>
                <a:close/>
                <a:moveTo>
                  <a:pt x="369" y="695"/>
                </a:moveTo>
                <a:cubicBezTo>
                  <a:pt x="369" y="694"/>
                  <a:pt x="371" y="694"/>
                  <a:pt x="371" y="695"/>
                </a:cubicBezTo>
                <a:cubicBezTo>
                  <a:pt x="372" y="696"/>
                  <a:pt x="369" y="696"/>
                  <a:pt x="369" y="695"/>
                </a:cubicBezTo>
                <a:close/>
                <a:moveTo>
                  <a:pt x="365" y="733"/>
                </a:moveTo>
                <a:cubicBezTo>
                  <a:pt x="365" y="731"/>
                  <a:pt x="367" y="731"/>
                  <a:pt x="368" y="732"/>
                </a:cubicBezTo>
                <a:cubicBezTo>
                  <a:pt x="369" y="733"/>
                  <a:pt x="365" y="733"/>
                  <a:pt x="365" y="733"/>
                </a:cubicBezTo>
                <a:close/>
                <a:moveTo>
                  <a:pt x="364" y="734"/>
                </a:moveTo>
                <a:cubicBezTo>
                  <a:pt x="365" y="734"/>
                  <a:pt x="366" y="734"/>
                  <a:pt x="366" y="734"/>
                </a:cubicBezTo>
                <a:cubicBezTo>
                  <a:pt x="367" y="736"/>
                  <a:pt x="363" y="735"/>
                  <a:pt x="364" y="734"/>
                </a:cubicBezTo>
                <a:close/>
                <a:moveTo>
                  <a:pt x="363" y="683"/>
                </a:moveTo>
                <a:cubicBezTo>
                  <a:pt x="365" y="682"/>
                  <a:pt x="364" y="684"/>
                  <a:pt x="363" y="683"/>
                </a:cubicBezTo>
                <a:close/>
                <a:moveTo>
                  <a:pt x="361" y="684"/>
                </a:moveTo>
                <a:cubicBezTo>
                  <a:pt x="360" y="685"/>
                  <a:pt x="360" y="682"/>
                  <a:pt x="361" y="684"/>
                </a:cubicBezTo>
                <a:close/>
                <a:moveTo>
                  <a:pt x="360" y="465"/>
                </a:moveTo>
                <a:cubicBezTo>
                  <a:pt x="360" y="465"/>
                  <a:pt x="361" y="466"/>
                  <a:pt x="361" y="466"/>
                </a:cubicBezTo>
                <a:cubicBezTo>
                  <a:pt x="362" y="468"/>
                  <a:pt x="358" y="466"/>
                  <a:pt x="360" y="465"/>
                </a:cubicBezTo>
                <a:close/>
                <a:moveTo>
                  <a:pt x="361" y="695"/>
                </a:moveTo>
                <a:cubicBezTo>
                  <a:pt x="360" y="696"/>
                  <a:pt x="361" y="694"/>
                  <a:pt x="361" y="695"/>
                </a:cubicBezTo>
                <a:close/>
                <a:moveTo>
                  <a:pt x="364" y="650"/>
                </a:moveTo>
                <a:cubicBezTo>
                  <a:pt x="365" y="652"/>
                  <a:pt x="361" y="651"/>
                  <a:pt x="362" y="649"/>
                </a:cubicBezTo>
                <a:cubicBezTo>
                  <a:pt x="363" y="649"/>
                  <a:pt x="364" y="650"/>
                  <a:pt x="364" y="650"/>
                </a:cubicBezTo>
                <a:close/>
                <a:moveTo>
                  <a:pt x="365" y="376"/>
                </a:moveTo>
                <a:cubicBezTo>
                  <a:pt x="363" y="376"/>
                  <a:pt x="364" y="373"/>
                  <a:pt x="365" y="376"/>
                </a:cubicBezTo>
                <a:close/>
                <a:moveTo>
                  <a:pt x="361" y="355"/>
                </a:moveTo>
                <a:cubicBezTo>
                  <a:pt x="362" y="354"/>
                  <a:pt x="363" y="356"/>
                  <a:pt x="363" y="357"/>
                </a:cubicBezTo>
                <a:cubicBezTo>
                  <a:pt x="362" y="356"/>
                  <a:pt x="362" y="356"/>
                  <a:pt x="361" y="355"/>
                </a:cubicBezTo>
                <a:close/>
                <a:moveTo>
                  <a:pt x="356" y="702"/>
                </a:moveTo>
                <a:cubicBezTo>
                  <a:pt x="359" y="702"/>
                  <a:pt x="356" y="704"/>
                  <a:pt x="356" y="702"/>
                </a:cubicBezTo>
                <a:close/>
                <a:moveTo>
                  <a:pt x="356" y="683"/>
                </a:moveTo>
                <a:cubicBezTo>
                  <a:pt x="356" y="682"/>
                  <a:pt x="357" y="683"/>
                  <a:pt x="357" y="683"/>
                </a:cubicBezTo>
                <a:cubicBezTo>
                  <a:pt x="358" y="684"/>
                  <a:pt x="355" y="683"/>
                  <a:pt x="356" y="683"/>
                </a:cubicBezTo>
                <a:close/>
                <a:moveTo>
                  <a:pt x="359" y="708"/>
                </a:moveTo>
                <a:cubicBezTo>
                  <a:pt x="360" y="710"/>
                  <a:pt x="356" y="709"/>
                  <a:pt x="356" y="708"/>
                </a:cubicBezTo>
                <a:cubicBezTo>
                  <a:pt x="356" y="707"/>
                  <a:pt x="359" y="707"/>
                  <a:pt x="359" y="708"/>
                </a:cubicBezTo>
                <a:close/>
                <a:moveTo>
                  <a:pt x="358" y="153"/>
                </a:moveTo>
                <a:cubicBezTo>
                  <a:pt x="356" y="152"/>
                  <a:pt x="359" y="153"/>
                  <a:pt x="358" y="153"/>
                </a:cubicBezTo>
                <a:close/>
                <a:moveTo>
                  <a:pt x="358" y="538"/>
                </a:moveTo>
                <a:cubicBezTo>
                  <a:pt x="358" y="539"/>
                  <a:pt x="357" y="539"/>
                  <a:pt x="357" y="539"/>
                </a:cubicBezTo>
                <a:cubicBezTo>
                  <a:pt x="356" y="538"/>
                  <a:pt x="357" y="537"/>
                  <a:pt x="358" y="538"/>
                </a:cubicBezTo>
                <a:close/>
                <a:moveTo>
                  <a:pt x="359" y="673"/>
                </a:moveTo>
                <a:cubicBezTo>
                  <a:pt x="360" y="674"/>
                  <a:pt x="356" y="674"/>
                  <a:pt x="356" y="673"/>
                </a:cubicBezTo>
                <a:cubicBezTo>
                  <a:pt x="357" y="673"/>
                  <a:pt x="358" y="672"/>
                  <a:pt x="359" y="673"/>
                </a:cubicBezTo>
                <a:close/>
                <a:moveTo>
                  <a:pt x="359" y="678"/>
                </a:moveTo>
                <a:cubicBezTo>
                  <a:pt x="359" y="678"/>
                  <a:pt x="356" y="681"/>
                  <a:pt x="355" y="681"/>
                </a:cubicBezTo>
                <a:cubicBezTo>
                  <a:pt x="354" y="682"/>
                  <a:pt x="349" y="681"/>
                  <a:pt x="349" y="680"/>
                </a:cubicBezTo>
                <a:cubicBezTo>
                  <a:pt x="348" y="680"/>
                  <a:pt x="348" y="677"/>
                  <a:pt x="348" y="675"/>
                </a:cubicBezTo>
                <a:cubicBezTo>
                  <a:pt x="349" y="674"/>
                  <a:pt x="352" y="674"/>
                  <a:pt x="355" y="675"/>
                </a:cubicBezTo>
                <a:cubicBezTo>
                  <a:pt x="356" y="675"/>
                  <a:pt x="359" y="677"/>
                  <a:pt x="359" y="678"/>
                </a:cubicBezTo>
                <a:close/>
                <a:moveTo>
                  <a:pt x="354" y="738"/>
                </a:moveTo>
                <a:cubicBezTo>
                  <a:pt x="355" y="738"/>
                  <a:pt x="356" y="738"/>
                  <a:pt x="356" y="739"/>
                </a:cubicBezTo>
                <a:cubicBezTo>
                  <a:pt x="357" y="741"/>
                  <a:pt x="353" y="739"/>
                  <a:pt x="354" y="738"/>
                </a:cubicBezTo>
                <a:close/>
                <a:moveTo>
                  <a:pt x="354" y="757"/>
                </a:moveTo>
                <a:cubicBezTo>
                  <a:pt x="354" y="757"/>
                  <a:pt x="356" y="757"/>
                  <a:pt x="356" y="757"/>
                </a:cubicBezTo>
                <a:cubicBezTo>
                  <a:pt x="357" y="759"/>
                  <a:pt x="353" y="759"/>
                  <a:pt x="354" y="757"/>
                </a:cubicBezTo>
                <a:close/>
                <a:moveTo>
                  <a:pt x="349" y="683"/>
                </a:moveTo>
                <a:cubicBezTo>
                  <a:pt x="350" y="681"/>
                  <a:pt x="354" y="683"/>
                  <a:pt x="354" y="685"/>
                </a:cubicBezTo>
                <a:cubicBezTo>
                  <a:pt x="355" y="688"/>
                  <a:pt x="347" y="685"/>
                  <a:pt x="349" y="683"/>
                </a:cubicBezTo>
                <a:close/>
                <a:moveTo>
                  <a:pt x="348" y="704"/>
                </a:moveTo>
                <a:cubicBezTo>
                  <a:pt x="350" y="703"/>
                  <a:pt x="349" y="705"/>
                  <a:pt x="348" y="704"/>
                </a:cubicBezTo>
                <a:close/>
                <a:moveTo>
                  <a:pt x="352" y="646"/>
                </a:moveTo>
                <a:cubicBezTo>
                  <a:pt x="355" y="644"/>
                  <a:pt x="355" y="648"/>
                  <a:pt x="352" y="646"/>
                </a:cubicBezTo>
                <a:close/>
                <a:moveTo>
                  <a:pt x="354" y="388"/>
                </a:moveTo>
                <a:cubicBezTo>
                  <a:pt x="354" y="388"/>
                  <a:pt x="355" y="389"/>
                  <a:pt x="355" y="389"/>
                </a:cubicBezTo>
                <a:cubicBezTo>
                  <a:pt x="355" y="390"/>
                  <a:pt x="354" y="389"/>
                  <a:pt x="354" y="388"/>
                </a:cubicBezTo>
                <a:close/>
                <a:moveTo>
                  <a:pt x="354" y="626"/>
                </a:moveTo>
                <a:cubicBezTo>
                  <a:pt x="354" y="629"/>
                  <a:pt x="352" y="631"/>
                  <a:pt x="350" y="630"/>
                </a:cubicBezTo>
                <a:cubicBezTo>
                  <a:pt x="350" y="630"/>
                  <a:pt x="349" y="629"/>
                  <a:pt x="349" y="629"/>
                </a:cubicBezTo>
                <a:cubicBezTo>
                  <a:pt x="348" y="630"/>
                  <a:pt x="348" y="632"/>
                  <a:pt x="346" y="632"/>
                </a:cubicBezTo>
                <a:cubicBezTo>
                  <a:pt x="343" y="632"/>
                  <a:pt x="342" y="629"/>
                  <a:pt x="341" y="626"/>
                </a:cubicBezTo>
                <a:cubicBezTo>
                  <a:pt x="341" y="626"/>
                  <a:pt x="340" y="625"/>
                  <a:pt x="339" y="624"/>
                </a:cubicBezTo>
                <a:cubicBezTo>
                  <a:pt x="340" y="625"/>
                  <a:pt x="339" y="621"/>
                  <a:pt x="340" y="621"/>
                </a:cubicBezTo>
                <a:cubicBezTo>
                  <a:pt x="340" y="621"/>
                  <a:pt x="341" y="621"/>
                  <a:pt x="341" y="621"/>
                </a:cubicBezTo>
                <a:cubicBezTo>
                  <a:pt x="342" y="621"/>
                  <a:pt x="341" y="619"/>
                  <a:pt x="342" y="619"/>
                </a:cubicBezTo>
                <a:cubicBezTo>
                  <a:pt x="348" y="618"/>
                  <a:pt x="354" y="623"/>
                  <a:pt x="354" y="626"/>
                </a:cubicBezTo>
                <a:close/>
                <a:moveTo>
                  <a:pt x="346" y="657"/>
                </a:moveTo>
                <a:cubicBezTo>
                  <a:pt x="347" y="656"/>
                  <a:pt x="348" y="658"/>
                  <a:pt x="346" y="657"/>
                </a:cubicBezTo>
                <a:close/>
                <a:moveTo>
                  <a:pt x="341" y="652"/>
                </a:moveTo>
                <a:cubicBezTo>
                  <a:pt x="342" y="652"/>
                  <a:pt x="344" y="653"/>
                  <a:pt x="344" y="653"/>
                </a:cubicBezTo>
                <a:cubicBezTo>
                  <a:pt x="344" y="655"/>
                  <a:pt x="340" y="654"/>
                  <a:pt x="341" y="652"/>
                </a:cubicBezTo>
                <a:close/>
                <a:moveTo>
                  <a:pt x="332" y="599"/>
                </a:moveTo>
                <a:cubicBezTo>
                  <a:pt x="331" y="600"/>
                  <a:pt x="329" y="598"/>
                  <a:pt x="328" y="598"/>
                </a:cubicBezTo>
                <a:cubicBezTo>
                  <a:pt x="330" y="597"/>
                  <a:pt x="331" y="599"/>
                  <a:pt x="332" y="599"/>
                </a:cubicBezTo>
                <a:close/>
                <a:moveTo>
                  <a:pt x="328" y="470"/>
                </a:moveTo>
                <a:cubicBezTo>
                  <a:pt x="328" y="470"/>
                  <a:pt x="329" y="470"/>
                  <a:pt x="329" y="471"/>
                </a:cubicBezTo>
                <a:cubicBezTo>
                  <a:pt x="330" y="473"/>
                  <a:pt x="326" y="471"/>
                  <a:pt x="328" y="470"/>
                </a:cubicBezTo>
                <a:close/>
                <a:moveTo>
                  <a:pt x="331" y="572"/>
                </a:moveTo>
                <a:cubicBezTo>
                  <a:pt x="331" y="573"/>
                  <a:pt x="331" y="573"/>
                  <a:pt x="331" y="573"/>
                </a:cubicBezTo>
                <a:cubicBezTo>
                  <a:pt x="331" y="573"/>
                  <a:pt x="331" y="573"/>
                  <a:pt x="331" y="573"/>
                </a:cubicBezTo>
                <a:cubicBezTo>
                  <a:pt x="331" y="572"/>
                  <a:pt x="331" y="572"/>
                  <a:pt x="331" y="572"/>
                </a:cubicBezTo>
                <a:close/>
                <a:moveTo>
                  <a:pt x="334" y="652"/>
                </a:moveTo>
                <a:cubicBezTo>
                  <a:pt x="335" y="654"/>
                  <a:pt x="331" y="654"/>
                  <a:pt x="331" y="652"/>
                </a:cubicBezTo>
                <a:cubicBezTo>
                  <a:pt x="332" y="651"/>
                  <a:pt x="333" y="652"/>
                  <a:pt x="334" y="652"/>
                </a:cubicBezTo>
                <a:close/>
                <a:moveTo>
                  <a:pt x="334" y="375"/>
                </a:moveTo>
                <a:cubicBezTo>
                  <a:pt x="333" y="374"/>
                  <a:pt x="334" y="377"/>
                  <a:pt x="334" y="375"/>
                </a:cubicBezTo>
                <a:close/>
                <a:moveTo>
                  <a:pt x="331" y="609"/>
                </a:moveTo>
                <a:cubicBezTo>
                  <a:pt x="332" y="609"/>
                  <a:pt x="332" y="611"/>
                  <a:pt x="331" y="609"/>
                </a:cubicBezTo>
                <a:close/>
                <a:moveTo>
                  <a:pt x="331" y="720"/>
                </a:moveTo>
                <a:cubicBezTo>
                  <a:pt x="336" y="719"/>
                  <a:pt x="336" y="723"/>
                  <a:pt x="331" y="720"/>
                </a:cubicBezTo>
                <a:close/>
                <a:moveTo>
                  <a:pt x="332" y="660"/>
                </a:moveTo>
                <a:cubicBezTo>
                  <a:pt x="333" y="659"/>
                  <a:pt x="335" y="661"/>
                  <a:pt x="337" y="662"/>
                </a:cubicBezTo>
                <a:cubicBezTo>
                  <a:pt x="335" y="663"/>
                  <a:pt x="333" y="661"/>
                  <a:pt x="332" y="660"/>
                </a:cubicBezTo>
                <a:close/>
                <a:moveTo>
                  <a:pt x="334" y="653"/>
                </a:moveTo>
                <a:cubicBezTo>
                  <a:pt x="334" y="651"/>
                  <a:pt x="339" y="651"/>
                  <a:pt x="339" y="653"/>
                </a:cubicBezTo>
                <a:cubicBezTo>
                  <a:pt x="340" y="657"/>
                  <a:pt x="334" y="655"/>
                  <a:pt x="334" y="653"/>
                </a:cubicBezTo>
                <a:close/>
                <a:moveTo>
                  <a:pt x="337" y="184"/>
                </a:moveTo>
                <a:cubicBezTo>
                  <a:pt x="338" y="185"/>
                  <a:pt x="336" y="183"/>
                  <a:pt x="337" y="184"/>
                </a:cubicBezTo>
                <a:close/>
                <a:moveTo>
                  <a:pt x="338" y="594"/>
                </a:moveTo>
                <a:cubicBezTo>
                  <a:pt x="339" y="594"/>
                  <a:pt x="337" y="594"/>
                  <a:pt x="337" y="594"/>
                </a:cubicBezTo>
                <a:cubicBezTo>
                  <a:pt x="337" y="593"/>
                  <a:pt x="338" y="593"/>
                  <a:pt x="338" y="594"/>
                </a:cubicBezTo>
                <a:close/>
                <a:moveTo>
                  <a:pt x="337" y="603"/>
                </a:moveTo>
                <a:cubicBezTo>
                  <a:pt x="338" y="605"/>
                  <a:pt x="334" y="603"/>
                  <a:pt x="335" y="602"/>
                </a:cubicBezTo>
                <a:cubicBezTo>
                  <a:pt x="336" y="601"/>
                  <a:pt x="337" y="602"/>
                  <a:pt x="337" y="603"/>
                </a:cubicBezTo>
                <a:close/>
                <a:moveTo>
                  <a:pt x="342" y="350"/>
                </a:moveTo>
                <a:cubicBezTo>
                  <a:pt x="343" y="353"/>
                  <a:pt x="337" y="349"/>
                  <a:pt x="339" y="348"/>
                </a:cubicBezTo>
                <a:cubicBezTo>
                  <a:pt x="340" y="347"/>
                  <a:pt x="342" y="350"/>
                  <a:pt x="342" y="350"/>
                </a:cubicBezTo>
                <a:close/>
                <a:moveTo>
                  <a:pt x="339" y="147"/>
                </a:moveTo>
                <a:cubicBezTo>
                  <a:pt x="340" y="146"/>
                  <a:pt x="343" y="150"/>
                  <a:pt x="340" y="149"/>
                </a:cubicBezTo>
                <a:cubicBezTo>
                  <a:pt x="340" y="148"/>
                  <a:pt x="339" y="148"/>
                  <a:pt x="339" y="147"/>
                </a:cubicBezTo>
                <a:close/>
                <a:moveTo>
                  <a:pt x="340" y="607"/>
                </a:moveTo>
                <a:cubicBezTo>
                  <a:pt x="343" y="607"/>
                  <a:pt x="340" y="609"/>
                  <a:pt x="340" y="607"/>
                </a:cubicBezTo>
                <a:close/>
                <a:moveTo>
                  <a:pt x="339" y="475"/>
                </a:moveTo>
                <a:cubicBezTo>
                  <a:pt x="340" y="474"/>
                  <a:pt x="341" y="475"/>
                  <a:pt x="341" y="475"/>
                </a:cubicBezTo>
                <a:cubicBezTo>
                  <a:pt x="342" y="477"/>
                  <a:pt x="339" y="476"/>
                  <a:pt x="339" y="475"/>
                </a:cubicBezTo>
                <a:close/>
                <a:moveTo>
                  <a:pt x="339" y="735"/>
                </a:moveTo>
                <a:cubicBezTo>
                  <a:pt x="340" y="735"/>
                  <a:pt x="340" y="736"/>
                  <a:pt x="339" y="735"/>
                </a:cubicBezTo>
                <a:cubicBezTo>
                  <a:pt x="339" y="735"/>
                  <a:pt x="339" y="735"/>
                  <a:pt x="339" y="735"/>
                </a:cubicBezTo>
                <a:close/>
                <a:moveTo>
                  <a:pt x="344" y="348"/>
                </a:moveTo>
                <a:cubicBezTo>
                  <a:pt x="344" y="348"/>
                  <a:pt x="343" y="346"/>
                  <a:pt x="344" y="347"/>
                </a:cubicBezTo>
                <a:cubicBezTo>
                  <a:pt x="344" y="347"/>
                  <a:pt x="345" y="348"/>
                  <a:pt x="344" y="348"/>
                </a:cubicBezTo>
                <a:close/>
                <a:moveTo>
                  <a:pt x="346" y="610"/>
                </a:moveTo>
                <a:cubicBezTo>
                  <a:pt x="345" y="612"/>
                  <a:pt x="344" y="609"/>
                  <a:pt x="342" y="609"/>
                </a:cubicBezTo>
                <a:cubicBezTo>
                  <a:pt x="344" y="608"/>
                  <a:pt x="345" y="610"/>
                  <a:pt x="346" y="610"/>
                </a:cubicBezTo>
                <a:close/>
                <a:moveTo>
                  <a:pt x="344" y="176"/>
                </a:moveTo>
                <a:cubicBezTo>
                  <a:pt x="343" y="176"/>
                  <a:pt x="343" y="176"/>
                  <a:pt x="342" y="175"/>
                </a:cubicBezTo>
                <a:cubicBezTo>
                  <a:pt x="341" y="174"/>
                  <a:pt x="344" y="174"/>
                  <a:pt x="344" y="176"/>
                </a:cubicBezTo>
                <a:close/>
                <a:moveTo>
                  <a:pt x="347" y="192"/>
                </a:moveTo>
                <a:cubicBezTo>
                  <a:pt x="347" y="192"/>
                  <a:pt x="347" y="192"/>
                  <a:pt x="347" y="192"/>
                </a:cubicBezTo>
                <a:cubicBezTo>
                  <a:pt x="347" y="192"/>
                  <a:pt x="347" y="192"/>
                  <a:pt x="347" y="192"/>
                </a:cubicBezTo>
                <a:close/>
                <a:moveTo>
                  <a:pt x="348" y="594"/>
                </a:moveTo>
                <a:cubicBezTo>
                  <a:pt x="348" y="593"/>
                  <a:pt x="349" y="594"/>
                  <a:pt x="349" y="594"/>
                </a:cubicBezTo>
                <a:cubicBezTo>
                  <a:pt x="350" y="596"/>
                  <a:pt x="347" y="595"/>
                  <a:pt x="348" y="594"/>
                </a:cubicBezTo>
                <a:close/>
                <a:moveTo>
                  <a:pt x="348" y="564"/>
                </a:moveTo>
                <a:cubicBezTo>
                  <a:pt x="349" y="563"/>
                  <a:pt x="351" y="564"/>
                  <a:pt x="351" y="565"/>
                </a:cubicBezTo>
                <a:cubicBezTo>
                  <a:pt x="352" y="569"/>
                  <a:pt x="347" y="566"/>
                  <a:pt x="348" y="564"/>
                </a:cubicBezTo>
                <a:close/>
                <a:moveTo>
                  <a:pt x="349" y="471"/>
                </a:moveTo>
                <a:cubicBezTo>
                  <a:pt x="350" y="472"/>
                  <a:pt x="349" y="470"/>
                  <a:pt x="349" y="471"/>
                </a:cubicBezTo>
                <a:close/>
                <a:moveTo>
                  <a:pt x="348" y="85"/>
                </a:moveTo>
                <a:cubicBezTo>
                  <a:pt x="349" y="85"/>
                  <a:pt x="350" y="87"/>
                  <a:pt x="351" y="87"/>
                </a:cubicBezTo>
                <a:cubicBezTo>
                  <a:pt x="350" y="87"/>
                  <a:pt x="349" y="86"/>
                  <a:pt x="348" y="85"/>
                </a:cubicBezTo>
                <a:close/>
                <a:moveTo>
                  <a:pt x="330" y="414"/>
                </a:moveTo>
                <a:cubicBezTo>
                  <a:pt x="331" y="414"/>
                  <a:pt x="331" y="415"/>
                  <a:pt x="330" y="416"/>
                </a:cubicBezTo>
                <a:cubicBezTo>
                  <a:pt x="325" y="416"/>
                  <a:pt x="329" y="409"/>
                  <a:pt x="330" y="414"/>
                </a:cubicBezTo>
                <a:close/>
                <a:moveTo>
                  <a:pt x="328" y="177"/>
                </a:moveTo>
                <a:cubicBezTo>
                  <a:pt x="328" y="176"/>
                  <a:pt x="329" y="178"/>
                  <a:pt x="328" y="177"/>
                </a:cubicBezTo>
                <a:close/>
                <a:moveTo>
                  <a:pt x="328" y="658"/>
                </a:moveTo>
                <a:cubicBezTo>
                  <a:pt x="327" y="658"/>
                  <a:pt x="326" y="657"/>
                  <a:pt x="326" y="657"/>
                </a:cubicBezTo>
                <a:cubicBezTo>
                  <a:pt x="327" y="657"/>
                  <a:pt x="327" y="657"/>
                  <a:pt x="328" y="658"/>
                </a:cubicBezTo>
                <a:close/>
                <a:moveTo>
                  <a:pt x="326" y="743"/>
                </a:moveTo>
                <a:cubicBezTo>
                  <a:pt x="325" y="744"/>
                  <a:pt x="324" y="742"/>
                  <a:pt x="326" y="743"/>
                </a:cubicBezTo>
                <a:close/>
                <a:moveTo>
                  <a:pt x="325" y="755"/>
                </a:moveTo>
                <a:cubicBezTo>
                  <a:pt x="325" y="755"/>
                  <a:pt x="326" y="755"/>
                  <a:pt x="326" y="756"/>
                </a:cubicBezTo>
                <a:cubicBezTo>
                  <a:pt x="326" y="758"/>
                  <a:pt x="324" y="753"/>
                  <a:pt x="325" y="755"/>
                </a:cubicBezTo>
                <a:close/>
                <a:moveTo>
                  <a:pt x="325" y="738"/>
                </a:moveTo>
                <a:cubicBezTo>
                  <a:pt x="325" y="737"/>
                  <a:pt x="327" y="737"/>
                  <a:pt x="327" y="738"/>
                </a:cubicBezTo>
                <a:cubicBezTo>
                  <a:pt x="328" y="739"/>
                  <a:pt x="326" y="738"/>
                  <a:pt x="325" y="738"/>
                </a:cubicBezTo>
                <a:close/>
                <a:moveTo>
                  <a:pt x="325" y="124"/>
                </a:moveTo>
                <a:cubicBezTo>
                  <a:pt x="325" y="124"/>
                  <a:pt x="325" y="124"/>
                  <a:pt x="325" y="124"/>
                </a:cubicBezTo>
                <a:cubicBezTo>
                  <a:pt x="323" y="123"/>
                  <a:pt x="328" y="123"/>
                  <a:pt x="325" y="124"/>
                </a:cubicBezTo>
                <a:close/>
                <a:moveTo>
                  <a:pt x="326" y="382"/>
                </a:moveTo>
                <a:cubicBezTo>
                  <a:pt x="326" y="383"/>
                  <a:pt x="325" y="381"/>
                  <a:pt x="326" y="382"/>
                </a:cubicBezTo>
                <a:close/>
                <a:moveTo>
                  <a:pt x="326" y="596"/>
                </a:moveTo>
                <a:cubicBezTo>
                  <a:pt x="327" y="597"/>
                  <a:pt x="323" y="595"/>
                  <a:pt x="324" y="595"/>
                </a:cubicBezTo>
                <a:cubicBezTo>
                  <a:pt x="325" y="594"/>
                  <a:pt x="326" y="596"/>
                  <a:pt x="326" y="596"/>
                </a:cubicBezTo>
                <a:close/>
                <a:moveTo>
                  <a:pt x="326" y="759"/>
                </a:moveTo>
                <a:cubicBezTo>
                  <a:pt x="327" y="760"/>
                  <a:pt x="323" y="760"/>
                  <a:pt x="324" y="758"/>
                </a:cubicBezTo>
                <a:cubicBezTo>
                  <a:pt x="324" y="758"/>
                  <a:pt x="326" y="758"/>
                  <a:pt x="326" y="759"/>
                </a:cubicBezTo>
                <a:close/>
                <a:moveTo>
                  <a:pt x="321" y="769"/>
                </a:moveTo>
                <a:cubicBezTo>
                  <a:pt x="321" y="768"/>
                  <a:pt x="323" y="769"/>
                  <a:pt x="323" y="769"/>
                </a:cubicBezTo>
                <a:cubicBezTo>
                  <a:pt x="323" y="770"/>
                  <a:pt x="322" y="769"/>
                  <a:pt x="321" y="769"/>
                </a:cubicBezTo>
                <a:close/>
                <a:moveTo>
                  <a:pt x="323" y="770"/>
                </a:moveTo>
                <a:cubicBezTo>
                  <a:pt x="324" y="768"/>
                  <a:pt x="330" y="767"/>
                  <a:pt x="330" y="770"/>
                </a:cubicBezTo>
                <a:cubicBezTo>
                  <a:pt x="330" y="773"/>
                  <a:pt x="323" y="772"/>
                  <a:pt x="323" y="770"/>
                </a:cubicBezTo>
                <a:close/>
                <a:moveTo>
                  <a:pt x="336" y="777"/>
                </a:moveTo>
                <a:cubicBezTo>
                  <a:pt x="337" y="778"/>
                  <a:pt x="335" y="776"/>
                  <a:pt x="336" y="777"/>
                </a:cubicBezTo>
                <a:close/>
                <a:moveTo>
                  <a:pt x="326" y="757"/>
                </a:moveTo>
                <a:cubicBezTo>
                  <a:pt x="327" y="757"/>
                  <a:pt x="326" y="754"/>
                  <a:pt x="326" y="755"/>
                </a:cubicBezTo>
                <a:cubicBezTo>
                  <a:pt x="326" y="753"/>
                  <a:pt x="333" y="752"/>
                  <a:pt x="335" y="754"/>
                </a:cubicBezTo>
                <a:cubicBezTo>
                  <a:pt x="335" y="754"/>
                  <a:pt x="336" y="757"/>
                  <a:pt x="337" y="757"/>
                </a:cubicBezTo>
                <a:cubicBezTo>
                  <a:pt x="336" y="758"/>
                  <a:pt x="328" y="759"/>
                  <a:pt x="326" y="757"/>
                </a:cubicBezTo>
                <a:close/>
                <a:moveTo>
                  <a:pt x="335" y="748"/>
                </a:moveTo>
                <a:cubicBezTo>
                  <a:pt x="335" y="747"/>
                  <a:pt x="337" y="747"/>
                  <a:pt x="337" y="748"/>
                </a:cubicBezTo>
                <a:cubicBezTo>
                  <a:pt x="338" y="749"/>
                  <a:pt x="336" y="749"/>
                  <a:pt x="335" y="748"/>
                </a:cubicBezTo>
                <a:close/>
                <a:moveTo>
                  <a:pt x="328" y="744"/>
                </a:moveTo>
                <a:cubicBezTo>
                  <a:pt x="328" y="743"/>
                  <a:pt x="329" y="742"/>
                  <a:pt x="329" y="741"/>
                </a:cubicBezTo>
                <a:cubicBezTo>
                  <a:pt x="329" y="742"/>
                  <a:pt x="332" y="740"/>
                  <a:pt x="332" y="740"/>
                </a:cubicBezTo>
                <a:cubicBezTo>
                  <a:pt x="334" y="740"/>
                  <a:pt x="339" y="741"/>
                  <a:pt x="337" y="745"/>
                </a:cubicBezTo>
                <a:cubicBezTo>
                  <a:pt x="336" y="748"/>
                  <a:pt x="329" y="746"/>
                  <a:pt x="328" y="744"/>
                </a:cubicBezTo>
                <a:close/>
                <a:moveTo>
                  <a:pt x="339" y="774"/>
                </a:moveTo>
                <a:cubicBezTo>
                  <a:pt x="339" y="773"/>
                  <a:pt x="337" y="773"/>
                  <a:pt x="337" y="772"/>
                </a:cubicBezTo>
                <a:cubicBezTo>
                  <a:pt x="338" y="770"/>
                  <a:pt x="344" y="770"/>
                  <a:pt x="344" y="772"/>
                </a:cubicBezTo>
                <a:cubicBezTo>
                  <a:pt x="345" y="775"/>
                  <a:pt x="339" y="775"/>
                  <a:pt x="339" y="774"/>
                </a:cubicBezTo>
                <a:close/>
                <a:moveTo>
                  <a:pt x="353" y="716"/>
                </a:moveTo>
                <a:cubicBezTo>
                  <a:pt x="351" y="716"/>
                  <a:pt x="346" y="715"/>
                  <a:pt x="345" y="713"/>
                </a:cubicBezTo>
                <a:cubicBezTo>
                  <a:pt x="348" y="714"/>
                  <a:pt x="350" y="715"/>
                  <a:pt x="353" y="716"/>
                </a:cubicBezTo>
                <a:close/>
                <a:moveTo>
                  <a:pt x="345" y="744"/>
                </a:moveTo>
                <a:cubicBezTo>
                  <a:pt x="345" y="743"/>
                  <a:pt x="348" y="743"/>
                  <a:pt x="348" y="744"/>
                </a:cubicBezTo>
                <a:cubicBezTo>
                  <a:pt x="349" y="745"/>
                  <a:pt x="345" y="744"/>
                  <a:pt x="345" y="744"/>
                </a:cubicBezTo>
                <a:close/>
                <a:moveTo>
                  <a:pt x="345" y="734"/>
                </a:moveTo>
                <a:cubicBezTo>
                  <a:pt x="346" y="733"/>
                  <a:pt x="349" y="733"/>
                  <a:pt x="349" y="735"/>
                </a:cubicBezTo>
                <a:cubicBezTo>
                  <a:pt x="350" y="737"/>
                  <a:pt x="345" y="735"/>
                  <a:pt x="345" y="734"/>
                </a:cubicBezTo>
                <a:close/>
                <a:moveTo>
                  <a:pt x="349" y="764"/>
                </a:moveTo>
                <a:cubicBezTo>
                  <a:pt x="349" y="763"/>
                  <a:pt x="350" y="763"/>
                  <a:pt x="350" y="764"/>
                </a:cubicBezTo>
                <a:cubicBezTo>
                  <a:pt x="351" y="764"/>
                  <a:pt x="349" y="765"/>
                  <a:pt x="349" y="764"/>
                </a:cubicBezTo>
                <a:close/>
                <a:moveTo>
                  <a:pt x="350" y="725"/>
                </a:moveTo>
                <a:cubicBezTo>
                  <a:pt x="350" y="724"/>
                  <a:pt x="353" y="724"/>
                  <a:pt x="354" y="725"/>
                </a:cubicBezTo>
                <a:cubicBezTo>
                  <a:pt x="355" y="727"/>
                  <a:pt x="350" y="727"/>
                  <a:pt x="350" y="725"/>
                </a:cubicBezTo>
                <a:close/>
                <a:moveTo>
                  <a:pt x="353" y="770"/>
                </a:moveTo>
                <a:cubicBezTo>
                  <a:pt x="353" y="769"/>
                  <a:pt x="358" y="767"/>
                  <a:pt x="359" y="769"/>
                </a:cubicBezTo>
                <a:cubicBezTo>
                  <a:pt x="359" y="772"/>
                  <a:pt x="354" y="771"/>
                  <a:pt x="353" y="770"/>
                </a:cubicBezTo>
                <a:close/>
                <a:moveTo>
                  <a:pt x="359" y="772"/>
                </a:moveTo>
                <a:cubicBezTo>
                  <a:pt x="359" y="772"/>
                  <a:pt x="359" y="771"/>
                  <a:pt x="360" y="771"/>
                </a:cubicBezTo>
                <a:cubicBezTo>
                  <a:pt x="360" y="771"/>
                  <a:pt x="359" y="772"/>
                  <a:pt x="359" y="772"/>
                </a:cubicBezTo>
                <a:close/>
                <a:moveTo>
                  <a:pt x="360" y="723"/>
                </a:moveTo>
                <a:cubicBezTo>
                  <a:pt x="360" y="723"/>
                  <a:pt x="360" y="723"/>
                  <a:pt x="360" y="723"/>
                </a:cubicBezTo>
                <a:cubicBezTo>
                  <a:pt x="360" y="723"/>
                  <a:pt x="359" y="722"/>
                  <a:pt x="360" y="723"/>
                </a:cubicBezTo>
                <a:close/>
                <a:moveTo>
                  <a:pt x="361" y="721"/>
                </a:moveTo>
                <a:cubicBezTo>
                  <a:pt x="363" y="719"/>
                  <a:pt x="365" y="722"/>
                  <a:pt x="361" y="721"/>
                </a:cubicBezTo>
                <a:close/>
                <a:moveTo>
                  <a:pt x="356" y="717"/>
                </a:moveTo>
                <a:cubicBezTo>
                  <a:pt x="358" y="718"/>
                  <a:pt x="362" y="717"/>
                  <a:pt x="364" y="719"/>
                </a:cubicBezTo>
                <a:cubicBezTo>
                  <a:pt x="367" y="721"/>
                  <a:pt x="356" y="719"/>
                  <a:pt x="356" y="717"/>
                </a:cubicBezTo>
                <a:close/>
                <a:moveTo>
                  <a:pt x="365" y="760"/>
                </a:moveTo>
                <a:cubicBezTo>
                  <a:pt x="364" y="760"/>
                  <a:pt x="365" y="759"/>
                  <a:pt x="366" y="760"/>
                </a:cubicBezTo>
                <a:cubicBezTo>
                  <a:pt x="366" y="760"/>
                  <a:pt x="365" y="760"/>
                  <a:pt x="365" y="760"/>
                </a:cubicBezTo>
                <a:close/>
                <a:moveTo>
                  <a:pt x="368" y="740"/>
                </a:moveTo>
                <a:cubicBezTo>
                  <a:pt x="368" y="740"/>
                  <a:pt x="369" y="739"/>
                  <a:pt x="369" y="740"/>
                </a:cubicBezTo>
                <a:cubicBezTo>
                  <a:pt x="370" y="741"/>
                  <a:pt x="368" y="741"/>
                  <a:pt x="368" y="740"/>
                </a:cubicBezTo>
                <a:close/>
                <a:moveTo>
                  <a:pt x="364" y="737"/>
                </a:moveTo>
                <a:cubicBezTo>
                  <a:pt x="364" y="735"/>
                  <a:pt x="369" y="735"/>
                  <a:pt x="369" y="737"/>
                </a:cubicBezTo>
                <a:cubicBezTo>
                  <a:pt x="371" y="739"/>
                  <a:pt x="364" y="738"/>
                  <a:pt x="364" y="737"/>
                </a:cubicBezTo>
                <a:close/>
                <a:moveTo>
                  <a:pt x="370" y="740"/>
                </a:moveTo>
                <a:cubicBezTo>
                  <a:pt x="370" y="739"/>
                  <a:pt x="372" y="739"/>
                  <a:pt x="373" y="740"/>
                </a:cubicBezTo>
                <a:cubicBezTo>
                  <a:pt x="374" y="741"/>
                  <a:pt x="370" y="741"/>
                  <a:pt x="370" y="740"/>
                </a:cubicBezTo>
                <a:close/>
                <a:moveTo>
                  <a:pt x="371" y="748"/>
                </a:moveTo>
                <a:cubicBezTo>
                  <a:pt x="371" y="748"/>
                  <a:pt x="372" y="747"/>
                  <a:pt x="373" y="748"/>
                </a:cubicBezTo>
                <a:cubicBezTo>
                  <a:pt x="374" y="750"/>
                  <a:pt x="371" y="749"/>
                  <a:pt x="371" y="748"/>
                </a:cubicBezTo>
                <a:close/>
                <a:moveTo>
                  <a:pt x="373" y="754"/>
                </a:moveTo>
                <a:cubicBezTo>
                  <a:pt x="373" y="753"/>
                  <a:pt x="375" y="755"/>
                  <a:pt x="373" y="754"/>
                </a:cubicBezTo>
                <a:close/>
                <a:moveTo>
                  <a:pt x="375" y="726"/>
                </a:moveTo>
                <a:cubicBezTo>
                  <a:pt x="376" y="725"/>
                  <a:pt x="376" y="728"/>
                  <a:pt x="375" y="726"/>
                </a:cubicBezTo>
                <a:close/>
                <a:moveTo>
                  <a:pt x="375" y="708"/>
                </a:moveTo>
                <a:cubicBezTo>
                  <a:pt x="378" y="708"/>
                  <a:pt x="375" y="710"/>
                  <a:pt x="375" y="708"/>
                </a:cubicBezTo>
                <a:close/>
                <a:moveTo>
                  <a:pt x="376" y="704"/>
                </a:moveTo>
                <a:cubicBezTo>
                  <a:pt x="377" y="703"/>
                  <a:pt x="380" y="704"/>
                  <a:pt x="380" y="706"/>
                </a:cubicBezTo>
                <a:cubicBezTo>
                  <a:pt x="381" y="709"/>
                  <a:pt x="375" y="706"/>
                  <a:pt x="376" y="704"/>
                </a:cubicBezTo>
                <a:close/>
                <a:moveTo>
                  <a:pt x="380" y="746"/>
                </a:moveTo>
                <a:cubicBezTo>
                  <a:pt x="380" y="747"/>
                  <a:pt x="378" y="746"/>
                  <a:pt x="379" y="746"/>
                </a:cubicBezTo>
                <a:cubicBezTo>
                  <a:pt x="380" y="745"/>
                  <a:pt x="380" y="746"/>
                  <a:pt x="380" y="746"/>
                </a:cubicBezTo>
                <a:close/>
                <a:moveTo>
                  <a:pt x="378" y="716"/>
                </a:moveTo>
                <a:cubicBezTo>
                  <a:pt x="378" y="716"/>
                  <a:pt x="378" y="715"/>
                  <a:pt x="379" y="715"/>
                </a:cubicBezTo>
                <a:cubicBezTo>
                  <a:pt x="382" y="714"/>
                  <a:pt x="380" y="718"/>
                  <a:pt x="378" y="716"/>
                </a:cubicBezTo>
                <a:close/>
                <a:moveTo>
                  <a:pt x="380" y="749"/>
                </a:moveTo>
                <a:cubicBezTo>
                  <a:pt x="380" y="749"/>
                  <a:pt x="381" y="748"/>
                  <a:pt x="382" y="748"/>
                </a:cubicBezTo>
                <a:cubicBezTo>
                  <a:pt x="383" y="749"/>
                  <a:pt x="380" y="750"/>
                  <a:pt x="380" y="749"/>
                </a:cubicBezTo>
                <a:close/>
                <a:moveTo>
                  <a:pt x="381" y="734"/>
                </a:moveTo>
                <a:cubicBezTo>
                  <a:pt x="382" y="734"/>
                  <a:pt x="383" y="734"/>
                  <a:pt x="383" y="735"/>
                </a:cubicBezTo>
                <a:cubicBezTo>
                  <a:pt x="384" y="738"/>
                  <a:pt x="378" y="736"/>
                  <a:pt x="381" y="734"/>
                </a:cubicBezTo>
                <a:close/>
                <a:moveTo>
                  <a:pt x="384" y="754"/>
                </a:moveTo>
                <a:cubicBezTo>
                  <a:pt x="384" y="754"/>
                  <a:pt x="384" y="754"/>
                  <a:pt x="385" y="754"/>
                </a:cubicBezTo>
                <a:cubicBezTo>
                  <a:pt x="385" y="755"/>
                  <a:pt x="384" y="755"/>
                  <a:pt x="384" y="754"/>
                </a:cubicBezTo>
                <a:close/>
                <a:moveTo>
                  <a:pt x="386" y="712"/>
                </a:moveTo>
                <a:cubicBezTo>
                  <a:pt x="386" y="712"/>
                  <a:pt x="386" y="712"/>
                  <a:pt x="386" y="712"/>
                </a:cubicBezTo>
                <a:cubicBezTo>
                  <a:pt x="388" y="712"/>
                  <a:pt x="387" y="713"/>
                  <a:pt x="386" y="712"/>
                </a:cubicBezTo>
                <a:close/>
                <a:moveTo>
                  <a:pt x="387" y="722"/>
                </a:moveTo>
                <a:cubicBezTo>
                  <a:pt x="387" y="722"/>
                  <a:pt x="390" y="721"/>
                  <a:pt x="390" y="723"/>
                </a:cubicBezTo>
                <a:cubicBezTo>
                  <a:pt x="390" y="724"/>
                  <a:pt x="388" y="723"/>
                  <a:pt x="387" y="722"/>
                </a:cubicBezTo>
                <a:close/>
                <a:moveTo>
                  <a:pt x="389" y="709"/>
                </a:moveTo>
                <a:cubicBezTo>
                  <a:pt x="387" y="709"/>
                  <a:pt x="387" y="707"/>
                  <a:pt x="389" y="709"/>
                </a:cubicBezTo>
                <a:close/>
                <a:moveTo>
                  <a:pt x="391" y="719"/>
                </a:moveTo>
                <a:cubicBezTo>
                  <a:pt x="391" y="719"/>
                  <a:pt x="391" y="720"/>
                  <a:pt x="391" y="720"/>
                </a:cubicBezTo>
                <a:cubicBezTo>
                  <a:pt x="390" y="720"/>
                  <a:pt x="391" y="719"/>
                  <a:pt x="391" y="719"/>
                </a:cubicBezTo>
                <a:close/>
                <a:moveTo>
                  <a:pt x="391" y="736"/>
                </a:moveTo>
                <a:cubicBezTo>
                  <a:pt x="389" y="735"/>
                  <a:pt x="393" y="737"/>
                  <a:pt x="391" y="736"/>
                </a:cubicBezTo>
                <a:close/>
                <a:moveTo>
                  <a:pt x="390" y="565"/>
                </a:moveTo>
                <a:cubicBezTo>
                  <a:pt x="391" y="567"/>
                  <a:pt x="389" y="563"/>
                  <a:pt x="390" y="565"/>
                </a:cubicBezTo>
                <a:close/>
                <a:moveTo>
                  <a:pt x="390" y="396"/>
                </a:moveTo>
                <a:cubicBezTo>
                  <a:pt x="389" y="395"/>
                  <a:pt x="391" y="397"/>
                  <a:pt x="390" y="396"/>
                </a:cubicBezTo>
                <a:close/>
                <a:moveTo>
                  <a:pt x="398" y="675"/>
                </a:moveTo>
                <a:cubicBezTo>
                  <a:pt x="398" y="675"/>
                  <a:pt x="397" y="676"/>
                  <a:pt x="397" y="677"/>
                </a:cubicBezTo>
                <a:cubicBezTo>
                  <a:pt x="397" y="679"/>
                  <a:pt x="403" y="680"/>
                  <a:pt x="405" y="682"/>
                </a:cubicBezTo>
                <a:cubicBezTo>
                  <a:pt x="408" y="684"/>
                  <a:pt x="411" y="686"/>
                  <a:pt x="413" y="688"/>
                </a:cubicBezTo>
                <a:cubicBezTo>
                  <a:pt x="407" y="687"/>
                  <a:pt x="401" y="679"/>
                  <a:pt x="396" y="677"/>
                </a:cubicBezTo>
                <a:cubicBezTo>
                  <a:pt x="392" y="676"/>
                  <a:pt x="389" y="677"/>
                  <a:pt x="390" y="671"/>
                </a:cubicBezTo>
                <a:cubicBezTo>
                  <a:pt x="392" y="673"/>
                  <a:pt x="397" y="671"/>
                  <a:pt x="398" y="675"/>
                </a:cubicBezTo>
                <a:close/>
                <a:moveTo>
                  <a:pt x="391" y="523"/>
                </a:moveTo>
                <a:cubicBezTo>
                  <a:pt x="392" y="523"/>
                  <a:pt x="392" y="524"/>
                  <a:pt x="393" y="525"/>
                </a:cubicBezTo>
                <a:cubicBezTo>
                  <a:pt x="392" y="525"/>
                  <a:pt x="391" y="523"/>
                  <a:pt x="391" y="523"/>
                </a:cubicBezTo>
                <a:close/>
                <a:moveTo>
                  <a:pt x="402" y="645"/>
                </a:moveTo>
                <a:cubicBezTo>
                  <a:pt x="402" y="646"/>
                  <a:pt x="397" y="644"/>
                  <a:pt x="398" y="644"/>
                </a:cubicBezTo>
                <a:cubicBezTo>
                  <a:pt x="399" y="643"/>
                  <a:pt x="401" y="645"/>
                  <a:pt x="402" y="645"/>
                </a:cubicBezTo>
                <a:close/>
                <a:moveTo>
                  <a:pt x="401" y="387"/>
                </a:moveTo>
                <a:cubicBezTo>
                  <a:pt x="402" y="388"/>
                  <a:pt x="400" y="385"/>
                  <a:pt x="401" y="387"/>
                </a:cubicBezTo>
                <a:close/>
                <a:moveTo>
                  <a:pt x="408" y="130"/>
                </a:moveTo>
                <a:cubicBezTo>
                  <a:pt x="407" y="131"/>
                  <a:pt x="406" y="130"/>
                  <a:pt x="406" y="129"/>
                </a:cubicBezTo>
                <a:cubicBezTo>
                  <a:pt x="407" y="129"/>
                  <a:pt x="407" y="130"/>
                  <a:pt x="408" y="130"/>
                </a:cubicBezTo>
                <a:close/>
                <a:moveTo>
                  <a:pt x="406" y="94"/>
                </a:moveTo>
                <a:cubicBezTo>
                  <a:pt x="407" y="94"/>
                  <a:pt x="407" y="94"/>
                  <a:pt x="408" y="95"/>
                </a:cubicBezTo>
                <a:cubicBezTo>
                  <a:pt x="407" y="95"/>
                  <a:pt x="406" y="95"/>
                  <a:pt x="406" y="94"/>
                </a:cubicBezTo>
                <a:close/>
                <a:moveTo>
                  <a:pt x="412" y="602"/>
                </a:moveTo>
                <a:cubicBezTo>
                  <a:pt x="413" y="605"/>
                  <a:pt x="408" y="603"/>
                  <a:pt x="407" y="602"/>
                </a:cubicBezTo>
                <a:cubicBezTo>
                  <a:pt x="407" y="599"/>
                  <a:pt x="412" y="600"/>
                  <a:pt x="412" y="602"/>
                </a:cubicBezTo>
                <a:close/>
                <a:moveTo>
                  <a:pt x="409" y="131"/>
                </a:moveTo>
                <a:cubicBezTo>
                  <a:pt x="409" y="132"/>
                  <a:pt x="408" y="130"/>
                  <a:pt x="409" y="131"/>
                </a:cubicBezTo>
                <a:close/>
                <a:moveTo>
                  <a:pt x="421" y="663"/>
                </a:moveTo>
                <a:cubicBezTo>
                  <a:pt x="423" y="664"/>
                  <a:pt x="437" y="669"/>
                  <a:pt x="438" y="671"/>
                </a:cubicBezTo>
                <a:cubicBezTo>
                  <a:pt x="438" y="673"/>
                  <a:pt x="434" y="671"/>
                  <a:pt x="433" y="670"/>
                </a:cubicBezTo>
                <a:cubicBezTo>
                  <a:pt x="431" y="669"/>
                  <a:pt x="417" y="663"/>
                  <a:pt x="417" y="661"/>
                </a:cubicBezTo>
                <a:cubicBezTo>
                  <a:pt x="416" y="659"/>
                  <a:pt x="421" y="663"/>
                  <a:pt x="421" y="663"/>
                </a:cubicBezTo>
                <a:close/>
                <a:moveTo>
                  <a:pt x="420" y="624"/>
                </a:moveTo>
                <a:cubicBezTo>
                  <a:pt x="420" y="623"/>
                  <a:pt x="421" y="624"/>
                  <a:pt x="421" y="625"/>
                </a:cubicBezTo>
                <a:cubicBezTo>
                  <a:pt x="421" y="626"/>
                  <a:pt x="419" y="624"/>
                  <a:pt x="420" y="624"/>
                </a:cubicBezTo>
                <a:close/>
                <a:moveTo>
                  <a:pt x="422" y="659"/>
                </a:moveTo>
                <a:cubicBezTo>
                  <a:pt x="422" y="659"/>
                  <a:pt x="423" y="659"/>
                  <a:pt x="423" y="659"/>
                </a:cubicBezTo>
                <a:cubicBezTo>
                  <a:pt x="423" y="661"/>
                  <a:pt x="421" y="659"/>
                  <a:pt x="422" y="659"/>
                </a:cubicBezTo>
                <a:close/>
                <a:moveTo>
                  <a:pt x="435" y="515"/>
                </a:moveTo>
                <a:cubicBezTo>
                  <a:pt x="435" y="516"/>
                  <a:pt x="435" y="517"/>
                  <a:pt x="436" y="518"/>
                </a:cubicBezTo>
                <a:cubicBezTo>
                  <a:pt x="437" y="521"/>
                  <a:pt x="441" y="526"/>
                  <a:pt x="445" y="530"/>
                </a:cubicBezTo>
                <a:cubicBezTo>
                  <a:pt x="448" y="533"/>
                  <a:pt x="451" y="534"/>
                  <a:pt x="453" y="537"/>
                </a:cubicBezTo>
                <a:cubicBezTo>
                  <a:pt x="453" y="537"/>
                  <a:pt x="453" y="538"/>
                  <a:pt x="453" y="539"/>
                </a:cubicBezTo>
                <a:cubicBezTo>
                  <a:pt x="452" y="539"/>
                  <a:pt x="447" y="534"/>
                  <a:pt x="446" y="532"/>
                </a:cubicBezTo>
                <a:cubicBezTo>
                  <a:pt x="444" y="530"/>
                  <a:pt x="442" y="528"/>
                  <a:pt x="440" y="526"/>
                </a:cubicBezTo>
                <a:cubicBezTo>
                  <a:pt x="438" y="524"/>
                  <a:pt x="437" y="519"/>
                  <a:pt x="434" y="518"/>
                </a:cubicBezTo>
                <a:cubicBezTo>
                  <a:pt x="434" y="518"/>
                  <a:pt x="432" y="519"/>
                  <a:pt x="431" y="519"/>
                </a:cubicBezTo>
                <a:cubicBezTo>
                  <a:pt x="427" y="517"/>
                  <a:pt x="431" y="510"/>
                  <a:pt x="435" y="515"/>
                </a:cubicBezTo>
                <a:close/>
                <a:moveTo>
                  <a:pt x="434" y="370"/>
                </a:moveTo>
                <a:cubicBezTo>
                  <a:pt x="435" y="370"/>
                  <a:pt x="436" y="372"/>
                  <a:pt x="436" y="373"/>
                </a:cubicBezTo>
                <a:cubicBezTo>
                  <a:pt x="435" y="373"/>
                  <a:pt x="435" y="371"/>
                  <a:pt x="434" y="370"/>
                </a:cubicBezTo>
                <a:close/>
                <a:moveTo>
                  <a:pt x="437" y="135"/>
                </a:moveTo>
                <a:cubicBezTo>
                  <a:pt x="437" y="135"/>
                  <a:pt x="438" y="135"/>
                  <a:pt x="438" y="136"/>
                </a:cubicBezTo>
                <a:cubicBezTo>
                  <a:pt x="438" y="136"/>
                  <a:pt x="437" y="136"/>
                  <a:pt x="437" y="135"/>
                </a:cubicBezTo>
                <a:close/>
                <a:moveTo>
                  <a:pt x="448" y="408"/>
                </a:moveTo>
                <a:cubicBezTo>
                  <a:pt x="449" y="411"/>
                  <a:pt x="445" y="407"/>
                  <a:pt x="446" y="406"/>
                </a:cubicBezTo>
                <a:cubicBezTo>
                  <a:pt x="447" y="406"/>
                  <a:pt x="448" y="408"/>
                  <a:pt x="448" y="408"/>
                </a:cubicBezTo>
                <a:close/>
                <a:moveTo>
                  <a:pt x="448" y="167"/>
                </a:moveTo>
                <a:cubicBezTo>
                  <a:pt x="449" y="168"/>
                  <a:pt x="446" y="166"/>
                  <a:pt x="448" y="167"/>
                </a:cubicBezTo>
                <a:close/>
                <a:moveTo>
                  <a:pt x="447" y="435"/>
                </a:moveTo>
                <a:cubicBezTo>
                  <a:pt x="448" y="435"/>
                  <a:pt x="449" y="436"/>
                  <a:pt x="449" y="438"/>
                </a:cubicBezTo>
                <a:cubicBezTo>
                  <a:pt x="449" y="439"/>
                  <a:pt x="448" y="440"/>
                  <a:pt x="447" y="440"/>
                </a:cubicBezTo>
                <a:cubicBezTo>
                  <a:pt x="442" y="441"/>
                  <a:pt x="444" y="433"/>
                  <a:pt x="447" y="435"/>
                </a:cubicBezTo>
                <a:close/>
                <a:moveTo>
                  <a:pt x="446" y="515"/>
                </a:moveTo>
                <a:cubicBezTo>
                  <a:pt x="446" y="514"/>
                  <a:pt x="446" y="515"/>
                  <a:pt x="446" y="515"/>
                </a:cubicBezTo>
                <a:close/>
                <a:moveTo>
                  <a:pt x="445" y="441"/>
                </a:moveTo>
                <a:cubicBezTo>
                  <a:pt x="445" y="443"/>
                  <a:pt x="444" y="439"/>
                  <a:pt x="445" y="441"/>
                </a:cubicBezTo>
                <a:close/>
                <a:moveTo>
                  <a:pt x="445" y="494"/>
                </a:moveTo>
                <a:cubicBezTo>
                  <a:pt x="445" y="494"/>
                  <a:pt x="444" y="495"/>
                  <a:pt x="444" y="495"/>
                </a:cubicBezTo>
                <a:cubicBezTo>
                  <a:pt x="443" y="494"/>
                  <a:pt x="444" y="493"/>
                  <a:pt x="445" y="494"/>
                </a:cubicBezTo>
                <a:close/>
                <a:moveTo>
                  <a:pt x="452" y="150"/>
                </a:moveTo>
                <a:cubicBezTo>
                  <a:pt x="452" y="150"/>
                  <a:pt x="452" y="150"/>
                  <a:pt x="452" y="150"/>
                </a:cubicBezTo>
                <a:cubicBezTo>
                  <a:pt x="452" y="150"/>
                  <a:pt x="452" y="150"/>
                  <a:pt x="452" y="150"/>
                </a:cubicBezTo>
                <a:cubicBezTo>
                  <a:pt x="452" y="150"/>
                  <a:pt x="452" y="150"/>
                  <a:pt x="452" y="150"/>
                </a:cubicBezTo>
                <a:close/>
                <a:moveTo>
                  <a:pt x="456" y="548"/>
                </a:moveTo>
                <a:cubicBezTo>
                  <a:pt x="455" y="548"/>
                  <a:pt x="454" y="546"/>
                  <a:pt x="454" y="546"/>
                </a:cubicBezTo>
                <a:cubicBezTo>
                  <a:pt x="455" y="546"/>
                  <a:pt x="455" y="547"/>
                  <a:pt x="456" y="548"/>
                </a:cubicBezTo>
                <a:close/>
                <a:moveTo>
                  <a:pt x="454" y="436"/>
                </a:moveTo>
                <a:cubicBezTo>
                  <a:pt x="454" y="436"/>
                  <a:pt x="454" y="436"/>
                  <a:pt x="454" y="436"/>
                </a:cubicBezTo>
                <a:cubicBezTo>
                  <a:pt x="455" y="437"/>
                  <a:pt x="454" y="436"/>
                  <a:pt x="454" y="436"/>
                </a:cubicBezTo>
                <a:close/>
                <a:moveTo>
                  <a:pt x="459" y="622"/>
                </a:moveTo>
                <a:cubicBezTo>
                  <a:pt x="459" y="623"/>
                  <a:pt x="459" y="624"/>
                  <a:pt x="457" y="623"/>
                </a:cubicBezTo>
                <a:cubicBezTo>
                  <a:pt x="455" y="622"/>
                  <a:pt x="448" y="615"/>
                  <a:pt x="448" y="614"/>
                </a:cubicBezTo>
                <a:cubicBezTo>
                  <a:pt x="450" y="613"/>
                  <a:pt x="451" y="617"/>
                  <a:pt x="452" y="617"/>
                </a:cubicBezTo>
                <a:cubicBezTo>
                  <a:pt x="454" y="619"/>
                  <a:pt x="459" y="619"/>
                  <a:pt x="459" y="622"/>
                </a:cubicBezTo>
                <a:close/>
                <a:moveTo>
                  <a:pt x="458" y="565"/>
                </a:moveTo>
                <a:cubicBezTo>
                  <a:pt x="456" y="564"/>
                  <a:pt x="457" y="563"/>
                  <a:pt x="458" y="565"/>
                </a:cubicBezTo>
                <a:close/>
                <a:moveTo>
                  <a:pt x="459" y="565"/>
                </a:moveTo>
                <a:cubicBezTo>
                  <a:pt x="460" y="565"/>
                  <a:pt x="458" y="567"/>
                  <a:pt x="459" y="565"/>
                </a:cubicBezTo>
                <a:close/>
                <a:moveTo>
                  <a:pt x="459" y="642"/>
                </a:moveTo>
                <a:cubicBezTo>
                  <a:pt x="459" y="642"/>
                  <a:pt x="458" y="641"/>
                  <a:pt x="458" y="641"/>
                </a:cubicBezTo>
                <a:cubicBezTo>
                  <a:pt x="458" y="640"/>
                  <a:pt x="459" y="641"/>
                  <a:pt x="459" y="642"/>
                </a:cubicBezTo>
                <a:close/>
                <a:moveTo>
                  <a:pt x="454" y="648"/>
                </a:moveTo>
                <a:cubicBezTo>
                  <a:pt x="455" y="648"/>
                  <a:pt x="457" y="649"/>
                  <a:pt x="457" y="649"/>
                </a:cubicBezTo>
                <a:cubicBezTo>
                  <a:pt x="458" y="652"/>
                  <a:pt x="453" y="650"/>
                  <a:pt x="454" y="648"/>
                </a:cubicBezTo>
                <a:close/>
                <a:moveTo>
                  <a:pt x="454" y="659"/>
                </a:moveTo>
                <a:cubicBezTo>
                  <a:pt x="454" y="659"/>
                  <a:pt x="455" y="658"/>
                  <a:pt x="456" y="659"/>
                </a:cubicBezTo>
                <a:cubicBezTo>
                  <a:pt x="457" y="659"/>
                  <a:pt x="455" y="660"/>
                  <a:pt x="454" y="659"/>
                </a:cubicBezTo>
                <a:close/>
                <a:moveTo>
                  <a:pt x="452" y="632"/>
                </a:moveTo>
                <a:cubicBezTo>
                  <a:pt x="452" y="632"/>
                  <a:pt x="453" y="632"/>
                  <a:pt x="453" y="633"/>
                </a:cubicBezTo>
                <a:cubicBezTo>
                  <a:pt x="454" y="635"/>
                  <a:pt x="450" y="634"/>
                  <a:pt x="452" y="632"/>
                </a:cubicBezTo>
                <a:close/>
                <a:moveTo>
                  <a:pt x="449" y="622"/>
                </a:moveTo>
                <a:cubicBezTo>
                  <a:pt x="449" y="622"/>
                  <a:pt x="450" y="622"/>
                  <a:pt x="450" y="623"/>
                </a:cubicBezTo>
                <a:cubicBezTo>
                  <a:pt x="451" y="624"/>
                  <a:pt x="449" y="623"/>
                  <a:pt x="449" y="622"/>
                </a:cubicBezTo>
                <a:close/>
                <a:moveTo>
                  <a:pt x="446" y="640"/>
                </a:moveTo>
                <a:cubicBezTo>
                  <a:pt x="446" y="640"/>
                  <a:pt x="444" y="639"/>
                  <a:pt x="444" y="639"/>
                </a:cubicBezTo>
                <a:cubicBezTo>
                  <a:pt x="445" y="639"/>
                  <a:pt x="446" y="640"/>
                  <a:pt x="446" y="640"/>
                </a:cubicBezTo>
                <a:close/>
                <a:moveTo>
                  <a:pt x="445" y="602"/>
                </a:moveTo>
                <a:cubicBezTo>
                  <a:pt x="447" y="601"/>
                  <a:pt x="447" y="603"/>
                  <a:pt x="445" y="602"/>
                </a:cubicBezTo>
                <a:close/>
                <a:moveTo>
                  <a:pt x="444" y="571"/>
                </a:moveTo>
                <a:cubicBezTo>
                  <a:pt x="446" y="569"/>
                  <a:pt x="449" y="573"/>
                  <a:pt x="449" y="574"/>
                </a:cubicBezTo>
                <a:cubicBezTo>
                  <a:pt x="449" y="579"/>
                  <a:pt x="441" y="574"/>
                  <a:pt x="444" y="571"/>
                </a:cubicBezTo>
                <a:close/>
                <a:moveTo>
                  <a:pt x="429" y="648"/>
                </a:moveTo>
                <a:cubicBezTo>
                  <a:pt x="432" y="648"/>
                  <a:pt x="434" y="647"/>
                  <a:pt x="436" y="649"/>
                </a:cubicBezTo>
                <a:cubicBezTo>
                  <a:pt x="437" y="650"/>
                  <a:pt x="437" y="652"/>
                  <a:pt x="437" y="652"/>
                </a:cubicBezTo>
                <a:cubicBezTo>
                  <a:pt x="438" y="654"/>
                  <a:pt x="441" y="652"/>
                  <a:pt x="442" y="654"/>
                </a:cubicBezTo>
                <a:cubicBezTo>
                  <a:pt x="443" y="657"/>
                  <a:pt x="439" y="658"/>
                  <a:pt x="439" y="658"/>
                </a:cubicBezTo>
                <a:cubicBezTo>
                  <a:pt x="436" y="659"/>
                  <a:pt x="435" y="653"/>
                  <a:pt x="431" y="654"/>
                </a:cubicBezTo>
                <a:cubicBezTo>
                  <a:pt x="430" y="654"/>
                  <a:pt x="429" y="655"/>
                  <a:pt x="428" y="654"/>
                </a:cubicBezTo>
                <a:cubicBezTo>
                  <a:pt x="432" y="653"/>
                  <a:pt x="424" y="648"/>
                  <a:pt x="429" y="648"/>
                </a:cubicBezTo>
                <a:close/>
                <a:moveTo>
                  <a:pt x="428" y="646"/>
                </a:moveTo>
                <a:cubicBezTo>
                  <a:pt x="428" y="646"/>
                  <a:pt x="428" y="646"/>
                  <a:pt x="428" y="646"/>
                </a:cubicBezTo>
                <a:cubicBezTo>
                  <a:pt x="430" y="647"/>
                  <a:pt x="426" y="646"/>
                  <a:pt x="428" y="646"/>
                </a:cubicBezTo>
                <a:close/>
                <a:moveTo>
                  <a:pt x="426" y="638"/>
                </a:moveTo>
                <a:cubicBezTo>
                  <a:pt x="427" y="637"/>
                  <a:pt x="427" y="638"/>
                  <a:pt x="427" y="638"/>
                </a:cubicBezTo>
                <a:cubicBezTo>
                  <a:pt x="428" y="639"/>
                  <a:pt x="426" y="639"/>
                  <a:pt x="426" y="638"/>
                </a:cubicBezTo>
                <a:close/>
                <a:moveTo>
                  <a:pt x="429" y="628"/>
                </a:moveTo>
                <a:cubicBezTo>
                  <a:pt x="429" y="627"/>
                  <a:pt x="431" y="628"/>
                  <a:pt x="432" y="627"/>
                </a:cubicBezTo>
                <a:cubicBezTo>
                  <a:pt x="433" y="625"/>
                  <a:pt x="437" y="628"/>
                  <a:pt x="437" y="630"/>
                </a:cubicBezTo>
                <a:cubicBezTo>
                  <a:pt x="437" y="634"/>
                  <a:pt x="435" y="632"/>
                  <a:pt x="433" y="633"/>
                </a:cubicBezTo>
                <a:cubicBezTo>
                  <a:pt x="434" y="633"/>
                  <a:pt x="432" y="634"/>
                  <a:pt x="432" y="634"/>
                </a:cubicBezTo>
                <a:cubicBezTo>
                  <a:pt x="430" y="633"/>
                  <a:pt x="428" y="630"/>
                  <a:pt x="429" y="628"/>
                </a:cubicBezTo>
                <a:close/>
                <a:moveTo>
                  <a:pt x="429" y="579"/>
                </a:moveTo>
                <a:cubicBezTo>
                  <a:pt x="430" y="579"/>
                  <a:pt x="429" y="581"/>
                  <a:pt x="429" y="580"/>
                </a:cubicBezTo>
                <a:cubicBezTo>
                  <a:pt x="429" y="580"/>
                  <a:pt x="429" y="579"/>
                  <a:pt x="429" y="579"/>
                </a:cubicBezTo>
                <a:close/>
                <a:moveTo>
                  <a:pt x="430" y="612"/>
                </a:moveTo>
                <a:cubicBezTo>
                  <a:pt x="431" y="612"/>
                  <a:pt x="431" y="613"/>
                  <a:pt x="432" y="613"/>
                </a:cubicBezTo>
                <a:cubicBezTo>
                  <a:pt x="431" y="614"/>
                  <a:pt x="430" y="613"/>
                  <a:pt x="430" y="612"/>
                </a:cubicBezTo>
                <a:close/>
                <a:moveTo>
                  <a:pt x="433" y="549"/>
                </a:moveTo>
                <a:cubicBezTo>
                  <a:pt x="434" y="549"/>
                  <a:pt x="434" y="549"/>
                  <a:pt x="434" y="550"/>
                </a:cubicBezTo>
                <a:cubicBezTo>
                  <a:pt x="435" y="551"/>
                  <a:pt x="432" y="549"/>
                  <a:pt x="433" y="549"/>
                </a:cubicBezTo>
                <a:close/>
                <a:moveTo>
                  <a:pt x="443" y="617"/>
                </a:moveTo>
                <a:cubicBezTo>
                  <a:pt x="442" y="618"/>
                  <a:pt x="443" y="618"/>
                  <a:pt x="443" y="618"/>
                </a:cubicBezTo>
                <a:cubicBezTo>
                  <a:pt x="444" y="619"/>
                  <a:pt x="442" y="618"/>
                  <a:pt x="443" y="617"/>
                </a:cubicBezTo>
                <a:close/>
                <a:moveTo>
                  <a:pt x="443" y="632"/>
                </a:moveTo>
                <a:cubicBezTo>
                  <a:pt x="443" y="632"/>
                  <a:pt x="443" y="632"/>
                  <a:pt x="443" y="632"/>
                </a:cubicBezTo>
                <a:cubicBezTo>
                  <a:pt x="442" y="632"/>
                  <a:pt x="443" y="632"/>
                  <a:pt x="443" y="632"/>
                </a:cubicBezTo>
                <a:close/>
                <a:moveTo>
                  <a:pt x="442" y="613"/>
                </a:moveTo>
                <a:cubicBezTo>
                  <a:pt x="442" y="612"/>
                  <a:pt x="443" y="613"/>
                  <a:pt x="443" y="613"/>
                </a:cubicBezTo>
                <a:cubicBezTo>
                  <a:pt x="443" y="615"/>
                  <a:pt x="441" y="613"/>
                  <a:pt x="442" y="613"/>
                </a:cubicBezTo>
                <a:close/>
                <a:moveTo>
                  <a:pt x="443" y="582"/>
                </a:moveTo>
                <a:cubicBezTo>
                  <a:pt x="443" y="583"/>
                  <a:pt x="443" y="583"/>
                  <a:pt x="443" y="583"/>
                </a:cubicBezTo>
                <a:cubicBezTo>
                  <a:pt x="443" y="585"/>
                  <a:pt x="442" y="581"/>
                  <a:pt x="443" y="582"/>
                </a:cubicBezTo>
                <a:close/>
                <a:moveTo>
                  <a:pt x="441" y="554"/>
                </a:moveTo>
                <a:cubicBezTo>
                  <a:pt x="442" y="553"/>
                  <a:pt x="447" y="555"/>
                  <a:pt x="446" y="558"/>
                </a:cubicBezTo>
                <a:cubicBezTo>
                  <a:pt x="445" y="558"/>
                  <a:pt x="440" y="556"/>
                  <a:pt x="441" y="554"/>
                </a:cubicBezTo>
                <a:close/>
                <a:moveTo>
                  <a:pt x="441" y="609"/>
                </a:moveTo>
                <a:cubicBezTo>
                  <a:pt x="442" y="610"/>
                  <a:pt x="440" y="608"/>
                  <a:pt x="441" y="609"/>
                </a:cubicBezTo>
                <a:close/>
                <a:moveTo>
                  <a:pt x="440" y="534"/>
                </a:moveTo>
                <a:cubicBezTo>
                  <a:pt x="441" y="534"/>
                  <a:pt x="441" y="535"/>
                  <a:pt x="441" y="535"/>
                </a:cubicBezTo>
                <a:cubicBezTo>
                  <a:pt x="441" y="536"/>
                  <a:pt x="440" y="535"/>
                  <a:pt x="440" y="534"/>
                </a:cubicBezTo>
                <a:close/>
                <a:moveTo>
                  <a:pt x="442" y="648"/>
                </a:moveTo>
                <a:cubicBezTo>
                  <a:pt x="442" y="651"/>
                  <a:pt x="437" y="649"/>
                  <a:pt x="438" y="646"/>
                </a:cubicBezTo>
                <a:cubicBezTo>
                  <a:pt x="438" y="645"/>
                  <a:pt x="442" y="646"/>
                  <a:pt x="442" y="648"/>
                </a:cubicBezTo>
                <a:close/>
                <a:moveTo>
                  <a:pt x="435" y="615"/>
                </a:moveTo>
                <a:cubicBezTo>
                  <a:pt x="437" y="617"/>
                  <a:pt x="438" y="618"/>
                  <a:pt x="440" y="619"/>
                </a:cubicBezTo>
                <a:cubicBezTo>
                  <a:pt x="439" y="620"/>
                  <a:pt x="436" y="617"/>
                  <a:pt x="435" y="615"/>
                </a:cubicBezTo>
                <a:close/>
                <a:moveTo>
                  <a:pt x="437" y="603"/>
                </a:moveTo>
                <a:cubicBezTo>
                  <a:pt x="436" y="604"/>
                  <a:pt x="436" y="602"/>
                  <a:pt x="437" y="603"/>
                </a:cubicBezTo>
                <a:close/>
                <a:moveTo>
                  <a:pt x="436" y="529"/>
                </a:moveTo>
                <a:cubicBezTo>
                  <a:pt x="438" y="528"/>
                  <a:pt x="438" y="531"/>
                  <a:pt x="439" y="532"/>
                </a:cubicBezTo>
                <a:cubicBezTo>
                  <a:pt x="438" y="531"/>
                  <a:pt x="437" y="529"/>
                  <a:pt x="436" y="529"/>
                </a:cubicBezTo>
                <a:close/>
                <a:moveTo>
                  <a:pt x="435" y="525"/>
                </a:moveTo>
                <a:cubicBezTo>
                  <a:pt x="435" y="526"/>
                  <a:pt x="435" y="527"/>
                  <a:pt x="436" y="527"/>
                </a:cubicBezTo>
                <a:cubicBezTo>
                  <a:pt x="435" y="528"/>
                  <a:pt x="434" y="526"/>
                  <a:pt x="435" y="525"/>
                </a:cubicBezTo>
                <a:close/>
                <a:moveTo>
                  <a:pt x="432" y="638"/>
                </a:moveTo>
                <a:cubicBezTo>
                  <a:pt x="432" y="637"/>
                  <a:pt x="436" y="638"/>
                  <a:pt x="436" y="639"/>
                </a:cubicBezTo>
                <a:cubicBezTo>
                  <a:pt x="437" y="642"/>
                  <a:pt x="432" y="639"/>
                  <a:pt x="432" y="638"/>
                </a:cubicBezTo>
                <a:close/>
                <a:moveTo>
                  <a:pt x="435" y="641"/>
                </a:moveTo>
                <a:cubicBezTo>
                  <a:pt x="435" y="641"/>
                  <a:pt x="436" y="641"/>
                  <a:pt x="436" y="642"/>
                </a:cubicBezTo>
                <a:cubicBezTo>
                  <a:pt x="437" y="643"/>
                  <a:pt x="434" y="643"/>
                  <a:pt x="435" y="641"/>
                </a:cubicBezTo>
                <a:close/>
                <a:moveTo>
                  <a:pt x="444" y="668"/>
                </a:moveTo>
                <a:cubicBezTo>
                  <a:pt x="444" y="669"/>
                  <a:pt x="443" y="670"/>
                  <a:pt x="442" y="668"/>
                </a:cubicBezTo>
                <a:cubicBezTo>
                  <a:pt x="442" y="668"/>
                  <a:pt x="444" y="666"/>
                  <a:pt x="444" y="668"/>
                </a:cubicBezTo>
                <a:close/>
                <a:moveTo>
                  <a:pt x="449" y="565"/>
                </a:moveTo>
                <a:cubicBezTo>
                  <a:pt x="450" y="564"/>
                  <a:pt x="451" y="565"/>
                  <a:pt x="451" y="566"/>
                </a:cubicBezTo>
                <a:cubicBezTo>
                  <a:pt x="453" y="568"/>
                  <a:pt x="448" y="567"/>
                  <a:pt x="449" y="565"/>
                </a:cubicBezTo>
                <a:close/>
                <a:moveTo>
                  <a:pt x="455" y="614"/>
                </a:moveTo>
                <a:cubicBezTo>
                  <a:pt x="456" y="615"/>
                  <a:pt x="454" y="614"/>
                  <a:pt x="454" y="614"/>
                </a:cubicBezTo>
                <a:cubicBezTo>
                  <a:pt x="454" y="613"/>
                  <a:pt x="455" y="613"/>
                  <a:pt x="455" y="614"/>
                </a:cubicBezTo>
                <a:close/>
                <a:moveTo>
                  <a:pt x="452" y="555"/>
                </a:moveTo>
                <a:cubicBezTo>
                  <a:pt x="453" y="554"/>
                  <a:pt x="454" y="555"/>
                  <a:pt x="454" y="556"/>
                </a:cubicBezTo>
                <a:cubicBezTo>
                  <a:pt x="456" y="559"/>
                  <a:pt x="450" y="556"/>
                  <a:pt x="452" y="555"/>
                </a:cubicBezTo>
                <a:close/>
                <a:moveTo>
                  <a:pt x="451" y="548"/>
                </a:moveTo>
                <a:cubicBezTo>
                  <a:pt x="453" y="547"/>
                  <a:pt x="455" y="549"/>
                  <a:pt x="455" y="550"/>
                </a:cubicBezTo>
                <a:cubicBezTo>
                  <a:pt x="455" y="553"/>
                  <a:pt x="450" y="550"/>
                  <a:pt x="451" y="548"/>
                </a:cubicBezTo>
                <a:close/>
                <a:moveTo>
                  <a:pt x="454" y="498"/>
                </a:moveTo>
                <a:cubicBezTo>
                  <a:pt x="454" y="498"/>
                  <a:pt x="454" y="499"/>
                  <a:pt x="454" y="499"/>
                </a:cubicBezTo>
                <a:cubicBezTo>
                  <a:pt x="453" y="499"/>
                  <a:pt x="452" y="496"/>
                  <a:pt x="454" y="498"/>
                </a:cubicBezTo>
                <a:close/>
                <a:moveTo>
                  <a:pt x="454" y="414"/>
                </a:moveTo>
                <a:cubicBezTo>
                  <a:pt x="454" y="416"/>
                  <a:pt x="453" y="412"/>
                  <a:pt x="454" y="414"/>
                </a:cubicBezTo>
                <a:close/>
                <a:moveTo>
                  <a:pt x="452" y="462"/>
                </a:moveTo>
                <a:cubicBezTo>
                  <a:pt x="454" y="463"/>
                  <a:pt x="452" y="464"/>
                  <a:pt x="452" y="462"/>
                </a:cubicBezTo>
                <a:close/>
                <a:moveTo>
                  <a:pt x="453" y="501"/>
                </a:moveTo>
                <a:cubicBezTo>
                  <a:pt x="452" y="500"/>
                  <a:pt x="453" y="502"/>
                  <a:pt x="453" y="501"/>
                </a:cubicBezTo>
                <a:close/>
                <a:moveTo>
                  <a:pt x="429" y="475"/>
                </a:moveTo>
                <a:cubicBezTo>
                  <a:pt x="429" y="474"/>
                  <a:pt x="430" y="475"/>
                  <a:pt x="430" y="476"/>
                </a:cubicBezTo>
                <a:cubicBezTo>
                  <a:pt x="431" y="478"/>
                  <a:pt x="427" y="476"/>
                  <a:pt x="429" y="475"/>
                </a:cubicBezTo>
                <a:close/>
                <a:moveTo>
                  <a:pt x="429" y="611"/>
                </a:moveTo>
                <a:cubicBezTo>
                  <a:pt x="429" y="612"/>
                  <a:pt x="426" y="610"/>
                  <a:pt x="427" y="610"/>
                </a:cubicBezTo>
                <a:cubicBezTo>
                  <a:pt x="427" y="609"/>
                  <a:pt x="428" y="610"/>
                  <a:pt x="429" y="611"/>
                </a:cubicBezTo>
                <a:close/>
                <a:moveTo>
                  <a:pt x="427" y="634"/>
                </a:moveTo>
                <a:cubicBezTo>
                  <a:pt x="428" y="633"/>
                  <a:pt x="429" y="634"/>
                  <a:pt x="429" y="634"/>
                </a:cubicBezTo>
                <a:cubicBezTo>
                  <a:pt x="431" y="637"/>
                  <a:pt x="425" y="636"/>
                  <a:pt x="427" y="634"/>
                </a:cubicBezTo>
                <a:close/>
                <a:moveTo>
                  <a:pt x="425" y="607"/>
                </a:moveTo>
                <a:cubicBezTo>
                  <a:pt x="426" y="606"/>
                  <a:pt x="426" y="607"/>
                  <a:pt x="426" y="607"/>
                </a:cubicBezTo>
                <a:cubicBezTo>
                  <a:pt x="427" y="609"/>
                  <a:pt x="424" y="607"/>
                  <a:pt x="425" y="607"/>
                </a:cubicBezTo>
                <a:close/>
                <a:moveTo>
                  <a:pt x="426" y="620"/>
                </a:moveTo>
                <a:cubicBezTo>
                  <a:pt x="426" y="622"/>
                  <a:pt x="423" y="620"/>
                  <a:pt x="423" y="619"/>
                </a:cubicBezTo>
                <a:cubicBezTo>
                  <a:pt x="423" y="618"/>
                  <a:pt x="426" y="619"/>
                  <a:pt x="426" y="620"/>
                </a:cubicBezTo>
                <a:close/>
                <a:moveTo>
                  <a:pt x="420" y="690"/>
                </a:moveTo>
                <a:cubicBezTo>
                  <a:pt x="420" y="689"/>
                  <a:pt x="411" y="686"/>
                  <a:pt x="416" y="684"/>
                </a:cubicBezTo>
                <a:cubicBezTo>
                  <a:pt x="417" y="683"/>
                  <a:pt x="420" y="684"/>
                  <a:pt x="420" y="685"/>
                </a:cubicBezTo>
                <a:cubicBezTo>
                  <a:pt x="421" y="687"/>
                  <a:pt x="418" y="688"/>
                  <a:pt x="423" y="689"/>
                </a:cubicBezTo>
                <a:cubicBezTo>
                  <a:pt x="421" y="689"/>
                  <a:pt x="420" y="689"/>
                  <a:pt x="420" y="690"/>
                </a:cubicBezTo>
                <a:close/>
                <a:moveTo>
                  <a:pt x="418" y="700"/>
                </a:moveTo>
                <a:cubicBezTo>
                  <a:pt x="417" y="701"/>
                  <a:pt x="418" y="702"/>
                  <a:pt x="417" y="702"/>
                </a:cubicBezTo>
                <a:cubicBezTo>
                  <a:pt x="416" y="703"/>
                  <a:pt x="406" y="701"/>
                  <a:pt x="406" y="698"/>
                </a:cubicBezTo>
                <a:cubicBezTo>
                  <a:pt x="406" y="697"/>
                  <a:pt x="408" y="696"/>
                  <a:pt x="406" y="695"/>
                </a:cubicBezTo>
                <a:cubicBezTo>
                  <a:pt x="405" y="694"/>
                  <a:pt x="416" y="695"/>
                  <a:pt x="419" y="696"/>
                </a:cubicBezTo>
                <a:cubicBezTo>
                  <a:pt x="417" y="696"/>
                  <a:pt x="420" y="699"/>
                  <a:pt x="420" y="699"/>
                </a:cubicBezTo>
                <a:cubicBezTo>
                  <a:pt x="420" y="700"/>
                  <a:pt x="419" y="699"/>
                  <a:pt x="418" y="700"/>
                </a:cubicBezTo>
                <a:close/>
                <a:moveTo>
                  <a:pt x="420" y="714"/>
                </a:moveTo>
                <a:cubicBezTo>
                  <a:pt x="422" y="716"/>
                  <a:pt x="416" y="715"/>
                  <a:pt x="418" y="714"/>
                </a:cubicBezTo>
                <a:cubicBezTo>
                  <a:pt x="418" y="714"/>
                  <a:pt x="419" y="714"/>
                  <a:pt x="420" y="714"/>
                </a:cubicBezTo>
                <a:close/>
                <a:moveTo>
                  <a:pt x="410" y="719"/>
                </a:moveTo>
                <a:cubicBezTo>
                  <a:pt x="410" y="718"/>
                  <a:pt x="411" y="718"/>
                  <a:pt x="411" y="719"/>
                </a:cubicBezTo>
                <a:cubicBezTo>
                  <a:pt x="412" y="720"/>
                  <a:pt x="410" y="719"/>
                  <a:pt x="410" y="719"/>
                </a:cubicBezTo>
                <a:close/>
                <a:moveTo>
                  <a:pt x="403" y="686"/>
                </a:moveTo>
                <a:cubicBezTo>
                  <a:pt x="403" y="685"/>
                  <a:pt x="408" y="686"/>
                  <a:pt x="408" y="687"/>
                </a:cubicBezTo>
                <a:cubicBezTo>
                  <a:pt x="409" y="690"/>
                  <a:pt x="403" y="687"/>
                  <a:pt x="403" y="686"/>
                </a:cubicBezTo>
                <a:close/>
                <a:moveTo>
                  <a:pt x="406" y="697"/>
                </a:moveTo>
                <a:cubicBezTo>
                  <a:pt x="404" y="698"/>
                  <a:pt x="402" y="697"/>
                  <a:pt x="403" y="695"/>
                </a:cubicBezTo>
                <a:cubicBezTo>
                  <a:pt x="404" y="696"/>
                  <a:pt x="405" y="697"/>
                  <a:pt x="406" y="697"/>
                </a:cubicBezTo>
                <a:close/>
                <a:moveTo>
                  <a:pt x="414" y="652"/>
                </a:moveTo>
                <a:cubicBezTo>
                  <a:pt x="415" y="651"/>
                  <a:pt x="417" y="653"/>
                  <a:pt x="417" y="653"/>
                </a:cubicBezTo>
                <a:cubicBezTo>
                  <a:pt x="418" y="656"/>
                  <a:pt x="412" y="653"/>
                  <a:pt x="414" y="652"/>
                </a:cubicBezTo>
                <a:close/>
                <a:moveTo>
                  <a:pt x="418" y="679"/>
                </a:moveTo>
                <a:cubicBezTo>
                  <a:pt x="418" y="679"/>
                  <a:pt x="415" y="680"/>
                  <a:pt x="415" y="678"/>
                </a:cubicBezTo>
                <a:cubicBezTo>
                  <a:pt x="414" y="677"/>
                  <a:pt x="418" y="676"/>
                  <a:pt x="418" y="679"/>
                </a:cubicBezTo>
                <a:close/>
                <a:moveTo>
                  <a:pt x="414" y="669"/>
                </a:moveTo>
                <a:cubicBezTo>
                  <a:pt x="413" y="667"/>
                  <a:pt x="415" y="670"/>
                  <a:pt x="414" y="669"/>
                </a:cubicBezTo>
                <a:close/>
                <a:moveTo>
                  <a:pt x="411" y="641"/>
                </a:moveTo>
                <a:cubicBezTo>
                  <a:pt x="412" y="639"/>
                  <a:pt x="414" y="640"/>
                  <a:pt x="414" y="641"/>
                </a:cubicBezTo>
                <a:cubicBezTo>
                  <a:pt x="415" y="643"/>
                  <a:pt x="411" y="642"/>
                  <a:pt x="411" y="641"/>
                </a:cubicBezTo>
                <a:close/>
                <a:moveTo>
                  <a:pt x="420" y="682"/>
                </a:moveTo>
                <a:cubicBezTo>
                  <a:pt x="419" y="681"/>
                  <a:pt x="420" y="682"/>
                  <a:pt x="421" y="682"/>
                </a:cubicBezTo>
                <a:cubicBezTo>
                  <a:pt x="421" y="683"/>
                  <a:pt x="420" y="683"/>
                  <a:pt x="420" y="682"/>
                </a:cubicBezTo>
                <a:close/>
                <a:moveTo>
                  <a:pt x="422" y="683"/>
                </a:moveTo>
                <a:cubicBezTo>
                  <a:pt x="423" y="683"/>
                  <a:pt x="424" y="684"/>
                  <a:pt x="425" y="684"/>
                </a:cubicBezTo>
                <a:cubicBezTo>
                  <a:pt x="424" y="685"/>
                  <a:pt x="422" y="684"/>
                  <a:pt x="422" y="683"/>
                </a:cubicBezTo>
                <a:close/>
                <a:moveTo>
                  <a:pt x="425" y="673"/>
                </a:moveTo>
                <a:cubicBezTo>
                  <a:pt x="426" y="672"/>
                  <a:pt x="427" y="673"/>
                  <a:pt x="428" y="673"/>
                </a:cubicBezTo>
                <a:cubicBezTo>
                  <a:pt x="429" y="676"/>
                  <a:pt x="424" y="674"/>
                  <a:pt x="425" y="673"/>
                </a:cubicBezTo>
                <a:close/>
                <a:moveTo>
                  <a:pt x="426" y="681"/>
                </a:moveTo>
                <a:cubicBezTo>
                  <a:pt x="427" y="680"/>
                  <a:pt x="427" y="683"/>
                  <a:pt x="426" y="681"/>
                </a:cubicBezTo>
                <a:close/>
                <a:moveTo>
                  <a:pt x="427" y="693"/>
                </a:moveTo>
                <a:cubicBezTo>
                  <a:pt x="427" y="693"/>
                  <a:pt x="427" y="694"/>
                  <a:pt x="427" y="694"/>
                </a:cubicBezTo>
                <a:cubicBezTo>
                  <a:pt x="424" y="696"/>
                  <a:pt x="425" y="691"/>
                  <a:pt x="427" y="693"/>
                </a:cubicBezTo>
                <a:close/>
                <a:moveTo>
                  <a:pt x="426" y="685"/>
                </a:moveTo>
                <a:cubicBezTo>
                  <a:pt x="427" y="686"/>
                  <a:pt x="429" y="686"/>
                  <a:pt x="430" y="687"/>
                </a:cubicBezTo>
                <a:cubicBezTo>
                  <a:pt x="428" y="686"/>
                  <a:pt x="426" y="686"/>
                  <a:pt x="426" y="685"/>
                </a:cubicBezTo>
                <a:close/>
                <a:moveTo>
                  <a:pt x="416" y="649"/>
                </a:moveTo>
                <a:cubicBezTo>
                  <a:pt x="420" y="650"/>
                  <a:pt x="417" y="652"/>
                  <a:pt x="416" y="649"/>
                </a:cubicBezTo>
                <a:close/>
                <a:moveTo>
                  <a:pt x="418" y="563"/>
                </a:moveTo>
                <a:cubicBezTo>
                  <a:pt x="417" y="563"/>
                  <a:pt x="417" y="562"/>
                  <a:pt x="416" y="562"/>
                </a:cubicBezTo>
                <a:cubicBezTo>
                  <a:pt x="417" y="561"/>
                  <a:pt x="418" y="562"/>
                  <a:pt x="418" y="563"/>
                </a:cubicBezTo>
                <a:close/>
                <a:moveTo>
                  <a:pt x="414" y="556"/>
                </a:moveTo>
                <a:cubicBezTo>
                  <a:pt x="415" y="555"/>
                  <a:pt x="417" y="556"/>
                  <a:pt x="417" y="557"/>
                </a:cubicBezTo>
                <a:cubicBezTo>
                  <a:pt x="417" y="558"/>
                  <a:pt x="414" y="557"/>
                  <a:pt x="414" y="556"/>
                </a:cubicBezTo>
                <a:close/>
                <a:moveTo>
                  <a:pt x="415" y="631"/>
                </a:moveTo>
                <a:cubicBezTo>
                  <a:pt x="416" y="633"/>
                  <a:pt x="415" y="635"/>
                  <a:pt x="414" y="635"/>
                </a:cubicBezTo>
                <a:cubicBezTo>
                  <a:pt x="414" y="635"/>
                  <a:pt x="410" y="636"/>
                  <a:pt x="409" y="635"/>
                </a:cubicBezTo>
                <a:cubicBezTo>
                  <a:pt x="408" y="634"/>
                  <a:pt x="411" y="632"/>
                  <a:pt x="410" y="631"/>
                </a:cubicBezTo>
                <a:cubicBezTo>
                  <a:pt x="409" y="631"/>
                  <a:pt x="407" y="632"/>
                  <a:pt x="407" y="631"/>
                </a:cubicBezTo>
                <a:cubicBezTo>
                  <a:pt x="405" y="627"/>
                  <a:pt x="414" y="627"/>
                  <a:pt x="415" y="631"/>
                </a:cubicBezTo>
                <a:close/>
                <a:moveTo>
                  <a:pt x="410" y="640"/>
                </a:moveTo>
                <a:cubicBezTo>
                  <a:pt x="410" y="642"/>
                  <a:pt x="408" y="641"/>
                  <a:pt x="408" y="639"/>
                </a:cubicBezTo>
                <a:cubicBezTo>
                  <a:pt x="408" y="638"/>
                  <a:pt x="411" y="637"/>
                  <a:pt x="410" y="640"/>
                </a:cubicBezTo>
                <a:close/>
                <a:moveTo>
                  <a:pt x="408" y="660"/>
                </a:moveTo>
                <a:cubicBezTo>
                  <a:pt x="407" y="661"/>
                  <a:pt x="407" y="658"/>
                  <a:pt x="408" y="659"/>
                </a:cubicBezTo>
                <a:cubicBezTo>
                  <a:pt x="408" y="660"/>
                  <a:pt x="408" y="660"/>
                  <a:pt x="408" y="660"/>
                </a:cubicBezTo>
                <a:close/>
                <a:moveTo>
                  <a:pt x="407" y="611"/>
                </a:moveTo>
                <a:cubicBezTo>
                  <a:pt x="408" y="611"/>
                  <a:pt x="408" y="611"/>
                  <a:pt x="408" y="611"/>
                </a:cubicBezTo>
                <a:cubicBezTo>
                  <a:pt x="409" y="613"/>
                  <a:pt x="406" y="612"/>
                  <a:pt x="407" y="611"/>
                </a:cubicBezTo>
                <a:close/>
                <a:moveTo>
                  <a:pt x="408" y="568"/>
                </a:moveTo>
                <a:cubicBezTo>
                  <a:pt x="407" y="567"/>
                  <a:pt x="409" y="569"/>
                  <a:pt x="408" y="568"/>
                </a:cubicBezTo>
                <a:close/>
                <a:moveTo>
                  <a:pt x="408" y="164"/>
                </a:moveTo>
                <a:cubicBezTo>
                  <a:pt x="406" y="164"/>
                  <a:pt x="406" y="162"/>
                  <a:pt x="405" y="162"/>
                </a:cubicBezTo>
                <a:cubicBezTo>
                  <a:pt x="406" y="161"/>
                  <a:pt x="407" y="163"/>
                  <a:pt x="408" y="164"/>
                </a:cubicBezTo>
                <a:close/>
                <a:moveTo>
                  <a:pt x="405" y="462"/>
                </a:moveTo>
                <a:cubicBezTo>
                  <a:pt x="407" y="463"/>
                  <a:pt x="405" y="464"/>
                  <a:pt x="405" y="462"/>
                </a:cubicBezTo>
                <a:close/>
                <a:moveTo>
                  <a:pt x="404" y="93"/>
                </a:moveTo>
                <a:cubicBezTo>
                  <a:pt x="405" y="93"/>
                  <a:pt x="405" y="93"/>
                  <a:pt x="406" y="94"/>
                </a:cubicBezTo>
                <a:cubicBezTo>
                  <a:pt x="405" y="94"/>
                  <a:pt x="404" y="94"/>
                  <a:pt x="404" y="93"/>
                </a:cubicBezTo>
                <a:close/>
                <a:moveTo>
                  <a:pt x="404" y="393"/>
                </a:moveTo>
                <a:cubicBezTo>
                  <a:pt x="403" y="393"/>
                  <a:pt x="404" y="392"/>
                  <a:pt x="403" y="391"/>
                </a:cubicBezTo>
                <a:cubicBezTo>
                  <a:pt x="403" y="391"/>
                  <a:pt x="404" y="392"/>
                  <a:pt x="404" y="393"/>
                </a:cubicBezTo>
                <a:close/>
                <a:moveTo>
                  <a:pt x="408" y="622"/>
                </a:moveTo>
                <a:cubicBezTo>
                  <a:pt x="408" y="626"/>
                  <a:pt x="401" y="622"/>
                  <a:pt x="402" y="620"/>
                </a:cubicBezTo>
                <a:cubicBezTo>
                  <a:pt x="403" y="617"/>
                  <a:pt x="408" y="620"/>
                  <a:pt x="408" y="622"/>
                </a:cubicBezTo>
                <a:close/>
                <a:moveTo>
                  <a:pt x="406" y="655"/>
                </a:moveTo>
                <a:cubicBezTo>
                  <a:pt x="407" y="657"/>
                  <a:pt x="403" y="656"/>
                  <a:pt x="403" y="655"/>
                </a:cubicBezTo>
                <a:cubicBezTo>
                  <a:pt x="403" y="654"/>
                  <a:pt x="405" y="655"/>
                  <a:pt x="406" y="655"/>
                </a:cubicBezTo>
                <a:close/>
                <a:moveTo>
                  <a:pt x="403" y="640"/>
                </a:moveTo>
                <a:cubicBezTo>
                  <a:pt x="402" y="641"/>
                  <a:pt x="402" y="639"/>
                  <a:pt x="403" y="639"/>
                </a:cubicBezTo>
                <a:cubicBezTo>
                  <a:pt x="403" y="640"/>
                  <a:pt x="403" y="640"/>
                  <a:pt x="403" y="640"/>
                </a:cubicBezTo>
                <a:close/>
                <a:moveTo>
                  <a:pt x="402" y="649"/>
                </a:moveTo>
                <a:cubicBezTo>
                  <a:pt x="402" y="651"/>
                  <a:pt x="398" y="649"/>
                  <a:pt x="399" y="648"/>
                </a:cubicBezTo>
                <a:cubicBezTo>
                  <a:pt x="400" y="647"/>
                  <a:pt x="402" y="649"/>
                  <a:pt x="402" y="649"/>
                </a:cubicBezTo>
                <a:close/>
                <a:moveTo>
                  <a:pt x="402" y="492"/>
                </a:moveTo>
                <a:cubicBezTo>
                  <a:pt x="403" y="493"/>
                  <a:pt x="401" y="490"/>
                  <a:pt x="402" y="492"/>
                </a:cubicBezTo>
                <a:close/>
                <a:moveTo>
                  <a:pt x="397" y="651"/>
                </a:moveTo>
                <a:cubicBezTo>
                  <a:pt x="397" y="650"/>
                  <a:pt x="398" y="651"/>
                  <a:pt x="398" y="651"/>
                </a:cubicBezTo>
                <a:cubicBezTo>
                  <a:pt x="399" y="652"/>
                  <a:pt x="397" y="651"/>
                  <a:pt x="397" y="651"/>
                </a:cubicBezTo>
                <a:close/>
                <a:moveTo>
                  <a:pt x="396" y="629"/>
                </a:moveTo>
                <a:cubicBezTo>
                  <a:pt x="397" y="628"/>
                  <a:pt x="398" y="630"/>
                  <a:pt x="398" y="630"/>
                </a:cubicBezTo>
                <a:cubicBezTo>
                  <a:pt x="398" y="631"/>
                  <a:pt x="397" y="629"/>
                  <a:pt x="396" y="629"/>
                </a:cubicBezTo>
                <a:close/>
                <a:moveTo>
                  <a:pt x="402" y="683"/>
                </a:moveTo>
                <a:cubicBezTo>
                  <a:pt x="401" y="683"/>
                  <a:pt x="401" y="683"/>
                  <a:pt x="400" y="682"/>
                </a:cubicBezTo>
                <a:cubicBezTo>
                  <a:pt x="400" y="682"/>
                  <a:pt x="402" y="683"/>
                  <a:pt x="402" y="683"/>
                </a:cubicBezTo>
                <a:close/>
                <a:moveTo>
                  <a:pt x="399" y="681"/>
                </a:moveTo>
                <a:cubicBezTo>
                  <a:pt x="400" y="682"/>
                  <a:pt x="397" y="681"/>
                  <a:pt x="399" y="681"/>
                </a:cubicBezTo>
                <a:close/>
                <a:moveTo>
                  <a:pt x="394" y="689"/>
                </a:moveTo>
                <a:cubicBezTo>
                  <a:pt x="394" y="688"/>
                  <a:pt x="396" y="689"/>
                  <a:pt x="396" y="689"/>
                </a:cubicBezTo>
                <a:cubicBezTo>
                  <a:pt x="397" y="690"/>
                  <a:pt x="395" y="689"/>
                  <a:pt x="394" y="689"/>
                </a:cubicBezTo>
                <a:close/>
                <a:moveTo>
                  <a:pt x="393" y="724"/>
                </a:moveTo>
                <a:cubicBezTo>
                  <a:pt x="394" y="724"/>
                  <a:pt x="390" y="723"/>
                  <a:pt x="393" y="724"/>
                </a:cubicBezTo>
                <a:close/>
                <a:moveTo>
                  <a:pt x="391" y="742"/>
                </a:moveTo>
                <a:cubicBezTo>
                  <a:pt x="391" y="740"/>
                  <a:pt x="392" y="742"/>
                  <a:pt x="393" y="742"/>
                </a:cubicBezTo>
                <a:cubicBezTo>
                  <a:pt x="394" y="743"/>
                  <a:pt x="391" y="742"/>
                  <a:pt x="391" y="742"/>
                </a:cubicBezTo>
                <a:close/>
                <a:moveTo>
                  <a:pt x="399" y="697"/>
                </a:moveTo>
                <a:cubicBezTo>
                  <a:pt x="399" y="701"/>
                  <a:pt x="393" y="699"/>
                  <a:pt x="393" y="697"/>
                </a:cubicBezTo>
                <a:cubicBezTo>
                  <a:pt x="393" y="695"/>
                  <a:pt x="399" y="695"/>
                  <a:pt x="399" y="697"/>
                </a:cubicBezTo>
                <a:close/>
                <a:moveTo>
                  <a:pt x="394" y="717"/>
                </a:moveTo>
                <a:cubicBezTo>
                  <a:pt x="394" y="717"/>
                  <a:pt x="394" y="716"/>
                  <a:pt x="394" y="717"/>
                </a:cubicBezTo>
                <a:cubicBezTo>
                  <a:pt x="394" y="717"/>
                  <a:pt x="394" y="717"/>
                  <a:pt x="394" y="717"/>
                </a:cubicBezTo>
                <a:close/>
                <a:moveTo>
                  <a:pt x="394" y="727"/>
                </a:moveTo>
                <a:cubicBezTo>
                  <a:pt x="393" y="727"/>
                  <a:pt x="394" y="726"/>
                  <a:pt x="394" y="726"/>
                </a:cubicBezTo>
                <a:cubicBezTo>
                  <a:pt x="395" y="726"/>
                  <a:pt x="394" y="728"/>
                  <a:pt x="394" y="727"/>
                </a:cubicBezTo>
                <a:close/>
                <a:moveTo>
                  <a:pt x="395" y="745"/>
                </a:moveTo>
                <a:cubicBezTo>
                  <a:pt x="396" y="746"/>
                  <a:pt x="393" y="745"/>
                  <a:pt x="395" y="745"/>
                </a:cubicBezTo>
                <a:close/>
                <a:moveTo>
                  <a:pt x="396" y="726"/>
                </a:moveTo>
                <a:cubicBezTo>
                  <a:pt x="396" y="726"/>
                  <a:pt x="397" y="726"/>
                  <a:pt x="397" y="726"/>
                </a:cubicBezTo>
                <a:cubicBezTo>
                  <a:pt x="397" y="729"/>
                  <a:pt x="395" y="723"/>
                  <a:pt x="396" y="726"/>
                </a:cubicBezTo>
                <a:close/>
                <a:moveTo>
                  <a:pt x="404" y="726"/>
                </a:moveTo>
                <a:cubicBezTo>
                  <a:pt x="404" y="725"/>
                  <a:pt x="405" y="725"/>
                  <a:pt x="405" y="726"/>
                </a:cubicBezTo>
                <a:cubicBezTo>
                  <a:pt x="406" y="727"/>
                  <a:pt x="404" y="726"/>
                  <a:pt x="404" y="726"/>
                </a:cubicBezTo>
                <a:close/>
                <a:moveTo>
                  <a:pt x="399" y="722"/>
                </a:moveTo>
                <a:cubicBezTo>
                  <a:pt x="404" y="727"/>
                  <a:pt x="392" y="723"/>
                  <a:pt x="394" y="719"/>
                </a:cubicBezTo>
                <a:cubicBezTo>
                  <a:pt x="394" y="719"/>
                  <a:pt x="395" y="719"/>
                  <a:pt x="396" y="719"/>
                </a:cubicBezTo>
                <a:cubicBezTo>
                  <a:pt x="396" y="719"/>
                  <a:pt x="396" y="716"/>
                  <a:pt x="396" y="715"/>
                </a:cubicBezTo>
                <a:cubicBezTo>
                  <a:pt x="396" y="715"/>
                  <a:pt x="399" y="714"/>
                  <a:pt x="400" y="714"/>
                </a:cubicBezTo>
                <a:cubicBezTo>
                  <a:pt x="404" y="713"/>
                  <a:pt x="405" y="717"/>
                  <a:pt x="408" y="718"/>
                </a:cubicBezTo>
                <a:cubicBezTo>
                  <a:pt x="406" y="720"/>
                  <a:pt x="403" y="723"/>
                  <a:pt x="399" y="722"/>
                </a:cubicBezTo>
                <a:close/>
                <a:moveTo>
                  <a:pt x="409" y="735"/>
                </a:moveTo>
                <a:cubicBezTo>
                  <a:pt x="408" y="733"/>
                  <a:pt x="410" y="736"/>
                  <a:pt x="409" y="735"/>
                </a:cubicBezTo>
                <a:close/>
                <a:moveTo>
                  <a:pt x="415" y="738"/>
                </a:moveTo>
                <a:cubicBezTo>
                  <a:pt x="415" y="739"/>
                  <a:pt x="413" y="737"/>
                  <a:pt x="415" y="738"/>
                </a:cubicBezTo>
                <a:close/>
                <a:moveTo>
                  <a:pt x="408" y="727"/>
                </a:moveTo>
                <a:cubicBezTo>
                  <a:pt x="408" y="724"/>
                  <a:pt x="415" y="723"/>
                  <a:pt x="415" y="727"/>
                </a:cubicBezTo>
                <a:cubicBezTo>
                  <a:pt x="416" y="731"/>
                  <a:pt x="408" y="729"/>
                  <a:pt x="408" y="727"/>
                </a:cubicBezTo>
                <a:close/>
                <a:moveTo>
                  <a:pt x="417" y="733"/>
                </a:moveTo>
                <a:cubicBezTo>
                  <a:pt x="415" y="733"/>
                  <a:pt x="417" y="731"/>
                  <a:pt x="417" y="733"/>
                </a:cubicBezTo>
                <a:close/>
                <a:moveTo>
                  <a:pt x="419" y="726"/>
                </a:moveTo>
                <a:cubicBezTo>
                  <a:pt x="419" y="727"/>
                  <a:pt x="419" y="727"/>
                  <a:pt x="418" y="727"/>
                </a:cubicBezTo>
                <a:cubicBezTo>
                  <a:pt x="418" y="727"/>
                  <a:pt x="418" y="726"/>
                  <a:pt x="418" y="726"/>
                </a:cubicBezTo>
                <a:cubicBezTo>
                  <a:pt x="415" y="724"/>
                  <a:pt x="411" y="721"/>
                  <a:pt x="411" y="721"/>
                </a:cubicBezTo>
                <a:cubicBezTo>
                  <a:pt x="412" y="720"/>
                  <a:pt x="418" y="725"/>
                  <a:pt x="421" y="726"/>
                </a:cubicBezTo>
                <a:cubicBezTo>
                  <a:pt x="421" y="726"/>
                  <a:pt x="420" y="726"/>
                  <a:pt x="419" y="726"/>
                </a:cubicBezTo>
                <a:close/>
                <a:moveTo>
                  <a:pt x="420" y="705"/>
                </a:moveTo>
                <a:cubicBezTo>
                  <a:pt x="420" y="704"/>
                  <a:pt x="423" y="707"/>
                  <a:pt x="423" y="707"/>
                </a:cubicBezTo>
                <a:cubicBezTo>
                  <a:pt x="423" y="710"/>
                  <a:pt x="417" y="706"/>
                  <a:pt x="420" y="705"/>
                </a:cubicBezTo>
                <a:close/>
                <a:moveTo>
                  <a:pt x="422" y="709"/>
                </a:moveTo>
                <a:cubicBezTo>
                  <a:pt x="420" y="708"/>
                  <a:pt x="423" y="710"/>
                  <a:pt x="422" y="709"/>
                </a:cubicBezTo>
                <a:close/>
                <a:moveTo>
                  <a:pt x="422" y="712"/>
                </a:moveTo>
                <a:cubicBezTo>
                  <a:pt x="422" y="711"/>
                  <a:pt x="423" y="711"/>
                  <a:pt x="423" y="711"/>
                </a:cubicBezTo>
                <a:cubicBezTo>
                  <a:pt x="423" y="710"/>
                  <a:pt x="423" y="708"/>
                  <a:pt x="425" y="711"/>
                </a:cubicBezTo>
                <a:cubicBezTo>
                  <a:pt x="425" y="711"/>
                  <a:pt x="425" y="711"/>
                  <a:pt x="425" y="711"/>
                </a:cubicBezTo>
                <a:cubicBezTo>
                  <a:pt x="424" y="712"/>
                  <a:pt x="424" y="712"/>
                  <a:pt x="424" y="712"/>
                </a:cubicBezTo>
                <a:cubicBezTo>
                  <a:pt x="424" y="712"/>
                  <a:pt x="424" y="712"/>
                  <a:pt x="424" y="712"/>
                </a:cubicBezTo>
                <a:cubicBezTo>
                  <a:pt x="425" y="715"/>
                  <a:pt x="420" y="713"/>
                  <a:pt x="422" y="712"/>
                </a:cubicBezTo>
                <a:close/>
                <a:moveTo>
                  <a:pt x="425" y="708"/>
                </a:moveTo>
                <a:cubicBezTo>
                  <a:pt x="425" y="707"/>
                  <a:pt x="426" y="707"/>
                  <a:pt x="426" y="708"/>
                </a:cubicBezTo>
                <a:cubicBezTo>
                  <a:pt x="427" y="709"/>
                  <a:pt x="424" y="709"/>
                  <a:pt x="425" y="708"/>
                </a:cubicBezTo>
                <a:close/>
                <a:moveTo>
                  <a:pt x="426" y="712"/>
                </a:moveTo>
                <a:cubicBezTo>
                  <a:pt x="428" y="712"/>
                  <a:pt x="428" y="714"/>
                  <a:pt x="426" y="712"/>
                </a:cubicBezTo>
                <a:close/>
                <a:moveTo>
                  <a:pt x="422" y="722"/>
                </a:moveTo>
                <a:cubicBezTo>
                  <a:pt x="422" y="721"/>
                  <a:pt x="424" y="722"/>
                  <a:pt x="424" y="722"/>
                </a:cubicBezTo>
                <a:cubicBezTo>
                  <a:pt x="425" y="724"/>
                  <a:pt x="421" y="723"/>
                  <a:pt x="422" y="722"/>
                </a:cubicBezTo>
                <a:close/>
                <a:moveTo>
                  <a:pt x="429" y="731"/>
                </a:moveTo>
                <a:cubicBezTo>
                  <a:pt x="425" y="733"/>
                  <a:pt x="428" y="726"/>
                  <a:pt x="428" y="730"/>
                </a:cubicBezTo>
                <a:cubicBezTo>
                  <a:pt x="428" y="730"/>
                  <a:pt x="429" y="731"/>
                  <a:pt x="429" y="731"/>
                </a:cubicBezTo>
                <a:close/>
                <a:moveTo>
                  <a:pt x="428" y="722"/>
                </a:moveTo>
                <a:cubicBezTo>
                  <a:pt x="428" y="721"/>
                  <a:pt x="430" y="723"/>
                  <a:pt x="429" y="723"/>
                </a:cubicBezTo>
                <a:cubicBezTo>
                  <a:pt x="429" y="724"/>
                  <a:pt x="427" y="723"/>
                  <a:pt x="428" y="722"/>
                </a:cubicBezTo>
                <a:cubicBezTo>
                  <a:pt x="427" y="723"/>
                  <a:pt x="424" y="722"/>
                  <a:pt x="424" y="720"/>
                </a:cubicBezTo>
                <a:cubicBezTo>
                  <a:pt x="424" y="720"/>
                  <a:pt x="426" y="718"/>
                  <a:pt x="425" y="718"/>
                </a:cubicBezTo>
                <a:cubicBezTo>
                  <a:pt x="426" y="718"/>
                  <a:pt x="429" y="721"/>
                  <a:pt x="428" y="722"/>
                </a:cubicBezTo>
                <a:close/>
                <a:moveTo>
                  <a:pt x="427" y="702"/>
                </a:moveTo>
                <a:cubicBezTo>
                  <a:pt x="427" y="702"/>
                  <a:pt x="428" y="702"/>
                  <a:pt x="428" y="702"/>
                </a:cubicBezTo>
                <a:cubicBezTo>
                  <a:pt x="428" y="704"/>
                  <a:pt x="426" y="702"/>
                  <a:pt x="427" y="702"/>
                </a:cubicBezTo>
                <a:close/>
                <a:moveTo>
                  <a:pt x="424" y="697"/>
                </a:moveTo>
                <a:cubicBezTo>
                  <a:pt x="425" y="697"/>
                  <a:pt x="429" y="698"/>
                  <a:pt x="430" y="699"/>
                </a:cubicBezTo>
                <a:cubicBezTo>
                  <a:pt x="430" y="700"/>
                  <a:pt x="425" y="699"/>
                  <a:pt x="424" y="697"/>
                </a:cubicBezTo>
                <a:close/>
                <a:moveTo>
                  <a:pt x="430" y="690"/>
                </a:moveTo>
                <a:cubicBezTo>
                  <a:pt x="430" y="690"/>
                  <a:pt x="431" y="690"/>
                  <a:pt x="431" y="690"/>
                </a:cubicBezTo>
                <a:cubicBezTo>
                  <a:pt x="432" y="691"/>
                  <a:pt x="429" y="691"/>
                  <a:pt x="430" y="690"/>
                </a:cubicBezTo>
                <a:close/>
                <a:moveTo>
                  <a:pt x="435" y="698"/>
                </a:moveTo>
                <a:cubicBezTo>
                  <a:pt x="435" y="698"/>
                  <a:pt x="436" y="698"/>
                  <a:pt x="436" y="698"/>
                </a:cubicBezTo>
                <a:cubicBezTo>
                  <a:pt x="436" y="699"/>
                  <a:pt x="435" y="699"/>
                  <a:pt x="435" y="698"/>
                </a:cubicBezTo>
                <a:close/>
                <a:moveTo>
                  <a:pt x="437" y="693"/>
                </a:moveTo>
                <a:cubicBezTo>
                  <a:pt x="435" y="692"/>
                  <a:pt x="438" y="694"/>
                  <a:pt x="437" y="693"/>
                </a:cubicBezTo>
                <a:close/>
                <a:moveTo>
                  <a:pt x="438" y="696"/>
                </a:moveTo>
                <a:cubicBezTo>
                  <a:pt x="439" y="697"/>
                  <a:pt x="437" y="694"/>
                  <a:pt x="438" y="696"/>
                </a:cubicBezTo>
                <a:close/>
                <a:moveTo>
                  <a:pt x="432" y="689"/>
                </a:moveTo>
                <a:cubicBezTo>
                  <a:pt x="429" y="687"/>
                  <a:pt x="433" y="688"/>
                  <a:pt x="434" y="689"/>
                </a:cubicBezTo>
                <a:cubicBezTo>
                  <a:pt x="437" y="690"/>
                  <a:pt x="443" y="691"/>
                  <a:pt x="443" y="693"/>
                </a:cubicBezTo>
                <a:cubicBezTo>
                  <a:pt x="440" y="691"/>
                  <a:pt x="436" y="691"/>
                  <a:pt x="432" y="689"/>
                </a:cubicBezTo>
                <a:close/>
                <a:moveTo>
                  <a:pt x="439" y="682"/>
                </a:moveTo>
                <a:cubicBezTo>
                  <a:pt x="439" y="682"/>
                  <a:pt x="439" y="682"/>
                  <a:pt x="439" y="682"/>
                </a:cubicBezTo>
                <a:cubicBezTo>
                  <a:pt x="438" y="684"/>
                  <a:pt x="437" y="680"/>
                  <a:pt x="439" y="682"/>
                </a:cubicBezTo>
                <a:close/>
                <a:moveTo>
                  <a:pt x="446" y="681"/>
                </a:moveTo>
                <a:cubicBezTo>
                  <a:pt x="446" y="681"/>
                  <a:pt x="447" y="681"/>
                  <a:pt x="447" y="681"/>
                </a:cubicBezTo>
                <a:cubicBezTo>
                  <a:pt x="447" y="682"/>
                  <a:pt x="445" y="682"/>
                  <a:pt x="446" y="681"/>
                </a:cubicBezTo>
                <a:close/>
                <a:moveTo>
                  <a:pt x="442" y="678"/>
                </a:moveTo>
                <a:cubicBezTo>
                  <a:pt x="440" y="677"/>
                  <a:pt x="440" y="675"/>
                  <a:pt x="440" y="674"/>
                </a:cubicBezTo>
                <a:cubicBezTo>
                  <a:pt x="439" y="674"/>
                  <a:pt x="436" y="675"/>
                  <a:pt x="437" y="673"/>
                </a:cubicBezTo>
                <a:cubicBezTo>
                  <a:pt x="438" y="672"/>
                  <a:pt x="438" y="674"/>
                  <a:pt x="439" y="673"/>
                </a:cubicBezTo>
                <a:cubicBezTo>
                  <a:pt x="441" y="673"/>
                  <a:pt x="441" y="672"/>
                  <a:pt x="442" y="672"/>
                </a:cubicBezTo>
                <a:cubicBezTo>
                  <a:pt x="444" y="671"/>
                  <a:pt x="447" y="673"/>
                  <a:pt x="447" y="675"/>
                </a:cubicBezTo>
                <a:cubicBezTo>
                  <a:pt x="447" y="678"/>
                  <a:pt x="445" y="679"/>
                  <a:pt x="442" y="678"/>
                </a:cubicBezTo>
                <a:close/>
                <a:moveTo>
                  <a:pt x="445" y="642"/>
                </a:moveTo>
                <a:cubicBezTo>
                  <a:pt x="446" y="641"/>
                  <a:pt x="447" y="641"/>
                  <a:pt x="447" y="642"/>
                </a:cubicBezTo>
                <a:cubicBezTo>
                  <a:pt x="448" y="643"/>
                  <a:pt x="445" y="642"/>
                  <a:pt x="445" y="642"/>
                </a:cubicBezTo>
                <a:close/>
                <a:moveTo>
                  <a:pt x="447" y="580"/>
                </a:moveTo>
                <a:cubicBezTo>
                  <a:pt x="448" y="579"/>
                  <a:pt x="449" y="581"/>
                  <a:pt x="449" y="581"/>
                </a:cubicBezTo>
                <a:cubicBezTo>
                  <a:pt x="450" y="583"/>
                  <a:pt x="446" y="581"/>
                  <a:pt x="447" y="580"/>
                </a:cubicBezTo>
                <a:close/>
                <a:moveTo>
                  <a:pt x="448" y="651"/>
                </a:moveTo>
                <a:cubicBezTo>
                  <a:pt x="448" y="651"/>
                  <a:pt x="447" y="651"/>
                  <a:pt x="447" y="651"/>
                </a:cubicBezTo>
                <a:cubicBezTo>
                  <a:pt x="448" y="651"/>
                  <a:pt x="448" y="651"/>
                  <a:pt x="448" y="651"/>
                </a:cubicBezTo>
                <a:cubicBezTo>
                  <a:pt x="448" y="651"/>
                  <a:pt x="448" y="651"/>
                  <a:pt x="448" y="651"/>
                </a:cubicBezTo>
                <a:close/>
                <a:moveTo>
                  <a:pt x="448" y="640"/>
                </a:moveTo>
                <a:cubicBezTo>
                  <a:pt x="448" y="640"/>
                  <a:pt x="449" y="640"/>
                  <a:pt x="450" y="641"/>
                </a:cubicBezTo>
                <a:cubicBezTo>
                  <a:pt x="450" y="642"/>
                  <a:pt x="448" y="641"/>
                  <a:pt x="448" y="640"/>
                </a:cubicBezTo>
                <a:close/>
                <a:moveTo>
                  <a:pt x="450" y="636"/>
                </a:moveTo>
                <a:cubicBezTo>
                  <a:pt x="451" y="636"/>
                  <a:pt x="451" y="636"/>
                  <a:pt x="451" y="636"/>
                </a:cubicBezTo>
                <a:cubicBezTo>
                  <a:pt x="452" y="638"/>
                  <a:pt x="449" y="636"/>
                  <a:pt x="450" y="636"/>
                </a:cubicBezTo>
                <a:close/>
                <a:moveTo>
                  <a:pt x="451" y="642"/>
                </a:moveTo>
                <a:cubicBezTo>
                  <a:pt x="452" y="641"/>
                  <a:pt x="453" y="642"/>
                  <a:pt x="454" y="643"/>
                </a:cubicBezTo>
                <a:cubicBezTo>
                  <a:pt x="456" y="646"/>
                  <a:pt x="448" y="644"/>
                  <a:pt x="451" y="642"/>
                </a:cubicBezTo>
                <a:close/>
                <a:moveTo>
                  <a:pt x="451" y="666"/>
                </a:moveTo>
                <a:cubicBezTo>
                  <a:pt x="452" y="665"/>
                  <a:pt x="452" y="666"/>
                  <a:pt x="453" y="666"/>
                </a:cubicBezTo>
                <a:cubicBezTo>
                  <a:pt x="454" y="668"/>
                  <a:pt x="450" y="666"/>
                  <a:pt x="451" y="666"/>
                </a:cubicBezTo>
                <a:close/>
                <a:moveTo>
                  <a:pt x="453" y="682"/>
                </a:moveTo>
                <a:cubicBezTo>
                  <a:pt x="453" y="682"/>
                  <a:pt x="453" y="682"/>
                  <a:pt x="453" y="681"/>
                </a:cubicBezTo>
                <a:cubicBezTo>
                  <a:pt x="454" y="681"/>
                  <a:pt x="454" y="683"/>
                  <a:pt x="453" y="682"/>
                </a:cubicBezTo>
                <a:close/>
                <a:moveTo>
                  <a:pt x="456" y="685"/>
                </a:moveTo>
                <a:cubicBezTo>
                  <a:pt x="456" y="684"/>
                  <a:pt x="457" y="685"/>
                  <a:pt x="458" y="685"/>
                </a:cubicBezTo>
                <a:cubicBezTo>
                  <a:pt x="459" y="686"/>
                  <a:pt x="456" y="686"/>
                  <a:pt x="456" y="685"/>
                </a:cubicBezTo>
                <a:close/>
                <a:moveTo>
                  <a:pt x="458" y="702"/>
                </a:moveTo>
                <a:cubicBezTo>
                  <a:pt x="458" y="701"/>
                  <a:pt x="459" y="701"/>
                  <a:pt x="459" y="702"/>
                </a:cubicBezTo>
                <a:cubicBezTo>
                  <a:pt x="460" y="704"/>
                  <a:pt x="456" y="703"/>
                  <a:pt x="458" y="702"/>
                </a:cubicBezTo>
                <a:close/>
                <a:moveTo>
                  <a:pt x="460" y="691"/>
                </a:moveTo>
                <a:cubicBezTo>
                  <a:pt x="460" y="689"/>
                  <a:pt x="464" y="690"/>
                  <a:pt x="464" y="690"/>
                </a:cubicBezTo>
                <a:cubicBezTo>
                  <a:pt x="466" y="692"/>
                  <a:pt x="460" y="691"/>
                  <a:pt x="460" y="691"/>
                </a:cubicBezTo>
                <a:close/>
                <a:moveTo>
                  <a:pt x="466" y="690"/>
                </a:moveTo>
                <a:cubicBezTo>
                  <a:pt x="465" y="692"/>
                  <a:pt x="465" y="689"/>
                  <a:pt x="466" y="690"/>
                </a:cubicBezTo>
                <a:close/>
                <a:moveTo>
                  <a:pt x="459" y="679"/>
                </a:moveTo>
                <a:cubicBezTo>
                  <a:pt x="459" y="678"/>
                  <a:pt x="459" y="677"/>
                  <a:pt x="459" y="677"/>
                </a:cubicBezTo>
                <a:cubicBezTo>
                  <a:pt x="457" y="676"/>
                  <a:pt x="456" y="677"/>
                  <a:pt x="454" y="677"/>
                </a:cubicBezTo>
                <a:cubicBezTo>
                  <a:pt x="460" y="675"/>
                  <a:pt x="449" y="672"/>
                  <a:pt x="453" y="669"/>
                </a:cubicBezTo>
                <a:cubicBezTo>
                  <a:pt x="454" y="668"/>
                  <a:pt x="457" y="670"/>
                  <a:pt x="457" y="667"/>
                </a:cubicBezTo>
                <a:cubicBezTo>
                  <a:pt x="457" y="671"/>
                  <a:pt x="461" y="666"/>
                  <a:pt x="465" y="667"/>
                </a:cubicBezTo>
                <a:cubicBezTo>
                  <a:pt x="467" y="668"/>
                  <a:pt x="469" y="671"/>
                  <a:pt x="469" y="673"/>
                </a:cubicBezTo>
                <a:cubicBezTo>
                  <a:pt x="469" y="673"/>
                  <a:pt x="462" y="681"/>
                  <a:pt x="459" y="679"/>
                </a:cubicBezTo>
                <a:close/>
                <a:moveTo>
                  <a:pt x="460" y="633"/>
                </a:moveTo>
                <a:cubicBezTo>
                  <a:pt x="461" y="633"/>
                  <a:pt x="458" y="632"/>
                  <a:pt x="460" y="633"/>
                </a:cubicBezTo>
                <a:close/>
                <a:moveTo>
                  <a:pt x="460" y="643"/>
                </a:moveTo>
                <a:cubicBezTo>
                  <a:pt x="459" y="644"/>
                  <a:pt x="459" y="641"/>
                  <a:pt x="460" y="643"/>
                </a:cubicBezTo>
                <a:close/>
                <a:moveTo>
                  <a:pt x="471" y="641"/>
                </a:moveTo>
                <a:cubicBezTo>
                  <a:pt x="467" y="642"/>
                  <a:pt x="468" y="638"/>
                  <a:pt x="471" y="641"/>
                </a:cubicBezTo>
                <a:close/>
                <a:moveTo>
                  <a:pt x="469" y="656"/>
                </a:moveTo>
                <a:cubicBezTo>
                  <a:pt x="470" y="656"/>
                  <a:pt x="467" y="655"/>
                  <a:pt x="469" y="656"/>
                </a:cubicBezTo>
                <a:close/>
                <a:moveTo>
                  <a:pt x="467" y="622"/>
                </a:moveTo>
                <a:cubicBezTo>
                  <a:pt x="467" y="621"/>
                  <a:pt x="468" y="622"/>
                  <a:pt x="468" y="622"/>
                </a:cubicBezTo>
                <a:cubicBezTo>
                  <a:pt x="469" y="624"/>
                  <a:pt x="466" y="622"/>
                  <a:pt x="467" y="622"/>
                </a:cubicBezTo>
                <a:close/>
                <a:moveTo>
                  <a:pt x="466" y="598"/>
                </a:moveTo>
                <a:cubicBezTo>
                  <a:pt x="467" y="598"/>
                  <a:pt x="467" y="599"/>
                  <a:pt x="467" y="599"/>
                </a:cubicBezTo>
                <a:cubicBezTo>
                  <a:pt x="468" y="601"/>
                  <a:pt x="465" y="599"/>
                  <a:pt x="466" y="598"/>
                </a:cubicBezTo>
                <a:close/>
                <a:moveTo>
                  <a:pt x="470" y="684"/>
                </a:moveTo>
                <a:cubicBezTo>
                  <a:pt x="472" y="686"/>
                  <a:pt x="466" y="685"/>
                  <a:pt x="467" y="683"/>
                </a:cubicBezTo>
                <a:cubicBezTo>
                  <a:pt x="468" y="682"/>
                  <a:pt x="470" y="683"/>
                  <a:pt x="470" y="684"/>
                </a:cubicBezTo>
                <a:close/>
                <a:moveTo>
                  <a:pt x="469" y="666"/>
                </a:moveTo>
                <a:cubicBezTo>
                  <a:pt x="469" y="665"/>
                  <a:pt x="470" y="665"/>
                  <a:pt x="470" y="666"/>
                </a:cubicBezTo>
                <a:cubicBezTo>
                  <a:pt x="471" y="667"/>
                  <a:pt x="469" y="666"/>
                  <a:pt x="469" y="666"/>
                </a:cubicBezTo>
                <a:close/>
                <a:moveTo>
                  <a:pt x="470" y="689"/>
                </a:moveTo>
                <a:cubicBezTo>
                  <a:pt x="475" y="693"/>
                  <a:pt x="467" y="695"/>
                  <a:pt x="467" y="690"/>
                </a:cubicBezTo>
                <a:cubicBezTo>
                  <a:pt x="467" y="690"/>
                  <a:pt x="468" y="687"/>
                  <a:pt x="468" y="687"/>
                </a:cubicBezTo>
                <a:cubicBezTo>
                  <a:pt x="472" y="685"/>
                  <a:pt x="474" y="691"/>
                  <a:pt x="470" y="689"/>
                </a:cubicBezTo>
                <a:close/>
                <a:moveTo>
                  <a:pt x="472" y="667"/>
                </a:moveTo>
                <a:cubicBezTo>
                  <a:pt x="472" y="667"/>
                  <a:pt x="473" y="668"/>
                  <a:pt x="473" y="668"/>
                </a:cubicBezTo>
                <a:cubicBezTo>
                  <a:pt x="475" y="670"/>
                  <a:pt x="470" y="668"/>
                  <a:pt x="472" y="667"/>
                </a:cubicBezTo>
                <a:close/>
                <a:moveTo>
                  <a:pt x="474" y="664"/>
                </a:moveTo>
                <a:cubicBezTo>
                  <a:pt x="474" y="664"/>
                  <a:pt x="475" y="664"/>
                  <a:pt x="475" y="665"/>
                </a:cubicBezTo>
                <a:cubicBezTo>
                  <a:pt x="476" y="667"/>
                  <a:pt x="472" y="665"/>
                  <a:pt x="474" y="664"/>
                </a:cubicBezTo>
                <a:close/>
                <a:moveTo>
                  <a:pt x="476" y="687"/>
                </a:moveTo>
                <a:cubicBezTo>
                  <a:pt x="475" y="687"/>
                  <a:pt x="475" y="684"/>
                  <a:pt x="476" y="685"/>
                </a:cubicBezTo>
                <a:cubicBezTo>
                  <a:pt x="476" y="685"/>
                  <a:pt x="476" y="686"/>
                  <a:pt x="476" y="687"/>
                </a:cubicBezTo>
                <a:close/>
                <a:moveTo>
                  <a:pt x="476" y="673"/>
                </a:moveTo>
                <a:cubicBezTo>
                  <a:pt x="476" y="673"/>
                  <a:pt x="477" y="672"/>
                  <a:pt x="477" y="673"/>
                </a:cubicBezTo>
                <a:cubicBezTo>
                  <a:pt x="478" y="674"/>
                  <a:pt x="476" y="674"/>
                  <a:pt x="476" y="673"/>
                </a:cubicBezTo>
                <a:close/>
                <a:moveTo>
                  <a:pt x="481" y="671"/>
                </a:moveTo>
                <a:cubicBezTo>
                  <a:pt x="477" y="671"/>
                  <a:pt x="479" y="668"/>
                  <a:pt x="481" y="671"/>
                </a:cubicBezTo>
                <a:close/>
                <a:moveTo>
                  <a:pt x="482" y="658"/>
                </a:moveTo>
                <a:cubicBezTo>
                  <a:pt x="477" y="657"/>
                  <a:pt x="479" y="654"/>
                  <a:pt x="482" y="658"/>
                </a:cubicBezTo>
                <a:close/>
                <a:moveTo>
                  <a:pt x="480" y="668"/>
                </a:moveTo>
                <a:cubicBezTo>
                  <a:pt x="481" y="667"/>
                  <a:pt x="481" y="669"/>
                  <a:pt x="480" y="668"/>
                </a:cubicBezTo>
                <a:close/>
                <a:moveTo>
                  <a:pt x="487" y="691"/>
                </a:moveTo>
                <a:cubicBezTo>
                  <a:pt x="488" y="690"/>
                  <a:pt x="489" y="692"/>
                  <a:pt x="489" y="692"/>
                </a:cubicBezTo>
                <a:cubicBezTo>
                  <a:pt x="490" y="695"/>
                  <a:pt x="486" y="693"/>
                  <a:pt x="487" y="691"/>
                </a:cubicBezTo>
                <a:close/>
                <a:moveTo>
                  <a:pt x="493" y="686"/>
                </a:moveTo>
                <a:cubicBezTo>
                  <a:pt x="493" y="686"/>
                  <a:pt x="493" y="686"/>
                  <a:pt x="493" y="686"/>
                </a:cubicBezTo>
                <a:cubicBezTo>
                  <a:pt x="493" y="686"/>
                  <a:pt x="493" y="686"/>
                  <a:pt x="493" y="686"/>
                </a:cubicBezTo>
                <a:cubicBezTo>
                  <a:pt x="493" y="686"/>
                  <a:pt x="493" y="686"/>
                  <a:pt x="493" y="686"/>
                </a:cubicBezTo>
                <a:close/>
                <a:moveTo>
                  <a:pt x="495" y="682"/>
                </a:moveTo>
                <a:cubicBezTo>
                  <a:pt x="497" y="683"/>
                  <a:pt x="494" y="681"/>
                  <a:pt x="495" y="682"/>
                </a:cubicBezTo>
                <a:close/>
                <a:moveTo>
                  <a:pt x="497" y="681"/>
                </a:moveTo>
                <a:cubicBezTo>
                  <a:pt x="497" y="681"/>
                  <a:pt x="497" y="681"/>
                  <a:pt x="497" y="681"/>
                </a:cubicBezTo>
                <a:cubicBezTo>
                  <a:pt x="496" y="680"/>
                  <a:pt x="497" y="681"/>
                  <a:pt x="497" y="681"/>
                </a:cubicBezTo>
                <a:close/>
                <a:moveTo>
                  <a:pt x="496" y="673"/>
                </a:moveTo>
                <a:cubicBezTo>
                  <a:pt x="497" y="674"/>
                  <a:pt x="494" y="674"/>
                  <a:pt x="495" y="673"/>
                </a:cubicBezTo>
                <a:cubicBezTo>
                  <a:pt x="495" y="673"/>
                  <a:pt x="496" y="672"/>
                  <a:pt x="496" y="673"/>
                </a:cubicBezTo>
                <a:close/>
                <a:moveTo>
                  <a:pt x="494" y="670"/>
                </a:moveTo>
                <a:cubicBezTo>
                  <a:pt x="494" y="670"/>
                  <a:pt x="495" y="669"/>
                  <a:pt x="495" y="670"/>
                </a:cubicBezTo>
                <a:cubicBezTo>
                  <a:pt x="496" y="671"/>
                  <a:pt x="492" y="670"/>
                  <a:pt x="494" y="670"/>
                </a:cubicBezTo>
                <a:close/>
                <a:moveTo>
                  <a:pt x="492" y="681"/>
                </a:moveTo>
                <a:cubicBezTo>
                  <a:pt x="492" y="682"/>
                  <a:pt x="494" y="684"/>
                  <a:pt x="494" y="685"/>
                </a:cubicBezTo>
                <a:cubicBezTo>
                  <a:pt x="493" y="685"/>
                  <a:pt x="489" y="685"/>
                  <a:pt x="492" y="682"/>
                </a:cubicBezTo>
                <a:cubicBezTo>
                  <a:pt x="488" y="683"/>
                  <a:pt x="489" y="680"/>
                  <a:pt x="492" y="681"/>
                </a:cubicBezTo>
                <a:close/>
                <a:moveTo>
                  <a:pt x="488" y="684"/>
                </a:moveTo>
                <a:cubicBezTo>
                  <a:pt x="488" y="684"/>
                  <a:pt x="490" y="685"/>
                  <a:pt x="490" y="685"/>
                </a:cubicBezTo>
                <a:cubicBezTo>
                  <a:pt x="491" y="687"/>
                  <a:pt x="486" y="686"/>
                  <a:pt x="488" y="684"/>
                </a:cubicBezTo>
                <a:close/>
                <a:moveTo>
                  <a:pt x="485" y="687"/>
                </a:moveTo>
                <a:cubicBezTo>
                  <a:pt x="485" y="686"/>
                  <a:pt x="486" y="685"/>
                  <a:pt x="487" y="687"/>
                </a:cubicBezTo>
                <a:cubicBezTo>
                  <a:pt x="489" y="688"/>
                  <a:pt x="485" y="688"/>
                  <a:pt x="485" y="687"/>
                </a:cubicBezTo>
                <a:close/>
                <a:moveTo>
                  <a:pt x="485" y="684"/>
                </a:moveTo>
                <a:cubicBezTo>
                  <a:pt x="485" y="683"/>
                  <a:pt x="486" y="683"/>
                  <a:pt x="486" y="683"/>
                </a:cubicBezTo>
                <a:cubicBezTo>
                  <a:pt x="487" y="685"/>
                  <a:pt x="485" y="684"/>
                  <a:pt x="485" y="684"/>
                </a:cubicBezTo>
                <a:close/>
                <a:moveTo>
                  <a:pt x="485" y="683"/>
                </a:moveTo>
                <a:cubicBezTo>
                  <a:pt x="480" y="684"/>
                  <a:pt x="485" y="678"/>
                  <a:pt x="487" y="680"/>
                </a:cubicBezTo>
                <a:cubicBezTo>
                  <a:pt x="487" y="680"/>
                  <a:pt x="485" y="683"/>
                  <a:pt x="485" y="683"/>
                </a:cubicBezTo>
                <a:close/>
                <a:moveTo>
                  <a:pt x="484" y="665"/>
                </a:moveTo>
                <a:cubicBezTo>
                  <a:pt x="484" y="665"/>
                  <a:pt x="485" y="666"/>
                  <a:pt x="485" y="666"/>
                </a:cubicBezTo>
                <a:cubicBezTo>
                  <a:pt x="486" y="667"/>
                  <a:pt x="483" y="666"/>
                  <a:pt x="484" y="665"/>
                </a:cubicBezTo>
                <a:close/>
                <a:moveTo>
                  <a:pt x="486" y="676"/>
                </a:moveTo>
                <a:cubicBezTo>
                  <a:pt x="485" y="676"/>
                  <a:pt x="483" y="672"/>
                  <a:pt x="481" y="672"/>
                </a:cubicBezTo>
                <a:cubicBezTo>
                  <a:pt x="484" y="671"/>
                  <a:pt x="487" y="675"/>
                  <a:pt x="486" y="676"/>
                </a:cubicBezTo>
                <a:close/>
                <a:moveTo>
                  <a:pt x="484" y="651"/>
                </a:moveTo>
                <a:cubicBezTo>
                  <a:pt x="482" y="653"/>
                  <a:pt x="480" y="649"/>
                  <a:pt x="479" y="648"/>
                </a:cubicBezTo>
                <a:cubicBezTo>
                  <a:pt x="480" y="648"/>
                  <a:pt x="485" y="650"/>
                  <a:pt x="484" y="651"/>
                </a:cubicBezTo>
                <a:close/>
                <a:moveTo>
                  <a:pt x="482" y="644"/>
                </a:moveTo>
                <a:cubicBezTo>
                  <a:pt x="484" y="644"/>
                  <a:pt x="483" y="646"/>
                  <a:pt x="482" y="644"/>
                </a:cubicBezTo>
                <a:close/>
                <a:moveTo>
                  <a:pt x="482" y="639"/>
                </a:moveTo>
                <a:cubicBezTo>
                  <a:pt x="483" y="642"/>
                  <a:pt x="477" y="641"/>
                  <a:pt x="478" y="639"/>
                </a:cubicBezTo>
                <a:cubicBezTo>
                  <a:pt x="479" y="637"/>
                  <a:pt x="482" y="638"/>
                  <a:pt x="482" y="639"/>
                </a:cubicBezTo>
                <a:close/>
                <a:moveTo>
                  <a:pt x="481" y="637"/>
                </a:moveTo>
                <a:cubicBezTo>
                  <a:pt x="480" y="636"/>
                  <a:pt x="481" y="635"/>
                  <a:pt x="481" y="637"/>
                </a:cubicBezTo>
                <a:close/>
                <a:moveTo>
                  <a:pt x="482" y="621"/>
                </a:moveTo>
                <a:cubicBezTo>
                  <a:pt x="481" y="622"/>
                  <a:pt x="481" y="621"/>
                  <a:pt x="480" y="621"/>
                </a:cubicBezTo>
                <a:cubicBezTo>
                  <a:pt x="481" y="620"/>
                  <a:pt x="481" y="621"/>
                  <a:pt x="482" y="621"/>
                </a:cubicBezTo>
                <a:close/>
                <a:moveTo>
                  <a:pt x="480" y="622"/>
                </a:moveTo>
                <a:cubicBezTo>
                  <a:pt x="481" y="622"/>
                  <a:pt x="480" y="623"/>
                  <a:pt x="479" y="622"/>
                </a:cubicBezTo>
                <a:cubicBezTo>
                  <a:pt x="479" y="622"/>
                  <a:pt x="480" y="621"/>
                  <a:pt x="480" y="622"/>
                </a:cubicBezTo>
                <a:close/>
                <a:moveTo>
                  <a:pt x="479" y="615"/>
                </a:moveTo>
                <a:cubicBezTo>
                  <a:pt x="480" y="616"/>
                  <a:pt x="477" y="615"/>
                  <a:pt x="477" y="615"/>
                </a:cubicBezTo>
                <a:cubicBezTo>
                  <a:pt x="477" y="614"/>
                  <a:pt x="479" y="614"/>
                  <a:pt x="479" y="615"/>
                </a:cubicBezTo>
                <a:close/>
                <a:moveTo>
                  <a:pt x="477" y="640"/>
                </a:moveTo>
                <a:cubicBezTo>
                  <a:pt x="478" y="641"/>
                  <a:pt x="476" y="638"/>
                  <a:pt x="477" y="640"/>
                </a:cubicBezTo>
                <a:close/>
                <a:moveTo>
                  <a:pt x="477" y="654"/>
                </a:moveTo>
                <a:cubicBezTo>
                  <a:pt x="478" y="655"/>
                  <a:pt x="476" y="654"/>
                  <a:pt x="476" y="654"/>
                </a:cubicBezTo>
                <a:cubicBezTo>
                  <a:pt x="475" y="653"/>
                  <a:pt x="477" y="654"/>
                  <a:pt x="477" y="654"/>
                </a:cubicBezTo>
                <a:close/>
                <a:moveTo>
                  <a:pt x="476" y="611"/>
                </a:moveTo>
                <a:cubicBezTo>
                  <a:pt x="477" y="612"/>
                  <a:pt x="475" y="609"/>
                  <a:pt x="476" y="611"/>
                </a:cubicBezTo>
                <a:close/>
                <a:moveTo>
                  <a:pt x="476" y="642"/>
                </a:moveTo>
                <a:cubicBezTo>
                  <a:pt x="475" y="643"/>
                  <a:pt x="475" y="640"/>
                  <a:pt x="476" y="642"/>
                </a:cubicBezTo>
                <a:close/>
                <a:moveTo>
                  <a:pt x="474" y="617"/>
                </a:moveTo>
                <a:cubicBezTo>
                  <a:pt x="475" y="617"/>
                  <a:pt x="474" y="618"/>
                  <a:pt x="473" y="617"/>
                </a:cubicBezTo>
                <a:cubicBezTo>
                  <a:pt x="473" y="617"/>
                  <a:pt x="474" y="616"/>
                  <a:pt x="474" y="617"/>
                </a:cubicBezTo>
                <a:close/>
                <a:moveTo>
                  <a:pt x="476" y="646"/>
                </a:moveTo>
                <a:cubicBezTo>
                  <a:pt x="475" y="645"/>
                  <a:pt x="474" y="644"/>
                  <a:pt x="473" y="644"/>
                </a:cubicBezTo>
                <a:cubicBezTo>
                  <a:pt x="474" y="644"/>
                  <a:pt x="476" y="645"/>
                  <a:pt x="476" y="646"/>
                </a:cubicBezTo>
                <a:close/>
                <a:moveTo>
                  <a:pt x="475" y="654"/>
                </a:moveTo>
                <a:cubicBezTo>
                  <a:pt x="475" y="654"/>
                  <a:pt x="474" y="657"/>
                  <a:pt x="473" y="656"/>
                </a:cubicBezTo>
                <a:cubicBezTo>
                  <a:pt x="471" y="655"/>
                  <a:pt x="474" y="651"/>
                  <a:pt x="475" y="654"/>
                </a:cubicBezTo>
                <a:close/>
                <a:moveTo>
                  <a:pt x="474" y="661"/>
                </a:moveTo>
                <a:cubicBezTo>
                  <a:pt x="476" y="667"/>
                  <a:pt x="462" y="660"/>
                  <a:pt x="467" y="656"/>
                </a:cubicBezTo>
                <a:cubicBezTo>
                  <a:pt x="466" y="657"/>
                  <a:pt x="470" y="657"/>
                  <a:pt x="469" y="657"/>
                </a:cubicBezTo>
                <a:cubicBezTo>
                  <a:pt x="470" y="657"/>
                  <a:pt x="474" y="660"/>
                  <a:pt x="474" y="661"/>
                </a:cubicBezTo>
                <a:close/>
                <a:moveTo>
                  <a:pt x="468" y="591"/>
                </a:moveTo>
                <a:cubicBezTo>
                  <a:pt x="466" y="590"/>
                  <a:pt x="467" y="589"/>
                  <a:pt x="466" y="588"/>
                </a:cubicBezTo>
                <a:cubicBezTo>
                  <a:pt x="466" y="587"/>
                  <a:pt x="465" y="586"/>
                  <a:pt x="465" y="585"/>
                </a:cubicBezTo>
                <a:cubicBezTo>
                  <a:pt x="466" y="581"/>
                  <a:pt x="472" y="585"/>
                  <a:pt x="471" y="589"/>
                </a:cubicBezTo>
                <a:cubicBezTo>
                  <a:pt x="471" y="590"/>
                  <a:pt x="470" y="593"/>
                  <a:pt x="468" y="591"/>
                </a:cubicBezTo>
                <a:close/>
                <a:moveTo>
                  <a:pt x="466" y="483"/>
                </a:moveTo>
                <a:cubicBezTo>
                  <a:pt x="468" y="484"/>
                  <a:pt x="467" y="485"/>
                  <a:pt x="469" y="486"/>
                </a:cubicBezTo>
                <a:cubicBezTo>
                  <a:pt x="468" y="486"/>
                  <a:pt x="466" y="485"/>
                  <a:pt x="466" y="483"/>
                </a:cubicBezTo>
                <a:close/>
                <a:moveTo>
                  <a:pt x="475" y="566"/>
                </a:moveTo>
                <a:cubicBezTo>
                  <a:pt x="476" y="565"/>
                  <a:pt x="478" y="567"/>
                  <a:pt x="478" y="567"/>
                </a:cubicBezTo>
                <a:cubicBezTo>
                  <a:pt x="479" y="569"/>
                  <a:pt x="474" y="567"/>
                  <a:pt x="475" y="566"/>
                </a:cubicBezTo>
                <a:close/>
                <a:moveTo>
                  <a:pt x="477" y="592"/>
                </a:moveTo>
                <a:cubicBezTo>
                  <a:pt x="477" y="592"/>
                  <a:pt x="476" y="591"/>
                  <a:pt x="477" y="592"/>
                </a:cubicBezTo>
                <a:cubicBezTo>
                  <a:pt x="477" y="593"/>
                  <a:pt x="477" y="592"/>
                  <a:pt x="477" y="592"/>
                </a:cubicBezTo>
                <a:close/>
                <a:moveTo>
                  <a:pt x="477" y="587"/>
                </a:moveTo>
                <a:cubicBezTo>
                  <a:pt x="478" y="586"/>
                  <a:pt x="479" y="588"/>
                  <a:pt x="480" y="588"/>
                </a:cubicBezTo>
                <a:cubicBezTo>
                  <a:pt x="480" y="591"/>
                  <a:pt x="475" y="588"/>
                  <a:pt x="477" y="587"/>
                </a:cubicBezTo>
                <a:close/>
                <a:moveTo>
                  <a:pt x="479" y="454"/>
                </a:moveTo>
                <a:cubicBezTo>
                  <a:pt x="478" y="453"/>
                  <a:pt x="480" y="456"/>
                  <a:pt x="479" y="454"/>
                </a:cubicBezTo>
                <a:close/>
                <a:moveTo>
                  <a:pt x="496" y="587"/>
                </a:moveTo>
                <a:cubicBezTo>
                  <a:pt x="497" y="588"/>
                  <a:pt x="495" y="587"/>
                  <a:pt x="495" y="586"/>
                </a:cubicBezTo>
                <a:cubicBezTo>
                  <a:pt x="496" y="586"/>
                  <a:pt x="496" y="586"/>
                  <a:pt x="496" y="587"/>
                </a:cubicBezTo>
                <a:close/>
                <a:moveTo>
                  <a:pt x="496" y="580"/>
                </a:moveTo>
                <a:cubicBezTo>
                  <a:pt x="495" y="578"/>
                  <a:pt x="496" y="582"/>
                  <a:pt x="496" y="580"/>
                </a:cubicBezTo>
                <a:close/>
                <a:moveTo>
                  <a:pt x="496" y="559"/>
                </a:moveTo>
                <a:cubicBezTo>
                  <a:pt x="496" y="559"/>
                  <a:pt x="496" y="559"/>
                  <a:pt x="496" y="560"/>
                </a:cubicBezTo>
                <a:cubicBezTo>
                  <a:pt x="497" y="561"/>
                  <a:pt x="496" y="560"/>
                  <a:pt x="496" y="559"/>
                </a:cubicBezTo>
                <a:close/>
                <a:moveTo>
                  <a:pt x="496" y="596"/>
                </a:moveTo>
                <a:cubicBezTo>
                  <a:pt x="495" y="595"/>
                  <a:pt x="497" y="597"/>
                  <a:pt x="496" y="596"/>
                </a:cubicBezTo>
                <a:close/>
                <a:moveTo>
                  <a:pt x="496" y="590"/>
                </a:moveTo>
                <a:cubicBezTo>
                  <a:pt x="497" y="589"/>
                  <a:pt x="498" y="592"/>
                  <a:pt x="496" y="592"/>
                </a:cubicBezTo>
                <a:cubicBezTo>
                  <a:pt x="495" y="593"/>
                  <a:pt x="495" y="591"/>
                  <a:pt x="496" y="590"/>
                </a:cubicBezTo>
                <a:close/>
                <a:moveTo>
                  <a:pt x="499" y="609"/>
                </a:moveTo>
                <a:cubicBezTo>
                  <a:pt x="502" y="612"/>
                  <a:pt x="502" y="609"/>
                  <a:pt x="504" y="609"/>
                </a:cubicBezTo>
                <a:cubicBezTo>
                  <a:pt x="504" y="609"/>
                  <a:pt x="506" y="610"/>
                  <a:pt x="506" y="611"/>
                </a:cubicBezTo>
                <a:cubicBezTo>
                  <a:pt x="508" y="615"/>
                  <a:pt x="499" y="614"/>
                  <a:pt x="499" y="609"/>
                </a:cubicBezTo>
                <a:close/>
                <a:moveTo>
                  <a:pt x="505" y="598"/>
                </a:moveTo>
                <a:cubicBezTo>
                  <a:pt x="505" y="600"/>
                  <a:pt x="503" y="601"/>
                  <a:pt x="501" y="601"/>
                </a:cubicBezTo>
                <a:cubicBezTo>
                  <a:pt x="498" y="601"/>
                  <a:pt x="497" y="598"/>
                  <a:pt x="497" y="595"/>
                </a:cubicBezTo>
                <a:cubicBezTo>
                  <a:pt x="497" y="595"/>
                  <a:pt x="497" y="594"/>
                  <a:pt x="496" y="594"/>
                </a:cubicBezTo>
                <a:cubicBezTo>
                  <a:pt x="497" y="593"/>
                  <a:pt x="500" y="593"/>
                  <a:pt x="500" y="593"/>
                </a:cubicBezTo>
                <a:cubicBezTo>
                  <a:pt x="501" y="591"/>
                  <a:pt x="496" y="591"/>
                  <a:pt x="497" y="589"/>
                </a:cubicBezTo>
                <a:cubicBezTo>
                  <a:pt x="498" y="587"/>
                  <a:pt x="500" y="590"/>
                  <a:pt x="500" y="591"/>
                </a:cubicBezTo>
                <a:cubicBezTo>
                  <a:pt x="502" y="592"/>
                  <a:pt x="503" y="590"/>
                  <a:pt x="503" y="593"/>
                </a:cubicBezTo>
                <a:cubicBezTo>
                  <a:pt x="503" y="594"/>
                  <a:pt x="506" y="597"/>
                  <a:pt x="506" y="597"/>
                </a:cubicBezTo>
                <a:cubicBezTo>
                  <a:pt x="507" y="597"/>
                  <a:pt x="507" y="595"/>
                  <a:pt x="508" y="597"/>
                </a:cubicBezTo>
                <a:cubicBezTo>
                  <a:pt x="508" y="596"/>
                  <a:pt x="507" y="600"/>
                  <a:pt x="508" y="600"/>
                </a:cubicBezTo>
                <a:cubicBezTo>
                  <a:pt x="507" y="600"/>
                  <a:pt x="506" y="600"/>
                  <a:pt x="505" y="598"/>
                </a:cubicBezTo>
                <a:close/>
                <a:moveTo>
                  <a:pt x="499" y="528"/>
                </a:moveTo>
                <a:cubicBezTo>
                  <a:pt x="500" y="528"/>
                  <a:pt x="500" y="529"/>
                  <a:pt x="501" y="529"/>
                </a:cubicBezTo>
                <a:cubicBezTo>
                  <a:pt x="502" y="530"/>
                  <a:pt x="498" y="529"/>
                  <a:pt x="499" y="528"/>
                </a:cubicBezTo>
                <a:close/>
                <a:moveTo>
                  <a:pt x="501" y="521"/>
                </a:moveTo>
                <a:cubicBezTo>
                  <a:pt x="502" y="520"/>
                  <a:pt x="502" y="522"/>
                  <a:pt x="502" y="522"/>
                </a:cubicBezTo>
                <a:cubicBezTo>
                  <a:pt x="502" y="523"/>
                  <a:pt x="500" y="521"/>
                  <a:pt x="501" y="521"/>
                </a:cubicBezTo>
                <a:close/>
                <a:moveTo>
                  <a:pt x="509" y="616"/>
                </a:moveTo>
                <a:cubicBezTo>
                  <a:pt x="508" y="616"/>
                  <a:pt x="507" y="614"/>
                  <a:pt x="508" y="614"/>
                </a:cubicBezTo>
                <a:cubicBezTo>
                  <a:pt x="510" y="614"/>
                  <a:pt x="510" y="616"/>
                  <a:pt x="509" y="616"/>
                </a:cubicBezTo>
                <a:close/>
                <a:moveTo>
                  <a:pt x="510" y="615"/>
                </a:moveTo>
                <a:cubicBezTo>
                  <a:pt x="510" y="615"/>
                  <a:pt x="511" y="615"/>
                  <a:pt x="511" y="616"/>
                </a:cubicBezTo>
                <a:cubicBezTo>
                  <a:pt x="512" y="617"/>
                  <a:pt x="510" y="616"/>
                  <a:pt x="510" y="615"/>
                </a:cubicBezTo>
                <a:close/>
                <a:moveTo>
                  <a:pt x="515" y="611"/>
                </a:moveTo>
                <a:cubicBezTo>
                  <a:pt x="514" y="610"/>
                  <a:pt x="516" y="610"/>
                  <a:pt x="515" y="611"/>
                </a:cubicBezTo>
                <a:close/>
                <a:moveTo>
                  <a:pt x="518" y="606"/>
                </a:moveTo>
                <a:cubicBezTo>
                  <a:pt x="517" y="604"/>
                  <a:pt x="519" y="603"/>
                  <a:pt x="518" y="606"/>
                </a:cubicBezTo>
                <a:close/>
                <a:moveTo>
                  <a:pt x="518" y="567"/>
                </a:moveTo>
                <a:cubicBezTo>
                  <a:pt x="517" y="568"/>
                  <a:pt x="518" y="565"/>
                  <a:pt x="518" y="567"/>
                </a:cubicBezTo>
                <a:close/>
                <a:moveTo>
                  <a:pt x="520" y="607"/>
                </a:moveTo>
                <a:cubicBezTo>
                  <a:pt x="519" y="607"/>
                  <a:pt x="520" y="607"/>
                  <a:pt x="520" y="607"/>
                </a:cubicBezTo>
                <a:close/>
                <a:moveTo>
                  <a:pt x="520" y="607"/>
                </a:moveTo>
                <a:cubicBezTo>
                  <a:pt x="520" y="608"/>
                  <a:pt x="520" y="608"/>
                  <a:pt x="520" y="608"/>
                </a:cubicBezTo>
                <a:cubicBezTo>
                  <a:pt x="520" y="608"/>
                  <a:pt x="520" y="608"/>
                  <a:pt x="520" y="608"/>
                </a:cubicBezTo>
                <a:cubicBezTo>
                  <a:pt x="520" y="608"/>
                  <a:pt x="520" y="608"/>
                  <a:pt x="520" y="607"/>
                </a:cubicBezTo>
                <a:close/>
                <a:moveTo>
                  <a:pt x="520" y="587"/>
                </a:moveTo>
                <a:cubicBezTo>
                  <a:pt x="520" y="587"/>
                  <a:pt x="521" y="588"/>
                  <a:pt x="521" y="588"/>
                </a:cubicBezTo>
                <a:cubicBezTo>
                  <a:pt x="522" y="589"/>
                  <a:pt x="519" y="588"/>
                  <a:pt x="520" y="587"/>
                </a:cubicBezTo>
                <a:close/>
                <a:moveTo>
                  <a:pt x="524" y="590"/>
                </a:moveTo>
                <a:cubicBezTo>
                  <a:pt x="523" y="591"/>
                  <a:pt x="524" y="588"/>
                  <a:pt x="524" y="590"/>
                </a:cubicBezTo>
                <a:close/>
                <a:moveTo>
                  <a:pt x="525" y="609"/>
                </a:moveTo>
                <a:cubicBezTo>
                  <a:pt x="528" y="610"/>
                  <a:pt x="527" y="613"/>
                  <a:pt x="529" y="615"/>
                </a:cubicBezTo>
                <a:cubicBezTo>
                  <a:pt x="527" y="614"/>
                  <a:pt x="526" y="611"/>
                  <a:pt x="525" y="609"/>
                </a:cubicBezTo>
                <a:close/>
                <a:moveTo>
                  <a:pt x="525" y="580"/>
                </a:moveTo>
                <a:cubicBezTo>
                  <a:pt x="525" y="582"/>
                  <a:pt x="522" y="580"/>
                  <a:pt x="523" y="579"/>
                </a:cubicBezTo>
                <a:cubicBezTo>
                  <a:pt x="524" y="578"/>
                  <a:pt x="525" y="579"/>
                  <a:pt x="525" y="580"/>
                </a:cubicBezTo>
                <a:close/>
                <a:moveTo>
                  <a:pt x="524" y="565"/>
                </a:moveTo>
                <a:cubicBezTo>
                  <a:pt x="524" y="564"/>
                  <a:pt x="525" y="566"/>
                  <a:pt x="525" y="566"/>
                </a:cubicBezTo>
                <a:cubicBezTo>
                  <a:pt x="525" y="568"/>
                  <a:pt x="523" y="566"/>
                  <a:pt x="524" y="565"/>
                </a:cubicBezTo>
                <a:close/>
                <a:moveTo>
                  <a:pt x="524" y="549"/>
                </a:moveTo>
                <a:cubicBezTo>
                  <a:pt x="525" y="547"/>
                  <a:pt x="529" y="549"/>
                  <a:pt x="529" y="551"/>
                </a:cubicBezTo>
                <a:cubicBezTo>
                  <a:pt x="530" y="557"/>
                  <a:pt x="524" y="550"/>
                  <a:pt x="524" y="549"/>
                </a:cubicBezTo>
                <a:close/>
                <a:moveTo>
                  <a:pt x="525" y="541"/>
                </a:moveTo>
                <a:cubicBezTo>
                  <a:pt x="523" y="541"/>
                  <a:pt x="525" y="539"/>
                  <a:pt x="525" y="541"/>
                </a:cubicBezTo>
                <a:close/>
                <a:moveTo>
                  <a:pt x="526" y="576"/>
                </a:moveTo>
                <a:cubicBezTo>
                  <a:pt x="526" y="576"/>
                  <a:pt x="526" y="576"/>
                  <a:pt x="526" y="576"/>
                </a:cubicBezTo>
                <a:cubicBezTo>
                  <a:pt x="526" y="574"/>
                  <a:pt x="526" y="576"/>
                  <a:pt x="526" y="576"/>
                </a:cubicBezTo>
                <a:close/>
                <a:moveTo>
                  <a:pt x="530" y="596"/>
                </a:moveTo>
                <a:cubicBezTo>
                  <a:pt x="530" y="596"/>
                  <a:pt x="530" y="597"/>
                  <a:pt x="531" y="597"/>
                </a:cubicBezTo>
                <a:cubicBezTo>
                  <a:pt x="531" y="599"/>
                  <a:pt x="528" y="596"/>
                  <a:pt x="530" y="596"/>
                </a:cubicBezTo>
                <a:close/>
                <a:moveTo>
                  <a:pt x="527" y="595"/>
                </a:moveTo>
                <a:cubicBezTo>
                  <a:pt x="526" y="594"/>
                  <a:pt x="528" y="590"/>
                  <a:pt x="530" y="591"/>
                </a:cubicBezTo>
                <a:cubicBezTo>
                  <a:pt x="532" y="592"/>
                  <a:pt x="531" y="598"/>
                  <a:pt x="527" y="595"/>
                </a:cubicBezTo>
                <a:close/>
                <a:moveTo>
                  <a:pt x="533" y="617"/>
                </a:moveTo>
                <a:cubicBezTo>
                  <a:pt x="533" y="618"/>
                  <a:pt x="532" y="616"/>
                  <a:pt x="533" y="617"/>
                </a:cubicBezTo>
                <a:close/>
                <a:moveTo>
                  <a:pt x="533" y="600"/>
                </a:moveTo>
                <a:cubicBezTo>
                  <a:pt x="534" y="601"/>
                  <a:pt x="531" y="600"/>
                  <a:pt x="532" y="599"/>
                </a:cubicBezTo>
                <a:cubicBezTo>
                  <a:pt x="532" y="598"/>
                  <a:pt x="533" y="599"/>
                  <a:pt x="533" y="600"/>
                </a:cubicBezTo>
                <a:close/>
                <a:moveTo>
                  <a:pt x="531" y="579"/>
                </a:moveTo>
                <a:cubicBezTo>
                  <a:pt x="530" y="577"/>
                  <a:pt x="529" y="575"/>
                  <a:pt x="529" y="572"/>
                </a:cubicBezTo>
                <a:cubicBezTo>
                  <a:pt x="530" y="574"/>
                  <a:pt x="531" y="576"/>
                  <a:pt x="531" y="579"/>
                </a:cubicBezTo>
                <a:close/>
                <a:moveTo>
                  <a:pt x="532" y="541"/>
                </a:moveTo>
                <a:cubicBezTo>
                  <a:pt x="533" y="541"/>
                  <a:pt x="530" y="540"/>
                  <a:pt x="532" y="541"/>
                </a:cubicBezTo>
                <a:close/>
                <a:moveTo>
                  <a:pt x="531" y="502"/>
                </a:moveTo>
                <a:cubicBezTo>
                  <a:pt x="529" y="501"/>
                  <a:pt x="529" y="499"/>
                  <a:pt x="529" y="498"/>
                </a:cubicBezTo>
                <a:cubicBezTo>
                  <a:pt x="530" y="499"/>
                  <a:pt x="530" y="500"/>
                  <a:pt x="531" y="502"/>
                </a:cubicBezTo>
                <a:close/>
                <a:moveTo>
                  <a:pt x="526" y="400"/>
                </a:moveTo>
                <a:cubicBezTo>
                  <a:pt x="528" y="399"/>
                  <a:pt x="530" y="401"/>
                  <a:pt x="529" y="402"/>
                </a:cubicBezTo>
                <a:cubicBezTo>
                  <a:pt x="529" y="406"/>
                  <a:pt x="525" y="401"/>
                  <a:pt x="526" y="400"/>
                </a:cubicBezTo>
                <a:close/>
                <a:moveTo>
                  <a:pt x="529" y="495"/>
                </a:moveTo>
                <a:cubicBezTo>
                  <a:pt x="528" y="491"/>
                  <a:pt x="529" y="498"/>
                  <a:pt x="529" y="495"/>
                </a:cubicBezTo>
                <a:close/>
                <a:moveTo>
                  <a:pt x="528" y="472"/>
                </a:moveTo>
                <a:cubicBezTo>
                  <a:pt x="528" y="473"/>
                  <a:pt x="528" y="472"/>
                  <a:pt x="528" y="473"/>
                </a:cubicBezTo>
                <a:cubicBezTo>
                  <a:pt x="529" y="474"/>
                  <a:pt x="526" y="471"/>
                  <a:pt x="528" y="472"/>
                </a:cubicBezTo>
                <a:close/>
                <a:moveTo>
                  <a:pt x="527" y="451"/>
                </a:moveTo>
                <a:cubicBezTo>
                  <a:pt x="527" y="452"/>
                  <a:pt x="527" y="453"/>
                  <a:pt x="527" y="454"/>
                </a:cubicBezTo>
                <a:cubicBezTo>
                  <a:pt x="527" y="452"/>
                  <a:pt x="527" y="452"/>
                  <a:pt x="527" y="451"/>
                </a:cubicBezTo>
                <a:close/>
                <a:moveTo>
                  <a:pt x="526" y="427"/>
                </a:moveTo>
                <a:cubicBezTo>
                  <a:pt x="525" y="428"/>
                  <a:pt x="526" y="425"/>
                  <a:pt x="526" y="427"/>
                </a:cubicBezTo>
                <a:close/>
                <a:moveTo>
                  <a:pt x="525" y="423"/>
                </a:moveTo>
                <a:cubicBezTo>
                  <a:pt x="525" y="424"/>
                  <a:pt x="526" y="425"/>
                  <a:pt x="525" y="426"/>
                </a:cubicBezTo>
                <a:cubicBezTo>
                  <a:pt x="525" y="425"/>
                  <a:pt x="524" y="424"/>
                  <a:pt x="525" y="423"/>
                </a:cubicBezTo>
                <a:close/>
                <a:moveTo>
                  <a:pt x="523" y="458"/>
                </a:moveTo>
                <a:cubicBezTo>
                  <a:pt x="523" y="458"/>
                  <a:pt x="523" y="458"/>
                  <a:pt x="523" y="458"/>
                </a:cubicBezTo>
                <a:cubicBezTo>
                  <a:pt x="523" y="458"/>
                  <a:pt x="523" y="458"/>
                  <a:pt x="523" y="458"/>
                </a:cubicBezTo>
                <a:cubicBezTo>
                  <a:pt x="523" y="458"/>
                  <a:pt x="523" y="458"/>
                  <a:pt x="523" y="458"/>
                </a:cubicBezTo>
                <a:close/>
                <a:moveTo>
                  <a:pt x="530" y="536"/>
                </a:moveTo>
                <a:cubicBezTo>
                  <a:pt x="527" y="532"/>
                  <a:pt x="525" y="528"/>
                  <a:pt x="523" y="523"/>
                </a:cubicBezTo>
                <a:cubicBezTo>
                  <a:pt x="526" y="527"/>
                  <a:pt x="529" y="531"/>
                  <a:pt x="530" y="536"/>
                </a:cubicBezTo>
                <a:close/>
                <a:moveTo>
                  <a:pt x="525" y="586"/>
                </a:moveTo>
                <a:cubicBezTo>
                  <a:pt x="525" y="586"/>
                  <a:pt x="525" y="587"/>
                  <a:pt x="524" y="587"/>
                </a:cubicBezTo>
                <a:cubicBezTo>
                  <a:pt x="520" y="589"/>
                  <a:pt x="523" y="581"/>
                  <a:pt x="525" y="586"/>
                </a:cubicBezTo>
                <a:close/>
                <a:moveTo>
                  <a:pt x="521" y="487"/>
                </a:moveTo>
                <a:cubicBezTo>
                  <a:pt x="522" y="487"/>
                  <a:pt x="522" y="487"/>
                  <a:pt x="522" y="487"/>
                </a:cubicBezTo>
                <a:cubicBezTo>
                  <a:pt x="523" y="489"/>
                  <a:pt x="520" y="487"/>
                  <a:pt x="521" y="487"/>
                </a:cubicBezTo>
                <a:close/>
                <a:moveTo>
                  <a:pt x="520" y="406"/>
                </a:moveTo>
                <a:cubicBezTo>
                  <a:pt x="519" y="407"/>
                  <a:pt x="519" y="405"/>
                  <a:pt x="519" y="404"/>
                </a:cubicBezTo>
                <a:cubicBezTo>
                  <a:pt x="520" y="404"/>
                  <a:pt x="520" y="406"/>
                  <a:pt x="520" y="406"/>
                </a:cubicBezTo>
                <a:close/>
                <a:moveTo>
                  <a:pt x="518" y="118"/>
                </a:moveTo>
                <a:cubicBezTo>
                  <a:pt x="516" y="117"/>
                  <a:pt x="520" y="119"/>
                  <a:pt x="518" y="118"/>
                </a:cubicBezTo>
                <a:close/>
                <a:moveTo>
                  <a:pt x="520" y="517"/>
                </a:moveTo>
                <a:cubicBezTo>
                  <a:pt x="520" y="517"/>
                  <a:pt x="523" y="522"/>
                  <a:pt x="521" y="521"/>
                </a:cubicBezTo>
                <a:cubicBezTo>
                  <a:pt x="519" y="520"/>
                  <a:pt x="518" y="514"/>
                  <a:pt x="517" y="511"/>
                </a:cubicBezTo>
                <a:cubicBezTo>
                  <a:pt x="518" y="512"/>
                  <a:pt x="519" y="515"/>
                  <a:pt x="520" y="517"/>
                </a:cubicBezTo>
                <a:close/>
                <a:moveTo>
                  <a:pt x="517" y="510"/>
                </a:moveTo>
                <a:cubicBezTo>
                  <a:pt x="516" y="508"/>
                  <a:pt x="515" y="507"/>
                  <a:pt x="515" y="506"/>
                </a:cubicBezTo>
                <a:cubicBezTo>
                  <a:pt x="516" y="506"/>
                  <a:pt x="517" y="508"/>
                  <a:pt x="517" y="510"/>
                </a:cubicBezTo>
                <a:close/>
                <a:moveTo>
                  <a:pt x="517" y="585"/>
                </a:moveTo>
                <a:cubicBezTo>
                  <a:pt x="516" y="585"/>
                  <a:pt x="516" y="584"/>
                  <a:pt x="516" y="584"/>
                </a:cubicBezTo>
                <a:cubicBezTo>
                  <a:pt x="517" y="584"/>
                  <a:pt x="517" y="585"/>
                  <a:pt x="517" y="585"/>
                </a:cubicBezTo>
                <a:close/>
                <a:moveTo>
                  <a:pt x="513" y="496"/>
                </a:moveTo>
                <a:cubicBezTo>
                  <a:pt x="514" y="498"/>
                  <a:pt x="515" y="500"/>
                  <a:pt x="516" y="502"/>
                </a:cubicBezTo>
                <a:cubicBezTo>
                  <a:pt x="516" y="502"/>
                  <a:pt x="513" y="498"/>
                  <a:pt x="513" y="496"/>
                </a:cubicBezTo>
                <a:close/>
                <a:moveTo>
                  <a:pt x="513" y="532"/>
                </a:moveTo>
                <a:cubicBezTo>
                  <a:pt x="513" y="532"/>
                  <a:pt x="513" y="531"/>
                  <a:pt x="513" y="532"/>
                </a:cubicBezTo>
                <a:cubicBezTo>
                  <a:pt x="513" y="532"/>
                  <a:pt x="513" y="532"/>
                  <a:pt x="513" y="532"/>
                </a:cubicBezTo>
                <a:close/>
                <a:moveTo>
                  <a:pt x="514" y="115"/>
                </a:moveTo>
                <a:cubicBezTo>
                  <a:pt x="514" y="116"/>
                  <a:pt x="512" y="115"/>
                  <a:pt x="512" y="114"/>
                </a:cubicBezTo>
                <a:cubicBezTo>
                  <a:pt x="513" y="114"/>
                  <a:pt x="513" y="115"/>
                  <a:pt x="514" y="115"/>
                </a:cubicBezTo>
                <a:close/>
                <a:moveTo>
                  <a:pt x="513" y="495"/>
                </a:moveTo>
                <a:cubicBezTo>
                  <a:pt x="513" y="496"/>
                  <a:pt x="512" y="493"/>
                  <a:pt x="513" y="495"/>
                </a:cubicBezTo>
                <a:close/>
                <a:moveTo>
                  <a:pt x="515" y="592"/>
                </a:moveTo>
                <a:cubicBezTo>
                  <a:pt x="516" y="594"/>
                  <a:pt x="518" y="595"/>
                  <a:pt x="518" y="598"/>
                </a:cubicBezTo>
                <a:cubicBezTo>
                  <a:pt x="514" y="592"/>
                  <a:pt x="511" y="585"/>
                  <a:pt x="507" y="580"/>
                </a:cubicBezTo>
                <a:cubicBezTo>
                  <a:pt x="504" y="575"/>
                  <a:pt x="511" y="583"/>
                  <a:pt x="512" y="584"/>
                </a:cubicBezTo>
                <a:cubicBezTo>
                  <a:pt x="513" y="586"/>
                  <a:pt x="514" y="590"/>
                  <a:pt x="515" y="592"/>
                </a:cubicBezTo>
                <a:close/>
                <a:moveTo>
                  <a:pt x="509" y="537"/>
                </a:moveTo>
                <a:cubicBezTo>
                  <a:pt x="509" y="539"/>
                  <a:pt x="507" y="537"/>
                  <a:pt x="508" y="537"/>
                </a:cubicBezTo>
                <a:cubicBezTo>
                  <a:pt x="508" y="536"/>
                  <a:pt x="509" y="537"/>
                  <a:pt x="509" y="537"/>
                </a:cubicBezTo>
                <a:close/>
                <a:moveTo>
                  <a:pt x="508" y="484"/>
                </a:moveTo>
                <a:cubicBezTo>
                  <a:pt x="509" y="485"/>
                  <a:pt x="508" y="483"/>
                  <a:pt x="508" y="484"/>
                </a:cubicBezTo>
                <a:close/>
                <a:moveTo>
                  <a:pt x="510" y="544"/>
                </a:moveTo>
                <a:cubicBezTo>
                  <a:pt x="510" y="544"/>
                  <a:pt x="510" y="545"/>
                  <a:pt x="510" y="545"/>
                </a:cubicBezTo>
                <a:cubicBezTo>
                  <a:pt x="507" y="546"/>
                  <a:pt x="508" y="541"/>
                  <a:pt x="510" y="544"/>
                </a:cubicBezTo>
                <a:close/>
                <a:moveTo>
                  <a:pt x="507" y="463"/>
                </a:moveTo>
                <a:cubicBezTo>
                  <a:pt x="508" y="467"/>
                  <a:pt x="511" y="471"/>
                  <a:pt x="511" y="476"/>
                </a:cubicBezTo>
                <a:cubicBezTo>
                  <a:pt x="509" y="472"/>
                  <a:pt x="508" y="468"/>
                  <a:pt x="507" y="463"/>
                </a:cubicBezTo>
                <a:close/>
                <a:moveTo>
                  <a:pt x="508" y="387"/>
                </a:moveTo>
                <a:cubicBezTo>
                  <a:pt x="506" y="384"/>
                  <a:pt x="505" y="381"/>
                  <a:pt x="505" y="378"/>
                </a:cubicBezTo>
                <a:cubicBezTo>
                  <a:pt x="506" y="381"/>
                  <a:pt x="507" y="383"/>
                  <a:pt x="508" y="387"/>
                </a:cubicBezTo>
                <a:close/>
                <a:moveTo>
                  <a:pt x="507" y="528"/>
                </a:moveTo>
                <a:cubicBezTo>
                  <a:pt x="506" y="529"/>
                  <a:pt x="505" y="527"/>
                  <a:pt x="504" y="526"/>
                </a:cubicBezTo>
                <a:cubicBezTo>
                  <a:pt x="506" y="525"/>
                  <a:pt x="506" y="528"/>
                  <a:pt x="507" y="528"/>
                </a:cubicBezTo>
                <a:close/>
                <a:moveTo>
                  <a:pt x="504" y="525"/>
                </a:moveTo>
                <a:cubicBezTo>
                  <a:pt x="504" y="525"/>
                  <a:pt x="502" y="524"/>
                  <a:pt x="503" y="523"/>
                </a:cubicBezTo>
                <a:cubicBezTo>
                  <a:pt x="504" y="523"/>
                  <a:pt x="503" y="524"/>
                  <a:pt x="504" y="525"/>
                </a:cubicBezTo>
                <a:close/>
                <a:moveTo>
                  <a:pt x="503" y="434"/>
                </a:moveTo>
                <a:cubicBezTo>
                  <a:pt x="502" y="434"/>
                  <a:pt x="502" y="433"/>
                  <a:pt x="502" y="432"/>
                </a:cubicBezTo>
                <a:cubicBezTo>
                  <a:pt x="503" y="433"/>
                  <a:pt x="503" y="434"/>
                  <a:pt x="503" y="434"/>
                </a:cubicBezTo>
                <a:close/>
                <a:moveTo>
                  <a:pt x="501" y="431"/>
                </a:moveTo>
                <a:cubicBezTo>
                  <a:pt x="502" y="430"/>
                  <a:pt x="502" y="432"/>
                  <a:pt x="501" y="431"/>
                </a:cubicBezTo>
                <a:close/>
                <a:moveTo>
                  <a:pt x="500" y="448"/>
                </a:moveTo>
                <a:cubicBezTo>
                  <a:pt x="500" y="447"/>
                  <a:pt x="501" y="447"/>
                  <a:pt x="501" y="447"/>
                </a:cubicBezTo>
                <a:cubicBezTo>
                  <a:pt x="502" y="448"/>
                  <a:pt x="500" y="448"/>
                  <a:pt x="500" y="448"/>
                </a:cubicBezTo>
                <a:close/>
                <a:moveTo>
                  <a:pt x="501" y="429"/>
                </a:moveTo>
                <a:cubicBezTo>
                  <a:pt x="500" y="429"/>
                  <a:pt x="499" y="427"/>
                  <a:pt x="499" y="426"/>
                </a:cubicBezTo>
                <a:cubicBezTo>
                  <a:pt x="500" y="427"/>
                  <a:pt x="500" y="428"/>
                  <a:pt x="501" y="429"/>
                </a:cubicBezTo>
                <a:close/>
                <a:moveTo>
                  <a:pt x="499" y="566"/>
                </a:moveTo>
                <a:cubicBezTo>
                  <a:pt x="500" y="568"/>
                  <a:pt x="495" y="566"/>
                  <a:pt x="497" y="565"/>
                </a:cubicBezTo>
                <a:cubicBezTo>
                  <a:pt x="498" y="564"/>
                  <a:pt x="499" y="565"/>
                  <a:pt x="499" y="566"/>
                </a:cubicBezTo>
                <a:close/>
                <a:moveTo>
                  <a:pt x="498" y="149"/>
                </a:moveTo>
                <a:cubicBezTo>
                  <a:pt x="497" y="149"/>
                  <a:pt x="496" y="149"/>
                  <a:pt x="495" y="148"/>
                </a:cubicBezTo>
                <a:cubicBezTo>
                  <a:pt x="496" y="147"/>
                  <a:pt x="497" y="149"/>
                  <a:pt x="498" y="149"/>
                </a:cubicBezTo>
                <a:close/>
                <a:moveTo>
                  <a:pt x="494" y="480"/>
                </a:moveTo>
                <a:cubicBezTo>
                  <a:pt x="495" y="480"/>
                  <a:pt x="494" y="482"/>
                  <a:pt x="494" y="481"/>
                </a:cubicBezTo>
                <a:cubicBezTo>
                  <a:pt x="494" y="481"/>
                  <a:pt x="494" y="480"/>
                  <a:pt x="494" y="480"/>
                </a:cubicBezTo>
                <a:close/>
                <a:moveTo>
                  <a:pt x="487" y="591"/>
                </a:moveTo>
                <a:cubicBezTo>
                  <a:pt x="488" y="592"/>
                  <a:pt x="491" y="594"/>
                  <a:pt x="491" y="595"/>
                </a:cubicBezTo>
                <a:cubicBezTo>
                  <a:pt x="491" y="596"/>
                  <a:pt x="487" y="593"/>
                  <a:pt x="487" y="591"/>
                </a:cubicBezTo>
                <a:close/>
                <a:moveTo>
                  <a:pt x="487" y="573"/>
                </a:moveTo>
                <a:cubicBezTo>
                  <a:pt x="486" y="573"/>
                  <a:pt x="488" y="573"/>
                  <a:pt x="487" y="573"/>
                </a:cubicBezTo>
                <a:close/>
                <a:moveTo>
                  <a:pt x="490" y="482"/>
                </a:moveTo>
                <a:cubicBezTo>
                  <a:pt x="490" y="485"/>
                  <a:pt x="485" y="482"/>
                  <a:pt x="487" y="481"/>
                </a:cubicBezTo>
                <a:cubicBezTo>
                  <a:pt x="488" y="480"/>
                  <a:pt x="490" y="482"/>
                  <a:pt x="490" y="482"/>
                </a:cubicBezTo>
                <a:close/>
                <a:moveTo>
                  <a:pt x="487" y="468"/>
                </a:moveTo>
                <a:cubicBezTo>
                  <a:pt x="487" y="469"/>
                  <a:pt x="486" y="466"/>
                  <a:pt x="487" y="468"/>
                </a:cubicBezTo>
                <a:close/>
                <a:moveTo>
                  <a:pt x="486" y="380"/>
                </a:moveTo>
                <a:cubicBezTo>
                  <a:pt x="486" y="379"/>
                  <a:pt x="488" y="382"/>
                  <a:pt x="486" y="380"/>
                </a:cubicBezTo>
                <a:close/>
                <a:moveTo>
                  <a:pt x="486" y="467"/>
                </a:moveTo>
                <a:cubicBezTo>
                  <a:pt x="486" y="466"/>
                  <a:pt x="485" y="466"/>
                  <a:pt x="485" y="465"/>
                </a:cubicBezTo>
                <a:cubicBezTo>
                  <a:pt x="486" y="465"/>
                  <a:pt x="486" y="466"/>
                  <a:pt x="486" y="467"/>
                </a:cubicBezTo>
                <a:close/>
                <a:moveTo>
                  <a:pt x="486" y="560"/>
                </a:moveTo>
                <a:cubicBezTo>
                  <a:pt x="485" y="561"/>
                  <a:pt x="485" y="558"/>
                  <a:pt x="486" y="560"/>
                </a:cubicBezTo>
                <a:close/>
                <a:moveTo>
                  <a:pt x="484" y="463"/>
                </a:moveTo>
                <a:cubicBezTo>
                  <a:pt x="485" y="463"/>
                  <a:pt x="485" y="464"/>
                  <a:pt x="485" y="464"/>
                </a:cubicBezTo>
                <a:cubicBezTo>
                  <a:pt x="485" y="464"/>
                  <a:pt x="484" y="464"/>
                  <a:pt x="484" y="463"/>
                </a:cubicBezTo>
                <a:close/>
                <a:moveTo>
                  <a:pt x="484" y="462"/>
                </a:moveTo>
                <a:cubicBezTo>
                  <a:pt x="483" y="461"/>
                  <a:pt x="484" y="460"/>
                  <a:pt x="484" y="462"/>
                </a:cubicBezTo>
                <a:close/>
                <a:moveTo>
                  <a:pt x="484" y="465"/>
                </a:moveTo>
                <a:cubicBezTo>
                  <a:pt x="483" y="465"/>
                  <a:pt x="483" y="464"/>
                  <a:pt x="483" y="463"/>
                </a:cubicBezTo>
                <a:cubicBezTo>
                  <a:pt x="484" y="463"/>
                  <a:pt x="484" y="464"/>
                  <a:pt x="484" y="465"/>
                </a:cubicBezTo>
                <a:close/>
                <a:moveTo>
                  <a:pt x="483" y="460"/>
                </a:moveTo>
                <a:cubicBezTo>
                  <a:pt x="482" y="459"/>
                  <a:pt x="481" y="458"/>
                  <a:pt x="482" y="456"/>
                </a:cubicBezTo>
                <a:cubicBezTo>
                  <a:pt x="482" y="457"/>
                  <a:pt x="483" y="458"/>
                  <a:pt x="483" y="460"/>
                </a:cubicBezTo>
                <a:close/>
                <a:moveTo>
                  <a:pt x="482" y="461"/>
                </a:moveTo>
                <a:cubicBezTo>
                  <a:pt x="483" y="462"/>
                  <a:pt x="481" y="460"/>
                  <a:pt x="482" y="461"/>
                </a:cubicBezTo>
                <a:close/>
                <a:moveTo>
                  <a:pt x="486" y="590"/>
                </a:moveTo>
                <a:cubicBezTo>
                  <a:pt x="484" y="587"/>
                  <a:pt x="482" y="585"/>
                  <a:pt x="481" y="582"/>
                </a:cubicBezTo>
                <a:cubicBezTo>
                  <a:pt x="483" y="584"/>
                  <a:pt x="485" y="587"/>
                  <a:pt x="486" y="590"/>
                </a:cubicBezTo>
                <a:close/>
                <a:moveTo>
                  <a:pt x="480" y="457"/>
                </a:moveTo>
                <a:cubicBezTo>
                  <a:pt x="480" y="457"/>
                  <a:pt x="479" y="454"/>
                  <a:pt x="480" y="457"/>
                </a:cubicBezTo>
                <a:close/>
                <a:moveTo>
                  <a:pt x="479" y="414"/>
                </a:moveTo>
                <a:cubicBezTo>
                  <a:pt x="479" y="413"/>
                  <a:pt x="478" y="413"/>
                  <a:pt x="479" y="412"/>
                </a:cubicBezTo>
                <a:cubicBezTo>
                  <a:pt x="479" y="413"/>
                  <a:pt x="480" y="413"/>
                  <a:pt x="479" y="414"/>
                </a:cubicBezTo>
                <a:close/>
                <a:moveTo>
                  <a:pt x="478" y="401"/>
                </a:moveTo>
                <a:cubicBezTo>
                  <a:pt x="477" y="400"/>
                  <a:pt x="475" y="397"/>
                  <a:pt x="475" y="394"/>
                </a:cubicBezTo>
                <a:cubicBezTo>
                  <a:pt x="477" y="396"/>
                  <a:pt x="480" y="404"/>
                  <a:pt x="478" y="401"/>
                </a:cubicBezTo>
                <a:close/>
                <a:moveTo>
                  <a:pt x="474" y="393"/>
                </a:moveTo>
                <a:cubicBezTo>
                  <a:pt x="474" y="393"/>
                  <a:pt x="474" y="393"/>
                  <a:pt x="474" y="393"/>
                </a:cubicBezTo>
                <a:cubicBezTo>
                  <a:pt x="474" y="393"/>
                  <a:pt x="474" y="393"/>
                  <a:pt x="474" y="393"/>
                </a:cubicBezTo>
                <a:cubicBezTo>
                  <a:pt x="474" y="393"/>
                  <a:pt x="474" y="393"/>
                  <a:pt x="474" y="393"/>
                </a:cubicBezTo>
                <a:close/>
                <a:moveTo>
                  <a:pt x="469" y="488"/>
                </a:moveTo>
                <a:cubicBezTo>
                  <a:pt x="471" y="488"/>
                  <a:pt x="472" y="491"/>
                  <a:pt x="473" y="493"/>
                </a:cubicBezTo>
                <a:cubicBezTo>
                  <a:pt x="471" y="492"/>
                  <a:pt x="470" y="489"/>
                  <a:pt x="469" y="488"/>
                </a:cubicBezTo>
                <a:close/>
                <a:moveTo>
                  <a:pt x="472" y="391"/>
                </a:moveTo>
                <a:cubicBezTo>
                  <a:pt x="471" y="389"/>
                  <a:pt x="470" y="388"/>
                  <a:pt x="469" y="385"/>
                </a:cubicBezTo>
                <a:cubicBezTo>
                  <a:pt x="471" y="386"/>
                  <a:pt x="472" y="389"/>
                  <a:pt x="472" y="391"/>
                </a:cubicBezTo>
                <a:close/>
                <a:moveTo>
                  <a:pt x="469" y="124"/>
                </a:moveTo>
                <a:cubicBezTo>
                  <a:pt x="469" y="125"/>
                  <a:pt x="467" y="124"/>
                  <a:pt x="467" y="124"/>
                </a:cubicBezTo>
                <a:cubicBezTo>
                  <a:pt x="464" y="122"/>
                  <a:pt x="470" y="123"/>
                  <a:pt x="469" y="124"/>
                </a:cubicBezTo>
                <a:close/>
                <a:moveTo>
                  <a:pt x="466" y="430"/>
                </a:moveTo>
                <a:cubicBezTo>
                  <a:pt x="466" y="434"/>
                  <a:pt x="471" y="437"/>
                  <a:pt x="470" y="440"/>
                </a:cubicBezTo>
                <a:cubicBezTo>
                  <a:pt x="470" y="440"/>
                  <a:pt x="465" y="433"/>
                  <a:pt x="466" y="430"/>
                </a:cubicBezTo>
                <a:close/>
                <a:moveTo>
                  <a:pt x="465" y="555"/>
                </a:moveTo>
                <a:cubicBezTo>
                  <a:pt x="465" y="555"/>
                  <a:pt x="466" y="556"/>
                  <a:pt x="466" y="556"/>
                </a:cubicBezTo>
                <a:cubicBezTo>
                  <a:pt x="467" y="557"/>
                  <a:pt x="464" y="556"/>
                  <a:pt x="465" y="555"/>
                </a:cubicBezTo>
                <a:close/>
                <a:moveTo>
                  <a:pt x="465" y="575"/>
                </a:moveTo>
                <a:cubicBezTo>
                  <a:pt x="465" y="575"/>
                  <a:pt x="465" y="575"/>
                  <a:pt x="466" y="576"/>
                </a:cubicBezTo>
                <a:cubicBezTo>
                  <a:pt x="467" y="577"/>
                  <a:pt x="464" y="576"/>
                  <a:pt x="465" y="575"/>
                </a:cubicBezTo>
                <a:close/>
                <a:moveTo>
                  <a:pt x="463" y="584"/>
                </a:moveTo>
                <a:cubicBezTo>
                  <a:pt x="464" y="583"/>
                  <a:pt x="464" y="584"/>
                  <a:pt x="465" y="585"/>
                </a:cubicBezTo>
                <a:cubicBezTo>
                  <a:pt x="465" y="586"/>
                  <a:pt x="463" y="585"/>
                  <a:pt x="463" y="584"/>
                </a:cubicBezTo>
                <a:close/>
                <a:moveTo>
                  <a:pt x="464" y="655"/>
                </a:moveTo>
                <a:cubicBezTo>
                  <a:pt x="464" y="656"/>
                  <a:pt x="462" y="656"/>
                  <a:pt x="462" y="655"/>
                </a:cubicBezTo>
                <a:cubicBezTo>
                  <a:pt x="462" y="655"/>
                  <a:pt x="464" y="654"/>
                  <a:pt x="464" y="655"/>
                </a:cubicBezTo>
                <a:close/>
                <a:moveTo>
                  <a:pt x="463" y="619"/>
                </a:moveTo>
                <a:cubicBezTo>
                  <a:pt x="462" y="620"/>
                  <a:pt x="461" y="619"/>
                  <a:pt x="461" y="618"/>
                </a:cubicBezTo>
                <a:cubicBezTo>
                  <a:pt x="462" y="619"/>
                  <a:pt x="462" y="619"/>
                  <a:pt x="463" y="619"/>
                </a:cubicBezTo>
                <a:close/>
                <a:moveTo>
                  <a:pt x="461" y="536"/>
                </a:moveTo>
                <a:cubicBezTo>
                  <a:pt x="462" y="537"/>
                  <a:pt x="458" y="535"/>
                  <a:pt x="459" y="534"/>
                </a:cubicBezTo>
                <a:cubicBezTo>
                  <a:pt x="461" y="533"/>
                  <a:pt x="461" y="535"/>
                  <a:pt x="461" y="536"/>
                </a:cubicBezTo>
                <a:close/>
                <a:moveTo>
                  <a:pt x="454" y="150"/>
                </a:moveTo>
                <a:cubicBezTo>
                  <a:pt x="456" y="152"/>
                  <a:pt x="459" y="152"/>
                  <a:pt x="460" y="154"/>
                </a:cubicBezTo>
                <a:cubicBezTo>
                  <a:pt x="458" y="154"/>
                  <a:pt x="456" y="152"/>
                  <a:pt x="454" y="150"/>
                </a:cubicBezTo>
                <a:close/>
                <a:moveTo>
                  <a:pt x="459" y="122"/>
                </a:moveTo>
                <a:cubicBezTo>
                  <a:pt x="457" y="120"/>
                  <a:pt x="461" y="123"/>
                  <a:pt x="459" y="122"/>
                </a:cubicBezTo>
                <a:close/>
                <a:moveTo>
                  <a:pt x="453" y="94"/>
                </a:moveTo>
                <a:cubicBezTo>
                  <a:pt x="451" y="92"/>
                  <a:pt x="455" y="96"/>
                  <a:pt x="453" y="94"/>
                </a:cubicBezTo>
                <a:close/>
                <a:moveTo>
                  <a:pt x="451" y="96"/>
                </a:moveTo>
                <a:cubicBezTo>
                  <a:pt x="455" y="93"/>
                  <a:pt x="458" y="100"/>
                  <a:pt x="454" y="100"/>
                </a:cubicBezTo>
                <a:cubicBezTo>
                  <a:pt x="453" y="101"/>
                  <a:pt x="452" y="100"/>
                  <a:pt x="451" y="98"/>
                </a:cubicBezTo>
                <a:cubicBezTo>
                  <a:pt x="450" y="97"/>
                  <a:pt x="450" y="96"/>
                  <a:pt x="451" y="96"/>
                </a:cubicBezTo>
                <a:close/>
                <a:moveTo>
                  <a:pt x="447" y="103"/>
                </a:moveTo>
                <a:cubicBezTo>
                  <a:pt x="447" y="103"/>
                  <a:pt x="447" y="103"/>
                  <a:pt x="447" y="103"/>
                </a:cubicBezTo>
                <a:cubicBezTo>
                  <a:pt x="446" y="103"/>
                  <a:pt x="447" y="103"/>
                  <a:pt x="447" y="103"/>
                </a:cubicBezTo>
                <a:close/>
                <a:moveTo>
                  <a:pt x="444" y="145"/>
                </a:moveTo>
                <a:cubicBezTo>
                  <a:pt x="446" y="145"/>
                  <a:pt x="449" y="147"/>
                  <a:pt x="451" y="149"/>
                </a:cubicBezTo>
                <a:cubicBezTo>
                  <a:pt x="448" y="149"/>
                  <a:pt x="441" y="143"/>
                  <a:pt x="444" y="145"/>
                </a:cubicBezTo>
                <a:close/>
                <a:moveTo>
                  <a:pt x="442" y="515"/>
                </a:moveTo>
                <a:cubicBezTo>
                  <a:pt x="440" y="516"/>
                  <a:pt x="441" y="513"/>
                  <a:pt x="442" y="515"/>
                </a:cubicBezTo>
                <a:close/>
                <a:moveTo>
                  <a:pt x="436" y="80"/>
                </a:moveTo>
                <a:cubicBezTo>
                  <a:pt x="434" y="80"/>
                  <a:pt x="435" y="78"/>
                  <a:pt x="436" y="80"/>
                </a:cubicBezTo>
                <a:close/>
                <a:moveTo>
                  <a:pt x="440" y="114"/>
                </a:moveTo>
                <a:cubicBezTo>
                  <a:pt x="438" y="111"/>
                  <a:pt x="432" y="110"/>
                  <a:pt x="431" y="107"/>
                </a:cubicBezTo>
                <a:cubicBezTo>
                  <a:pt x="432" y="108"/>
                  <a:pt x="439" y="111"/>
                  <a:pt x="440" y="114"/>
                </a:cubicBezTo>
                <a:close/>
                <a:moveTo>
                  <a:pt x="433" y="179"/>
                </a:moveTo>
                <a:cubicBezTo>
                  <a:pt x="431" y="177"/>
                  <a:pt x="428" y="175"/>
                  <a:pt x="426" y="172"/>
                </a:cubicBezTo>
                <a:cubicBezTo>
                  <a:pt x="429" y="174"/>
                  <a:pt x="432" y="176"/>
                  <a:pt x="433" y="179"/>
                </a:cubicBezTo>
                <a:close/>
                <a:moveTo>
                  <a:pt x="425" y="594"/>
                </a:moveTo>
                <a:cubicBezTo>
                  <a:pt x="425" y="595"/>
                  <a:pt x="426" y="595"/>
                  <a:pt x="426" y="595"/>
                </a:cubicBezTo>
                <a:cubicBezTo>
                  <a:pt x="426" y="596"/>
                  <a:pt x="424" y="595"/>
                  <a:pt x="425" y="594"/>
                </a:cubicBezTo>
                <a:close/>
                <a:moveTo>
                  <a:pt x="426" y="549"/>
                </a:moveTo>
                <a:cubicBezTo>
                  <a:pt x="426" y="550"/>
                  <a:pt x="425" y="548"/>
                  <a:pt x="426" y="549"/>
                </a:cubicBezTo>
                <a:close/>
                <a:moveTo>
                  <a:pt x="426" y="468"/>
                </a:moveTo>
                <a:cubicBezTo>
                  <a:pt x="423" y="467"/>
                  <a:pt x="426" y="466"/>
                  <a:pt x="426" y="468"/>
                </a:cubicBezTo>
                <a:close/>
                <a:moveTo>
                  <a:pt x="425" y="542"/>
                </a:moveTo>
                <a:cubicBezTo>
                  <a:pt x="424" y="541"/>
                  <a:pt x="424" y="539"/>
                  <a:pt x="424" y="538"/>
                </a:cubicBezTo>
                <a:cubicBezTo>
                  <a:pt x="426" y="538"/>
                  <a:pt x="425" y="541"/>
                  <a:pt x="425" y="542"/>
                </a:cubicBezTo>
                <a:close/>
                <a:moveTo>
                  <a:pt x="423" y="592"/>
                </a:moveTo>
                <a:cubicBezTo>
                  <a:pt x="421" y="592"/>
                  <a:pt x="420" y="590"/>
                  <a:pt x="418" y="589"/>
                </a:cubicBezTo>
                <a:cubicBezTo>
                  <a:pt x="420" y="590"/>
                  <a:pt x="419" y="589"/>
                  <a:pt x="420" y="588"/>
                </a:cubicBezTo>
                <a:cubicBezTo>
                  <a:pt x="423" y="587"/>
                  <a:pt x="425" y="591"/>
                  <a:pt x="423" y="592"/>
                </a:cubicBezTo>
                <a:close/>
                <a:moveTo>
                  <a:pt x="420" y="499"/>
                </a:moveTo>
                <a:cubicBezTo>
                  <a:pt x="419" y="500"/>
                  <a:pt x="417" y="496"/>
                  <a:pt x="416" y="494"/>
                </a:cubicBezTo>
                <a:cubicBezTo>
                  <a:pt x="418" y="496"/>
                  <a:pt x="419" y="497"/>
                  <a:pt x="420" y="499"/>
                </a:cubicBezTo>
                <a:close/>
                <a:moveTo>
                  <a:pt x="417" y="100"/>
                </a:moveTo>
                <a:cubicBezTo>
                  <a:pt x="418" y="101"/>
                  <a:pt x="415" y="99"/>
                  <a:pt x="417" y="100"/>
                </a:cubicBezTo>
                <a:close/>
                <a:moveTo>
                  <a:pt x="416" y="49"/>
                </a:moveTo>
                <a:cubicBezTo>
                  <a:pt x="416" y="49"/>
                  <a:pt x="415" y="49"/>
                  <a:pt x="416" y="49"/>
                </a:cubicBezTo>
                <a:cubicBezTo>
                  <a:pt x="416" y="48"/>
                  <a:pt x="418" y="50"/>
                  <a:pt x="416" y="49"/>
                </a:cubicBezTo>
                <a:close/>
                <a:moveTo>
                  <a:pt x="413" y="491"/>
                </a:moveTo>
                <a:cubicBezTo>
                  <a:pt x="414" y="491"/>
                  <a:pt x="414" y="493"/>
                  <a:pt x="416" y="494"/>
                </a:cubicBezTo>
                <a:cubicBezTo>
                  <a:pt x="415" y="494"/>
                  <a:pt x="413" y="492"/>
                  <a:pt x="413" y="491"/>
                </a:cubicBezTo>
                <a:close/>
                <a:moveTo>
                  <a:pt x="415" y="46"/>
                </a:moveTo>
                <a:cubicBezTo>
                  <a:pt x="417" y="47"/>
                  <a:pt x="414" y="45"/>
                  <a:pt x="415" y="46"/>
                </a:cubicBezTo>
                <a:close/>
                <a:moveTo>
                  <a:pt x="414" y="98"/>
                </a:moveTo>
                <a:cubicBezTo>
                  <a:pt x="414" y="97"/>
                  <a:pt x="417" y="100"/>
                  <a:pt x="414" y="98"/>
                </a:cubicBezTo>
                <a:close/>
                <a:moveTo>
                  <a:pt x="414" y="134"/>
                </a:moveTo>
                <a:cubicBezTo>
                  <a:pt x="413" y="134"/>
                  <a:pt x="412" y="133"/>
                  <a:pt x="411" y="133"/>
                </a:cubicBezTo>
                <a:cubicBezTo>
                  <a:pt x="411" y="132"/>
                  <a:pt x="413" y="133"/>
                  <a:pt x="414" y="134"/>
                </a:cubicBezTo>
                <a:close/>
                <a:moveTo>
                  <a:pt x="413" y="99"/>
                </a:moveTo>
                <a:cubicBezTo>
                  <a:pt x="412" y="99"/>
                  <a:pt x="411" y="98"/>
                  <a:pt x="411" y="97"/>
                </a:cubicBezTo>
                <a:cubicBezTo>
                  <a:pt x="412" y="98"/>
                  <a:pt x="413" y="98"/>
                  <a:pt x="413" y="99"/>
                </a:cubicBezTo>
                <a:close/>
                <a:moveTo>
                  <a:pt x="411" y="96"/>
                </a:moveTo>
                <a:cubicBezTo>
                  <a:pt x="409" y="95"/>
                  <a:pt x="412" y="96"/>
                  <a:pt x="411" y="96"/>
                </a:cubicBezTo>
                <a:close/>
                <a:moveTo>
                  <a:pt x="412" y="68"/>
                </a:moveTo>
                <a:cubicBezTo>
                  <a:pt x="411" y="68"/>
                  <a:pt x="410" y="67"/>
                  <a:pt x="409" y="67"/>
                </a:cubicBezTo>
                <a:cubicBezTo>
                  <a:pt x="410" y="66"/>
                  <a:pt x="412" y="67"/>
                  <a:pt x="412" y="68"/>
                </a:cubicBezTo>
                <a:close/>
                <a:moveTo>
                  <a:pt x="408" y="95"/>
                </a:moveTo>
                <a:cubicBezTo>
                  <a:pt x="410" y="96"/>
                  <a:pt x="409" y="97"/>
                  <a:pt x="408" y="95"/>
                </a:cubicBezTo>
                <a:close/>
                <a:moveTo>
                  <a:pt x="406" y="93"/>
                </a:moveTo>
                <a:cubicBezTo>
                  <a:pt x="407" y="93"/>
                  <a:pt x="408" y="94"/>
                  <a:pt x="409" y="95"/>
                </a:cubicBezTo>
                <a:cubicBezTo>
                  <a:pt x="408" y="94"/>
                  <a:pt x="407" y="94"/>
                  <a:pt x="406" y="93"/>
                </a:cubicBezTo>
                <a:close/>
                <a:moveTo>
                  <a:pt x="408" y="66"/>
                </a:moveTo>
                <a:cubicBezTo>
                  <a:pt x="406" y="66"/>
                  <a:pt x="404" y="64"/>
                  <a:pt x="402" y="63"/>
                </a:cubicBezTo>
                <a:cubicBezTo>
                  <a:pt x="404" y="63"/>
                  <a:pt x="406" y="65"/>
                  <a:pt x="408" y="66"/>
                </a:cubicBezTo>
                <a:close/>
                <a:moveTo>
                  <a:pt x="403" y="92"/>
                </a:moveTo>
                <a:cubicBezTo>
                  <a:pt x="402" y="91"/>
                  <a:pt x="404" y="94"/>
                  <a:pt x="403" y="92"/>
                </a:cubicBezTo>
                <a:close/>
                <a:moveTo>
                  <a:pt x="402" y="116"/>
                </a:moveTo>
                <a:cubicBezTo>
                  <a:pt x="402" y="116"/>
                  <a:pt x="401" y="117"/>
                  <a:pt x="401" y="117"/>
                </a:cubicBezTo>
                <a:cubicBezTo>
                  <a:pt x="400" y="117"/>
                  <a:pt x="401" y="115"/>
                  <a:pt x="402" y="116"/>
                </a:cubicBezTo>
                <a:close/>
                <a:moveTo>
                  <a:pt x="404" y="171"/>
                </a:moveTo>
                <a:cubicBezTo>
                  <a:pt x="403" y="173"/>
                  <a:pt x="400" y="171"/>
                  <a:pt x="400" y="170"/>
                </a:cubicBezTo>
                <a:cubicBezTo>
                  <a:pt x="398" y="167"/>
                  <a:pt x="404" y="169"/>
                  <a:pt x="404" y="171"/>
                </a:cubicBezTo>
                <a:close/>
                <a:moveTo>
                  <a:pt x="398" y="513"/>
                </a:moveTo>
                <a:cubicBezTo>
                  <a:pt x="398" y="512"/>
                  <a:pt x="399" y="513"/>
                  <a:pt x="400" y="513"/>
                </a:cubicBezTo>
                <a:cubicBezTo>
                  <a:pt x="401" y="516"/>
                  <a:pt x="396" y="514"/>
                  <a:pt x="398" y="513"/>
                </a:cubicBezTo>
                <a:close/>
                <a:moveTo>
                  <a:pt x="397" y="471"/>
                </a:moveTo>
                <a:cubicBezTo>
                  <a:pt x="396" y="472"/>
                  <a:pt x="396" y="469"/>
                  <a:pt x="397" y="470"/>
                </a:cubicBezTo>
                <a:cubicBezTo>
                  <a:pt x="397" y="470"/>
                  <a:pt x="397" y="471"/>
                  <a:pt x="397" y="471"/>
                </a:cubicBezTo>
                <a:close/>
                <a:moveTo>
                  <a:pt x="397" y="427"/>
                </a:moveTo>
                <a:cubicBezTo>
                  <a:pt x="398" y="428"/>
                  <a:pt x="394" y="427"/>
                  <a:pt x="396" y="426"/>
                </a:cubicBezTo>
                <a:cubicBezTo>
                  <a:pt x="396" y="426"/>
                  <a:pt x="397" y="427"/>
                  <a:pt x="397" y="427"/>
                </a:cubicBezTo>
                <a:close/>
                <a:moveTo>
                  <a:pt x="396" y="81"/>
                </a:moveTo>
                <a:cubicBezTo>
                  <a:pt x="396" y="82"/>
                  <a:pt x="393" y="82"/>
                  <a:pt x="393" y="81"/>
                </a:cubicBezTo>
                <a:cubicBezTo>
                  <a:pt x="391" y="79"/>
                  <a:pt x="397" y="79"/>
                  <a:pt x="396" y="81"/>
                </a:cubicBezTo>
                <a:close/>
                <a:moveTo>
                  <a:pt x="393" y="150"/>
                </a:moveTo>
                <a:cubicBezTo>
                  <a:pt x="392" y="150"/>
                  <a:pt x="391" y="149"/>
                  <a:pt x="391" y="148"/>
                </a:cubicBezTo>
                <a:cubicBezTo>
                  <a:pt x="392" y="148"/>
                  <a:pt x="393" y="149"/>
                  <a:pt x="393" y="150"/>
                </a:cubicBezTo>
                <a:close/>
                <a:moveTo>
                  <a:pt x="395" y="400"/>
                </a:moveTo>
                <a:cubicBezTo>
                  <a:pt x="394" y="403"/>
                  <a:pt x="389" y="398"/>
                  <a:pt x="390" y="397"/>
                </a:cubicBezTo>
                <a:cubicBezTo>
                  <a:pt x="392" y="395"/>
                  <a:pt x="395" y="399"/>
                  <a:pt x="395" y="400"/>
                </a:cubicBezTo>
                <a:close/>
                <a:moveTo>
                  <a:pt x="391" y="167"/>
                </a:moveTo>
                <a:cubicBezTo>
                  <a:pt x="390" y="168"/>
                  <a:pt x="389" y="166"/>
                  <a:pt x="391" y="167"/>
                </a:cubicBezTo>
                <a:close/>
                <a:moveTo>
                  <a:pt x="390" y="147"/>
                </a:moveTo>
                <a:cubicBezTo>
                  <a:pt x="390" y="146"/>
                  <a:pt x="391" y="149"/>
                  <a:pt x="390" y="147"/>
                </a:cubicBezTo>
                <a:close/>
                <a:moveTo>
                  <a:pt x="390" y="84"/>
                </a:moveTo>
                <a:cubicBezTo>
                  <a:pt x="390" y="85"/>
                  <a:pt x="390" y="85"/>
                  <a:pt x="390" y="85"/>
                </a:cubicBezTo>
                <a:cubicBezTo>
                  <a:pt x="389" y="86"/>
                  <a:pt x="389" y="84"/>
                  <a:pt x="390" y="84"/>
                </a:cubicBezTo>
                <a:close/>
                <a:moveTo>
                  <a:pt x="391" y="691"/>
                </a:moveTo>
                <a:cubicBezTo>
                  <a:pt x="391" y="691"/>
                  <a:pt x="391" y="691"/>
                  <a:pt x="391" y="692"/>
                </a:cubicBezTo>
                <a:cubicBezTo>
                  <a:pt x="388" y="691"/>
                  <a:pt x="382" y="691"/>
                  <a:pt x="384" y="687"/>
                </a:cubicBezTo>
                <a:cubicBezTo>
                  <a:pt x="384" y="687"/>
                  <a:pt x="387" y="686"/>
                  <a:pt x="388" y="687"/>
                </a:cubicBezTo>
                <a:cubicBezTo>
                  <a:pt x="391" y="688"/>
                  <a:pt x="388" y="691"/>
                  <a:pt x="391" y="691"/>
                </a:cubicBezTo>
                <a:close/>
                <a:moveTo>
                  <a:pt x="381" y="643"/>
                </a:moveTo>
                <a:cubicBezTo>
                  <a:pt x="381" y="642"/>
                  <a:pt x="381" y="641"/>
                  <a:pt x="381" y="641"/>
                </a:cubicBezTo>
                <a:cubicBezTo>
                  <a:pt x="381" y="641"/>
                  <a:pt x="379" y="641"/>
                  <a:pt x="379" y="640"/>
                </a:cubicBezTo>
                <a:cubicBezTo>
                  <a:pt x="380" y="637"/>
                  <a:pt x="387" y="642"/>
                  <a:pt x="388" y="643"/>
                </a:cubicBezTo>
                <a:cubicBezTo>
                  <a:pt x="387" y="642"/>
                  <a:pt x="383" y="646"/>
                  <a:pt x="381" y="643"/>
                </a:cubicBezTo>
                <a:close/>
                <a:moveTo>
                  <a:pt x="382" y="615"/>
                </a:moveTo>
                <a:cubicBezTo>
                  <a:pt x="383" y="616"/>
                  <a:pt x="381" y="614"/>
                  <a:pt x="382" y="615"/>
                </a:cubicBezTo>
                <a:close/>
                <a:moveTo>
                  <a:pt x="383" y="159"/>
                </a:moveTo>
                <a:cubicBezTo>
                  <a:pt x="383" y="158"/>
                  <a:pt x="385" y="161"/>
                  <a:pt x="383" y="160"/>
                </a:cubicBezTo>
                <a:cubicBezTo>
                  <a:pt x="383" y="160"/>
                  <a:pt x="382" y="159"/>
                  <a:pt x="383" y="159"/>
                </a:cubicBezTo>
                <a:close/>
                <a:moveTo>
                  <a:pt x="387" y="432"/>
                </a:moveTo>
                <a:cubicBezTo>
                  <a:pt x="387" y="432"/>
                  <a:pt x="387" y="433"/>
                  <a:pt x="387" y="433"/>
                </a:cubicBezTo>
                <a:cubicBezTo>
                  <a:pt x="386" y="434"/>
                  <a:pt x="386" y="432"/>
                  <a:pt x="387" y="432"/>
                </a:cubicBezTo>
                <a:close/>
                <a:moveTo>
                  <a:pt x="387" y="159"/>
                </a:moveTo>
                <a:cubicBezTo>
                  <a:pt x="388" y="159"/>
                  <a:pt x="387" y="161"/>
                  <a:pt x="387" y="159"/>
                </a:cubicBezTo>
                <a:close/>
                <a:moveTo>
                  <a:pt x="388" y="106"/>
                </a:moveTo>
                <a:cubicBezTo>
                  <a:pt x="384" y="103"/>
                  <a:pt x="381" y="102"/>
                  <a:pt x="378" y="97"/>
                </a:cubicBezTo>
                <a:cubicBezTo>
                  <a:pt x="382" y="99"/>
                  <a:pt x="385" y="103"/>
                  <a:pt x="388" y="106"/>
                </a:cubicBezTo>
                <a:close/>
                <a:moveTo>
                  <a:pt x="377" y="583"/>
                </a:moveTo>
                <a:cubicBezTo>
                  <a:pt x="379" y="584"/>
                  <a:pt x="377" y="585"/>
                  <a:pt x="377" y="583"/>
                </a:cubicBezTo>
                <a:close/>
                <a:moveTo>
                  <a:pt x="376" y="149"/>
                </a:moveTo>
                <a:cubicBezTo>
                  <a:pt x="376" y="149"/>
                  <a:pt x="375" y="149"/>
                  <a:pt x="376" y="148"/>
                </a:cubicBezTo>
                <a:cubicBezTo>
                  <a:pt x="376" y="147"/>
                  <a:pt x="378" y="151"/>
                  <a:pt x="376" y="149"/>
                </a:cubicBezTo>
                <a:close/>
                <a:moveTo>
                  <a:pt x="376" y="89"/>
                </a:moveTo>
                <a:cubicBezTo>
                  <a:pt x="375" y="89"/>
                  <a:pt x="377" y="90"/>
                  <a:pt x="376" y="89"/>
                </a:cubicBezTo>
                <a:close/>
                <a:moveTo>
                  <a:pt x="376" y="119"/>
                </a:moveTo>
                <a:cubicBezTo>
                  <a:pt x="376" y="119"/>
                  <a:pt x="376" y="119"/>
                  <a:pt x="376" y="119"/>
                </a:cubicBezTo>
                <a:cubicBezTo>
                  <a:pt x="376" y="119"/>
                  <a:pt x="377" y="119"/>
                  <a:pt x="376" y="119"/>
                </a:cubicBezTo>
                <a:close/>
                <a:moveTo>
                  <a:pt x="377" y="127"/>
                </a:moveTo>
                <a:cubicBezTo>
                  <a:pt x="376" y="126"/>
                  <a:pt x="376" y="126"/>
                  <a:pt x="375" y="125"/>
                </a:cubicBezTo>
                <a:cubicBezTo>
                  <a:pt x="376" y="126"/>
                  <a:pt x="377" y="126"/>
                  <a:pt x="377" y="127"/>
                </a:cubicBezTo>
                <a:close/>
                <a:moveTo>
                  <a:pt x="376" y="147"/>
                </a:moveTo>
                <a:cubicBezTo>
                  <a:pt x="374" y="147"/>
                  <a:pt x="373" y="146"/>
                  <a:pt x="372" y="144"/>
                </a:cubicBezTo>
                <a:cubicBezTo>
                  <a:pt x="374" y="144"/>
                  <a:pt x="375" y="146"/>
                  <a:pt x="376" y="147"/>
                </a:cubicBezTo>
                <a:close/>
                <a:moveTo>
                  <a:pt x="362" y="132"/>
                </a:moveTo>
                <a:cubicBezTo>
                  <a:pt x="366" y="134"/>
                  <a:pt x="369" y="139"/>
                  <a:pt x="372" y="143"/>
                </a:cubicBezTo>
                <a:cubicBezTo>
                  <a:pt x="369" y="141"/>
                  <a:pt x="365" y="135"/>
                  <a:pt x="362" y="132"/>
                </a:cubicBezTo>
                <a:close/>
                <a:moveTo>
                  <a:pt x="367" y="82"/>
                </a:moveTo>
                <a:cubicBezTo>
                  <a:pt x="366" y="81"/>
                  <a:pt x="368" y="83"/>
                  <a:pt x="367" y="82"/>
                </a:cubicBezTo>
                <a:close/>
                <a:moveTo>
                  <a:pt x="366" y="81"/>
                </a:moveTo>
                <a:cubicBezTo>
                  <a:pt x="364" y="81"/>
                  <a:pt x="362" y="79"/>
                  <a:pt x="360" y="77"/>
                </a:cubicBezTo>
                <a:cubicBezTo>
                  <a:pt x="361" y="78"/>
                  <a:pt x="365" y="79"/>
                  <a:pt x="366" y="81"/>
                </a:cubicBezTo>
                <a:close/>
                <a:moveTo>
                  <a:pt x="364" y="54"/>
                </a:moveTo>
                <a:cubicBezTo>
                  <a:pt x="363" y="54"/>
                  <a:pt x="362" y="53"/>
                  <a:pt x="362" y="53"/>
                </a:cubicBezTo>
                <a:cubicBezTo>
                  <a:pt x="362" y="52"/>
                  <a:pt x="364" y="53"/>
                  <a:pt x="364" y="54"/>
                </a:cubicBezTo>
                <a:close/>
                <a:moveTo>
                  <a:pt x="361" y="47"/>
                </a:moveTo>
                <a:cubicBezTo>
                  <a:pt x="361" y="47"/>
                  <a:pt x="360" y="47"/>
                  <a:pt x="360" y="47"/>
                </a:cubicBezTo>
                <a:cubicBezTo>
                  <a:pt x="358" y="46"/>
                  <a:pt x="362" y="45"/>
                  <a:pt x="361" y="47"/>
                </a:cubicBezTo>
                <a:close/>
                <a:moveTo>
                  <a:pt x="361" y="52"/>
                </a:moveTo>
                <a:cubicBezTo>
                  <a:pt x="360" y="53"/>
                  <a:pt x="360" y="52"/>
                  <a:pt x="359" y="52"/>
                </a:cubicBezTo>
                <a:cubicBezTo>
                  <a:pt x="359" y="51"/>
                  <a:pt x="361" y="52"/>
                  <a:pt x="361" y="52"/>
                </a:cubicBezTo>
                <a:close/>
                <a:moveTo>
                  <a:pt x="359" y="74"/>
                </a:moveTo>
                <a:cubicBezTo>
                  <a:pt x="359" y="74"/>
                  <a:pt x="357" y="73"/>
                  <a:pt x="356" y="71"/>
                </a:cubicBezTo>
                <a:cubicBezTo>
                  <a:pt x="357" y="72"/>
                  <a:pt x="358" y="72"/>
                  <a:pt x="359" y="74"/>
                </a:cubicBezTo>
                <a:close/>
                <a:moveTo>
                  <a:pt x="356" y="12"/>
                </a:moveTo>
                <a:cubicBezTo>
                  <a:pt x="357" y="11"/>
                  <a:pt x="358" y="13"/>
                  <a:pt x="356" y="12"/>
                </a:cubicBezTo>
                <a:close/>
                <a:moveTo>
                  <a:pt x="358" y="51"/>
                </a:moveTo>
                <a:cubicBezTo>
                  <a:pt x="357" y="52"/>
                  <a:pt x="356" y="51"/>
                  <a:pt x="355" y="50"/>
                </a:cubicBezTo>
                <a:cubicBezTo>
                  <a:pt x="355" y="49"/>
                  <a:pt x="357" y="51"/>
                  <a:pt x="358" y="51"/>
                </a:cubicBezTo>
                <a:close/>
                <a:moveTo>
                  <a:pt x="350" y="44"/>
                </a:moveTo>
                <a:cubicBezTo>
                  <a:pt x="349" y="44"/>
                  <a:pt x="349" y="44"/>
                  <a:pt x="349" y="43"/>
                </a:cubicBezTo>
                <a:cubicBezTo>
                  <a:pt x="348" y="43"/>
                  <a:pt x="350" y="43"/>
                  <a:pt x="350" y="44"/>
                </a:cubicBezTo>
                <a:close/>
                <a:moveTo>
                  <a:pt x="348" y="18"/>
                </a:moveTo>
                <a:cubicBezTo>
                  <a:pt x="346" y="17"/>
                  <a:pt x="349" y="18"/>
                  <a:pt x="348" y="18"/>
                </a:cubicBezTo>
                <a:close/>
                <a:moveTo>
                  <a:pt x="348" y="50"/>
                </a:moveTo>
                <a:cubicBezTo>
                  <a:pt x="347" y="50"/>
                  <a:pt x="347" y="50"/>
                  <a:pt x="347" y="50"/>
                </a:cubicBezTo>
                <a:cubicBezTo>
                  <a:pt x="348" y="50"/>
                  <a:pt x="348" y="51"/>
                  <a:pt x="348" y="50"/>
                </a:cubicBezTo>
                <a:close/>
                <a:moveTo>
                  <a:pt x="347" y="64"/>
                </a:moveTo>
                <a:cubicBezTo>
                  <a:pt x="349" y="64"/>
                  <a:pt x="352" y="68"/>
                  <a:pt x="355" y="71"/>
                </a:cubicBezTo>
                <a:cubicBezTo>
                  <a:pt x="353" y="70"/>
                  <a:pt x="351" y="68"/>
                  <a:pt x="349" y="66"/>
                </a:cubicBezTo>
                <a:cubicBezTo>
                  <a:pt x="349" y="66"/>
                  <a:pt x="344" y="64"/>
                  <a:pt x="347" y="64"/>
                </a:cubicBezTo>
                <a:close/>
                <a:moveTo>
                  <a:pt x="345" y="38"/>
                </a:moveTo>
                <a:cubicBezTo>
                  <a:pt x="345" y="38"/>
                  <a:pt x="344" y="38"/>
                  <a:pt x="344" y="37"/>
                </a:cubicBezTo>
                <a:cubicBezTo>
                  <a:pt x="345" y="35"/>
                  <a:pt x="347" y="40"/>
                  <a:pt x="345" y="38"/>
                </a:cubicBezTo>
                <a:close/>
                <a:moveTo>
                  <a:pt x="345" y="14"/>
                </a:moveTo>
                <a:cubicBezTo>
                  <a:pt x="345" y="15"/>
                  <a:pt x="343" y="14"/>
                  <a:pt x="343" y="14"/>
                </a:cubicBezTo>
                <a:cubicBezTo>
                  <a:pt x="341" y="12"/>
                  <a:pt x="346" y="12"/>
                  <a:pt x="345" y="14"/>
                </a:cubicBezTo>
                <a:close/>
                <a:moveTo>
                  <a:pt x="333" y="49"/>
                </a:moveTo>
                <a:cubicBezTo>
                  <a:pt x="335" y="48"/>
                  <a:pt x="334" y="50"/>
                  <a:pt x="333" y="49"/>
                </a:cubicBezTo>
                <a:close/>
                <a:moveTo>
                  <a:pt x="344" y="63"/>
                </a:moveTo>
                <a:cubicBezTo>
                  <a:pt x="339" y="61"/>
                  <a:pt x="335" y="59"/>
                  <a:pt x="331" y="56"/>
                </a:cubicBezTo>
                <a:cubicBezTo>
                  <a:pt x="336" y="57"/>
                  <a:pt x="340" y="60"/>
                  <a:pt x="344" y="63"/>
                </a:cubicBezTo>
                <a:close/>
                <a:moveTo>
                  <a:pt x="331" y="76"/>
                </a:moveTo>
                <a:cubicBezTo>
                  <a:pt x="331" y="77"/>
                  <a:pt x="329" y="78"/>
                  <a:pt x="329" y="77"/>
                </a:cubicBezTo>
                <a:cubicBezTo>
                  <a:pt x="329" y="77"/>
                  <a:pt x="329" y="77"/>
                  <a:pt x="329" y="77"/>
                </a:cubicBezTo>
                <a:cubicBezTo>
                  <a:pt x="329" y="78"/>
                  <a:pt x="329" y="78"/>
                  <a:pt x="328" y="78"/>
                </a:cubicBezTo>
                <a:cubicBezTo>
                  <a:pt x="327" y="79"/>
                  <a:pt x="324" y="75"/>
                  <a:pt x="327" y="75"/>
                </a:cubicBezTo>
                <a:cubicBezTo>
                  <a:pt x="328" y="75"/>
                  <a:pt x="329" y="75"/>
                  <a:pt x="329" y="76"/>
                </a:cubicBezTo>
                <a:cubicBezTo>
                  <a:pt x="329" y="76"/>
                  <a:pt x="330" y="75"/>
                  <a:pt x="331" y="76"/>
                </a:cubicBezTo>
                <a:close/>
                <a:moveTo>
                  <a:pt x="327" y="52"/>
                </a:moveTo>
                <a:cubicBezTo>
                  <a:pt x="326" y="52"/>
                  <a:pt x="329" y="52"/>
                  <a:pt x="327" y="52"/>
                </a:cubicBezTo>
                <a:close/>
                <a:moveTo>
                  <a:pt x="325" y="23"/>
                </a:moveTo>
                <a:cubicBezTo>
                  <a:pt x="325" y="22"/>
                  <a:pt x="326" y="24"/>
                  <a:pt x="325" y="23"/>
                </a:cubicBezTo>
                <a:close/>
                <a:moveTo>
                  <a:pt x="330" y="41"/>
                </a:moveTo>
                <a:cubicBezTo>
                  <a:pt x="330" y="43"/>
                  <a:pt x="325" y="43"/>
                  <a:pt x="324" y="42"/>
                </a:cubicBezTo>
                <a:cubicBezTo>
                  <a:pt x="321" y="38"/>
                  <a:pt x="330" y="41"/>
                  <a:pt x="330" y="41"/>
                </a:cubicBezTo>
                <a:close/>
                <a:moveTo>
                  <a:pt x="326" y="75"/>
                </a:moveTo>
                <a:cubicBezTo>
                  <a:pt x="326" y="76"/>
                  <a:pt x="325" y="76"/>
                  <a:pt x="325" y="75"/>
                </a:cubicBezTo>
                <a:cubicBezTo>
                  <a:pt x="324" y="75"/>
                  <a:pt x="326" y="74"/>
                  <a:pt x="326" y="75"/>
                </a:cubicBezTo>
                <a:close/>
                <a:moveTo>
                  <a:pt x="324" y="68"/>
                </a:moveTo>
                <a:cubicBezTo>
                  <a:pt x="324" y="67"/>
                  <a:pt x="325" y="67"/>
                  <a:pt x="325" y="68"/>
                </a:cubicBezTo>
                <a:cubicBezTo>
                  <a:pt x="326" y="69"/>
                  <a:pt x="324" y="68"/>
                  <a:pt x="324" y="68"/>
                </a:cubicBezTo>
                <a:close/>
                <a:moveTo>
                  <a:pt x="327" y="107"/>
                </a:moveTo>
                <a:cubicBezTo>
                  <a:pt x="326" y="109"/>
                  <a:pt x="322" y="107"/>
                  <a:pt x="322" y="107"/>
                </a:cubicBezTo>
                <a:cubicBezTo>
                  <a:pt x="319" y="103"/>
                  <a:pt x="328" y="104"/>
                  <a:pt x="327" y="107"/>
                </a:cubicBezTo>
                <a:close/>
                <a:moveTo>
                  <a:pt x="322" y="27"/>
                </a:moveTo>
                <a:cubicBezTo>
                  <a:pt x="321" y="28"/>
                  <a:pt x="320" y="27"/>
                  <a:pt x="320" y="27"/>
                </a:cubicBezTo>
                <a:cubicBezTo>
                  <a:pt x="319" y="25"/>
                  <a:pt x="322" y="26"/>
                  <a:pt x="322" y="27"/>
                </a:cubicBezTo>
                <a:close/>
                <a:moveTo>
                  <a:pt x="319" y="102"/>
                </a:moveTo>
                <a:cubicBezTo>
                  <a:pt x="319" y="102"/>
                  <a:pt x="318" y="102"/>
                  <a:pt x="318" y="101"/>
                </a:cubicBezTo>
                <a:cubicBezTo>
                  <a:pt x="316" y="100"/>
                  <a:pt x="321" y="100"/>
                  <a:pt x="319" y="102"/>
                </a:cubicBezTo>
                <a:close/>
                <a:moveTo>
                  <a:pt x="319" y="85"/>
                </a:moveTo>
                <a:cubicBezTo>
                  <a:pt x="321" y="85"/>
                  <a:pt x="318" y="87"/>
                  <a:pt x="318" y="85"/>
                </a:cubicBezTo>
                <a:cubicBezTo>
                  <a:pt x="318" y="85"/>
                  <a:pt x="319" y="85"/>
                  <a:pt x="319" y="85"/>
                </a:cubicBezTo>
                <a:close/>
                <a:moveTo>
                  <a:pt x="319" y="73"/>
                </a:moveTo>
                <a:cubicBezTo>
                  <a:pt x="319" y="73"/>
                  <a:pt x="318" y="73"/>
                  <a:pt x="318" y="73"/>
                </a:cubicBezTo>
                <a:cubicBezTo>
                  <a:pt x="316" y="73"/>
                  <a:pt x="318" y="72"/>
                  <a:pt x="319" y="73"/>
                </a:cubicBezTo>
                <a:close/>
                <a:moveTo>
                  <a:pt x="317" y="46"/>
                </a:moveTo>
                <a:cubicBezTo>
                  <a:pt x="317" y="47"/>
                  <a:pt x="315" y="47"/>
                  <a:pt x="315" y="46"/>
                </a:cubicBezTo>
                <a:cubicBezTo>
                  <a:pt x="314" y="45"/>
                  <a:pt x="317" y="44"/>
                  <a:pt x="317" y="46"/>
                </a:cubicBezTo>
                <a:close/>
                <a:moveTo>
                  <a:pt x="315" y="61"/>
                </a:moveTo>
                <a:cubicBezTo>
                  <a:pt x="315" y="61"/>
                  <a:pt x="315" y="60"/>
                  <a:pt x="315" y="60"/>
                </a:cubicBezTo>
                <a:cubicBezTo>
                  <a:pt x="313" y="57"/>
                  <a:pt x="319" y="61"/>
                  <a:pt x="315" y="61"/>
                </a:cubicBezTo>
                <a:close/>
                <a:moveTo>
                  <a:pt x="314" y="88"/>
                </a:moveTo>
                <a:cubicBezTo>
                  <a:pt x="315" y="88"/>
                  <a:pt x="316" y="89"/>
                  <a:pt x="315" y="89"/>
                </a:cubicBezTo>
                <a:cubicBezTo>
                  <a:pt x="315" y="90"/>
                  <a:pt x="313" y="89"/>
                  <a:pt x="314" y="88"/>
                </a:cubicBezTo>
                <a:close/>
                <a:moveTo>
                  <a:pt x="314" y="98"/>
                </a:moveTo>
                <a:cubicBezTo>
                  <a:pt x="313" y="98"/>
                  <a:pt x="312" y="97"/>
                  <a:pt x="312" y="96"/>
                </a:cubicBezTo>
                <a:cubicBezTo>
                  <a:pt x="313" y="96"/>
                  <a:pt x="313" y="97"/>
                  <a:pt x="314" y="98"/>
                </a:cubicBezTo>
                <a:close/>
                <a:moveTo>
                  <a:pt x="313" y="62"/>
                </a:moveTo>
                <a:cubicBezTo>
                  <a:pt x="311" y="61"/>
                  <a:pt x="314" y="62"/>
                  <a:pt x="313" y="62"/>
                </a:cubicBezTo>
                <a:close/>
                <a:moveTo>
                  <a:pt x="308" y="35"/>
                </a:moveTo>
                <a:cubicBezTo>
                  <a:pt x="307" y="34"/>
                  <a:pt x="310" y="37"/>
                  <a:pt x="308" y="35"/>
                </a:cubicBezTo>
                <a:close/>
                <a:moveTo>
                  <a:pt x="305" y="53"/>
                </a:moveTo>
                <a:cubicBezTo>
                  <a:pt x="305" y="52"/>
                  <a:pt x="306" y="54"/>
                  <a:pt x="306" y="54"/>
                </a:cubicBezTo>
                <a:cubicBezTo>
                  <a:pt x="306" y="54"/>
                  <a:pt x="306" y="53"/>
                  <a:pt x="305" y="53"/>
                </a:cubicBezTo>
                <a:close/>
                <a:moveTo>
                  <a:pt x="306" y="45"/>
                </a:moveTo>
                <a:cubicBezTo>
                  <a:pt x="304" y="40"/>
                  <a:pt x="314" y="43"/>
                  <a:pt x="312" y="46"/>
                </a:cubicBezTo>
                <a:cubicBezTo>
                  <a:pt x="311" y="48"/>
                  <a:pt x="307" y="45"/>
                  <a:pt x="306" y="45"/>
                </a:cubicBezTo>
                <a:close/>
                <a:moveTo>
                  <a:pt x="307" y="88"/>
                </a:moveTo>
                <a:cubicBezTo>
                  <a:pt x="308" y="88"/>
                  <a:pt x="307" y="89"/>
                  <a:pt x="307" y="89"/>
                </a:cubicBezTo>
                <a:cubicBezTo>
                  <a:pt x="307" y="89"/>
                  <a:pt x="306" y="87"/>
                  <a:pt x="307" y="88"/>
                </a:cubicBezTo>
                <a:close/>
                <a:moveTo>
                  <a:pt x="313" y="101"/>
                </a:moveTo>
                <a:cubicBezTo>
                  <a:pt x="313" y="102"/>
                  <a:pt x="306" y="96"/>
                  <a:pt x="305" y="95"/>
                </a:cubicBezTo>
                <a:cubicBezTo>
                  <a:pt x="305" y="95"/>
                  <a:pt x="305" y="94"/>
                  <a:pt x="305" y="93"/>
                </a:cubicBezTo>
                <a:cubicBezTo>
                  <a:pt x="305" y="93"/>
                  <a:pt x="314" y="100"/>
                  <a:pt x="313" y="101"/>
                </a:cubicBezTo>
                <a:close/>
                <a:moveTo>
                  <a:pt x="306" y="102"/>
                </a:moveTo>
                <a:cubicBezTo>
                  <a:pt x="304" y="103"/>
                  <a:pt x="303" y="99"/>
                  <a:pt x="302" y="98"/>
                </a:cubicBezTo>
                <a:cubicBezTo>
                  <a:pt x="303" y="98"/>
                  <a:pt x="305" y="101"/>
                  <a:pt x="306" y="102"/>
                </a:cubicBezTo>
                <a:close/>
                <a:moveTo>
                  <a:pt x="301" y="81"/>
                </a:moveTo>
                <a:cubicBezTo>
                  <a:pt x="302" y="80"/>
                  <a:pt x="303" y="84"/>
                  <a:pt x="301" y="82"/>
                </a:cubicBezTo>
                <a:cubicBezTo>
                  <a:pt x="301" y="82"/>
                  <a:pt x="301" y="82"/>
                  <a:pt x="301" y="81"/>
                </a:cubicBezTo>
                <a:close/>
                <a:moveTo>
                  <a:pt x="303" y="92"/>
                </a:moveTo>
                <a:cubicBezTo>
                  <a:pt x="299" y="88"/>
                  <a:pt x="295" y="86"/>
                  <a:pt x="293" y="81"/>
                </a:cubicBezTo>
                <a:cubicBezTo>
                  <a:pt x="297" y="83"/>
                  <a:pt x="301" y="88"/>
                  <a:pt x="303" y="92"/>
                </a:cubicBezTo>
                <a:close/>
                <a:moveTo>
                  <a:pt x="293" y="77"/>
                </a:moveTo>
                <a:cubicBezTo>
                  <a:pt x="293" y="77"/>
                  <a:pt x="293" y="77"/>
                  <a:pt x="293" y="77"/>
                </a:cubicBezTo>
                <a:cubicBezTo>
                  <a:pt x="293" y="77"/>
                  <a:pt x="293" y="77"/>
                  <a:pt x="293" y="77"/>
                </a:cubicBezTo>
                <a:cubicBezTo>
                  <a:pt x="293" y="77"/>
                  <a:pt x="293" y="77"/>
                  <a:pt x="293" y="77"/>
                </a:cubicBezTo>
                <a:close/>
                <a:moveTo>
                  <a:pt x="302" y="98"/>
                </a:moveTo>
                <a:cubicBezTo>
                  <a:pt x="297" y="92"/>
                  <a:pt x="293" y="88"/>
                  <a:pt x="288" y="83"/>
                </a:cubicBezTo>
                <a:cubicBezTo>
                  <a:pt x="293" y="87"/>
                  <a:pt x="298" y="91"/>
                  <a:pt x="302" y="98"/>
                </a:cubicBezTo>
                <a:close/>
                <a:moveTo>
                  <a:pt x="295" y="198"/>
                </a:moveTo>
                <a:cubicBezTo>
                  <a:pt x="291" y="196"/>
                  <a:pt x="287" y="194"/>
                  <a:pt x="284" y="192"/>
                </a:cubicBezTo>
                <a:cubicBezTo>
                  <a:pt x="286" y="193"/>
                  <a:pt x="293" y="196"/>
                  <a:pt x="295" y="198"/>
                </a:cubicBezTo>
                <a:close/>
                <a:moveTo>
                  <a:pt x="287" y="663"/>
                </a:moveTo>
                <a:cubicBezTo>
                  <a:pt x="288" y="663"/>
                  <a:pt x="289" y="664"/>
                  <a:pt x="289" y="664"/>
                </a:cubicBezTo>
                <a:cubicBezTo>
                  <a:pt x="290" y="665"/>
                  <a:pt x="286" y="664"/>
                  <a:pt x="287" y="663"/>
                </a:cubicBezTo>
                <a:close/>
                <a:moveTo>
                  <a:pt x="283" y="230"/>
                </a:moveTo>
                <a:cubicBezTo>
                  <a:pt x="284" y="231"/>
                  <a:pt x="281" y="228"/>
                  <a:pt x="283" y="230"/>
                </a:cubicBezTo>
                <a:close/>
                <a:moveTo>
                  <a:pt x="282" y="216"/>
                </a:moveTo>
                <a:cubicBezTo>
                  <a:pt x="282" y="216"/>
                  <a:pt x="282" y="216"/>
                  <a:pt x="282" y="216"/>
                </a:cubicBezTo>
                <a:cubicBezTo>
                  <a:pt x="283" y="216"/>
                  <a:pt x="283" y="216"/>
                  <a:pt x="283" y="216"/>
                </a:cubicBezTo>
                <a:cubicBezTo>
                  <a:pt x="283" y="216"/>
                  <a:pt x="282" y="216"/>
                  <a:pt x="282" y="216"/>
                </a:cubicBezTo>
                <a:close/>
                <a:moveTo>
                  <a:pt x="283" y="165"/>
                </a:moveTo>
                <a:cubicBezTo>
                  <a:pt x="280" y="165"/>
                  <a:pt x="280" y="160"/>
                  <a:pt x="284" y="161"/>
                </a:cubicBezTo>
                <a:cubicBezTo>
                  <a:pt x="286" y="162"/>
                  <a:pt x="285" y="166"/>
                  <a:pt x="283" y="165"/>
                </a:cubicBezTo>
                <a:close/>
                <a:moveTo>
                  <a:pt x="279" y="199"/>
                </a:moveTo>
                <a:cubicBezTo>
                  <a:pt x="279" y="199"/>
                  <a:pt x="278" y="198"/>
                  <a:pt x="279" y="198"/>
                </a:cubicBezTo>
                <a:cubicBezTo>
                  <a:pt x="279" y="198"/>
                  <a:pt x="280" y="199"/>
                  <a:pt x="279" y="199"/>
                </a:cubicBezTo>
                <a:close/>
                <a:moveTo>
                  <a:pt x="278" y="184"/>
                </a:moveTo>
                <a:cubicBezTo>
                  <a:pt x="278" y="184"/>
                  <a:pt x="278" y="185"/>
                  <a:pt x="278" y="185"/>
                </a:cubicBezTo>
                <a:cubicBezTo>
                  <a:pt x="277" y="183"/>
                  <a:pt x="280" y="185"/>
                  <a:pt x="278" y="184"/>
                </a:cubicBezTo>
                <a:close/>
                <a:moveTo>
                  <a:pt x="270" y="138"/>
                </a:moveTo>
                <a:cubicBezTo>
                  <a:pt x="271" y="139"/>
                  <a:pt x="272" y="136"/>
                  <a:pt x="273" y="136"/>
                </a:cubicBezTo>
                <a:cubicBezTo>
                  <a:pt x="275" y="137"/>
                  <a:pt x="273" y="138"/>
                  <a:pt x="274" y="139"/>
                </a:cubicBezTo>
                <a:cubicBezTo>
                  <a:pt x="277" y="141"/>
                  <a:pt x="282" y="141"/>
                  <a:pt x="284" y="143"/>
                </a:cubicBezTo>
                <a:cubicBezTo>
                  <a:pt x="280" y="142"/>
                  <a:pt x="275" y="140"/>
                  <a:pt x="270" y="138"/>
                </a:cubicBezTo>
                <a:close/>
                <a:moveTo>
                  <a:pt x="278" y="148"/>
                </a:moveTo>
                <a:cubicBezTo>
                  <a:pt x="276" y="148"/>
                  <a:pt x="278" y="147"/>
                  <a:pt x="278" y="148"/>
                </a:cubicBezTo>
                <a:close/>
                <a:moveTo>
                  <a:pt x="265" y="190"/>
                </a:moveTo>
                <a:cubicBezTo>
                  <a:pt x="268" y="190"/>
                  <a:pt x="273" y="192"/>
                  <a:pt x="275" y="194"/>
                </a:cubicBezTo>
                <a:cubicBezTo>
                  <a:pt x="271" y="192"/>
                  <a:pt x="268" y="192"/>
                  <a:pt x="265" y="190"/>
                </a:cubicBezTo>
                <a:close/>
                <a:moveTo>
                  <a:pt x="273" y="554"/>
                </a:moveTo>
                <a:cubicBezTo>
                  <a:pt x="273" y="554"/>
                  <a:pt x="273" y="553"/>
                  <a:pt x="273" y="554"/>
                </a:cubicBezTo>
                <a:cubicBezTo>
                  <a:pt x="273" y="554"/>
                  <a:pt x="273" y="554"/>
                  <a:pt x="273" y="554"/>
                </a:cubicBezTo>
                <a:close/>
                <a:moveTo>
                  <a:pt x="271" y="230"/>
                </a:moveTo>
                <a:cubicBezTo>
                  <a:pt x="272" y="230"/>
                  <a:pt x="274" y="234"/>
                  <a:pt x="272" y="235"/>
                </a:cubicBezTo>
                <a:cubicBezTo>
                  <a:pt x="269" y="235"/>
                  <a:pt x="269" y="231"/>
                  <a:pt x="271" y="230"/>
                </a:cubicBezTo>
                <a:close/>
                <a:moveTo>
                  <a:pt x="270" y="215"/>
                </a:moveTo>
                <a:cubicBezTo>
                  <a:pt x="271" y="214"/>
                  <a:pt x="272" y="217"/>
                  <a:pt x="270" y="216"/>
                </a:cubicBezTo>
                <a:cubicBezTo>
                  <a:pt x="270" y="216"/>
                  <a:pt x="269" y="215"/>
                  <a:pt x="270" y="215"/>
                </a:cubicBezTo>
                <a:close/>
                <a:moveTo>
                  <a:pt x="267" y="262"/>
                </a:moveTo>
                <a:cubicBezTo>
                  <a:pt x="269" y="261"/>
                  <a:pt x="268" y="263"/>
                  <a:pt x="267" y="262"/>
                </a:cubicBezTo>
                <a:close/>
                <a:moveTo>
                  <a:pt x="258" y="254"/>
                </a:moveTo>
                <a:cubicBezTo>
                  <a:pt x="260" y="255"/>
                  <a:pt x="261" y="257"/>
                  <a:pt x="263" y="258"/>
                </a:cubicBezTo>
                <a:cubicBezTo>
                  <a:pt x="261" y="258"/>
                  <a:pt x="260" y="256"/>
                  <a:pt x="258" y="254"/>
                </a:cubicBezTo>
                <a:close/>
                <a:moveTo>
                  <a:pt x="261" y="509"/>
                </a:moveTo>
                <a:cubicBezTo>
                  <a:pt x="261" y="510"/>
                  <a:pt x="260" y="509"/>
                  <a:pt x="260" y="509"/>
                </a:cubicBezTo>
                <a:cubicBezTo>
                  <a:pt x="260" y="508"/>
                  <a:pt x="261" y="509"/>
                  <a:pt x="261" y="509"/>
                </a:cubicBezTo>
                <a:close/>
                <a:moveTo>
                  <a:pt x="258" y="191"/>
                </a:moveTo>
                <a:cubicBezTo>
                  <a:pt x="258" y="191"/>
                  <a:pt x="259" y="193"/>
                  <a:pt x="258" y="193"/>
                </a:cubicBezTo>
                <a:cubicBezTo>
                  <a:pt x="257" y="193"/>
                  <a:pt x="258" y="192"/>
                  <a:pt x="258" y="191"/>
                </a:cubicBezTo>
                <a:close/>
                <a:moveTo>
                  <a:pt x="260" y="233"/>
                </a:moveTo>
                <a:cubicBezTo>
                  <a:pt x="262" y="233"/>
                  <a:pt x="258" y="234"/>
                  <a:pt x="260" y="233"/>
                </a:cubicBezTo>
                <a:close/>
                <a:moveTo>
                  <a:pt x="260" y="231"/>
                </a:moveTo>
                <a:cubicBezTo>
                  <a:pt x="261" y="233"/>
                  <a:pt x="263" y="236"/>
                  <a:pt x="264" y="238"/>
                </a:cubicBezTo>
                <a:cubicBezTo>
                  <a:pt x="262" y="237"/>
                  <a:pt x="261" y="233"/>
                  <a:pt x="260" y="231"/>
                </a:cubicBezTo>
                <a:close/>
                <a:moveTo>
                  <a:pt x="260" y="229"/>
                </a:moveTo>
                <a:cubicBezTo>
                  <a:pt x="260" y="229"/>
                  <a:pt x="261" y="230"/>
                  <a:pt x="261" y="230"/>
                </a:cubicBezTo>
                <a:cubicBezTo>
                  <a:pt x="261" y="230"/>
                  <a:pt x="260" y="229"/>
                  <a:pt x="260" y="229"/>
                </a:cubicBezTo>
                <a:close/>
                <a:moveTo>
                  <a:pt x="261" y="154"/>
                </a:moveTo>
                <a:cubicBezTo>
                  <a:pt x="262" y="155"/>
                  <a:pt x="263" y="157"/>
                  <a:pt x="263" y="158"/>
                </a:cubicBezTo>
                <a:cubicBezTo>
                  <a:pt x="262" y="157"/>
                  <a:pt x="261" y="156"/>
                  <a:pt x="261" y="154"/>
                </a:cubicBezTo>
                <a:close/>
                <a:moveTo>
                  <a:pt x="263" y="68"/>
                </a:moveTo>
                <a:cubicBezTo>
                  <a:pt x="264" y="69"/>
                  <a:pt x="265" y="70"/>
                  <a:pt x="266" y="72"/>
                </a:cubicBezTo>
                <a:cubicBezTo>
                  <a:pt x="264" y="72"/>
                  <a:pt x="264" y="69"/>
                  <a:pt x="263" y="68"/>
                </a:cubicBezTo>
                <a:close/>
                <a:moveTo>
                  <a:pt x="266" y="63"/>
                </a:moveTo>
                <a:cubicBezTo>
                  <a:pt x="264" y="62"/>
                  <a:pt x="265" y="61"/>
                  <a:pt x="266" y="63"/>
                </a:cubicBezTo>
                <a:close/>
                <a:moveTo>
                  <a:pt x="267" y="132"/>
                </a:moveTo>
                <a:cubicBezTo>
                  <a:pt x="269" y="132"/>
                  <a:pt x="271" y="137"/>
                  <a:pt x="268" y="137"/>
                </a:cubicBezTo>
                <a:cubicBezTo>
                  <a:pt x="266" y="138"/>
                  <a:pt x="263" y="132"/>
                  <a:pt x="267" y="132"/>
                </a:cubicBezTo>
                <a:close/>
                <a:moveTo>
                  <a:pt x="267" y="108"/>
                </a:moveTo>
                <a:cubicBezTo>
                  <a:pt x="268" y="108"/>
                  <a:pt x="268" y="109"/>
                  <a:pt x="268" y="109"/>
                </a:cubicBezTo>
                <a:cubicBezTo>
                  <a:pt x="267" y="110"/>
                  <a:pt x="265" y="108"/>
                  <a:pt x="267" y="108"/>
                </a:cubicBezTo>
                <a:close/>
                <a:moveTo>
                  <a:pt x="270" y="113"/>
                </a:moveTo>
                <a:cubicBezTo>
                  <a:pt x="268" y="113"/>
                  <a:pt x="271" y="114"/>
                  <a:pt x="270" y="113"/>
                </a:cubicBezTo>
                <a:close/>
                <a:moveTo>
                  <a:pt x="267" y="149"/>
                </a:moveTo>
                <a:cubicBezTo>
                  <a:pt x="266" y="150"/>
                  <a:pt x="266" y="149"/>
                  <a:pt x="265" y="148"/>
                </a:cubicBezTo>
                <a:cubicBezTo>
                  <a:pt x="264" y="146"/>
                  <a:pt x="269" y="148"/>
                  <a:pt x="267" y="149"/>
                </a:cubicBezTo>
                <a:close/>
                <a:moveTo>
                  <a:pt x="264" y="161"/>
                </a:moveTo>
                <a:cubicBezTo>
                  <a:pt x="265" y="161"/>
                  <a:pt x="265" y="162"/>
                  <a:pt x="265" y="162"/>
                </a:cubicBezTo>
                <a:cubicBezTo>
                  <a:pt x="265" y="162"/>
                  <a:pt x="263" y="158"/>
                  <a:pt x="264" y="161"/>
                </a:cubicBezTo>
                <a:close/>
                <a:moveTo>
                  <a:pt x="266" y="512"/>
                </a:moveTo>
                <a:cubicBezTo>
                  <a:pt x="264" y="513"/>
                  <a:pt x="264" y="510"/>
                  <a:pt x="266" y="512"/>
                </a:cubicBezTo>
                <a:close/>
                <a:moveTo>
                  <a:pt x="271" y="181"/>
                </a:moveTo>
                <a:cubicBezTo>
                  <a:pt x="272" y="180"/>
                  <a:pt x="273" y="183"/>
                  <a:pt x="272" y="182"/>
                </a:cubicBezTo>
                <a:cubicBezTo>
                  <a:pt x="271" y="182"/>
                  <a:pt x="271" y="182"/>
                  <a:pt x="271" y="181"/>
                </a:cubicBezTo>
                <a:close/>
                <a:moveTo>
                  <a:pt x="283" y="92"/>
                </a:moveTo>
                <a:cubicBezTo>
                  <a:pt x="280" y="90"/>
                  <a:pt x="285" y="92"/>
                  <a:pt x="284" y="93"/>
                </a:cubicBezTo>
                <a:cubicBezTo>
                  <a:pt x="284" y="94"/>
                  <a:pt x="281" y="91"/>
                  <a:pt x="280" y="91"/>
                </a:cubicBezTo>
                <a:cubicBezTo>
                  <a:pt x="279" y="90"/>
                  <a:pt x="275" y="89"/>
                  <a:pt x="274" y="87"/>
                </a:cubicBezTo>
                <a:cubicBezTo>
                  <a:pt x="272" y="83"/>
                  <a:pt x="282" y="91"/>
                  <a:pt x="283" y="92"/>
                </a:cubicBezTo>
                <a:close/>
                <a:moveTo>
                  <a:pt x="273" y="75"/>
                </a:moveTo>
                <a:cubicBezTo>
                  <a:pt x="275" y="75"/>
                  <a:pt x="274" y="77"/>
                  <a:pt x="273" y="75"/>
                </a:cubicBezTo>
                <a:close/>
                <a:moveTo>
                  <a:pt x="283" y="102"/>
                </a:moveTo>
                <a:cubicBezTo>
                  <a:pt x="283" y="102"/>
                  <a:pt x="283" y="102"/>
                  <a:pt x="284" y="103"/>
                </a:cubicBezTo>
                <a:cubicBezTo>
                  <a:pt x="284" y="103"/>
                  <a:pt x="284" y="103"/>
                  <a:pt x="284" y="103"/>
                </a:cubicBezTo>
                <a:cubicBezTo>
                  <a:pt x="284" y="102"/>
                  <a:pt x="283" y="102"/>
                  <a:pt x="283" y="102"/>
                </a:cubicBezTo>
                <a:close/>
                <a:moveTo>
                  <a:pt x="285" y="137"/>
                </a:moveTo>
                <a:cubicBezTo>
                  <a:pt x="285" y="138"/>
                  <a:pt x="284" y="137"/>
                  <a:pt x="283" y="137"/>
                </a:cubicBezTo>
                <a:cubicBezTo>
                  <a:pt x="282" y="134"/>
                  <a:pt x="287" y="136"/>
                  <a:pt x="285" y="137"/>
                </a:cubicBezTo>
                <a:close/>
                <a:moveTo>
                  <a:pt x="276" y="104"/>
                </a:moveTo>
                <a:cubicBezTo>
                  <a:pt x="276" y="104"/>
                  <a:pt x="280" y="107"/>
                  <a:pt x="280" y="109"/>
                </a:cubicBezTo>
                <a:cubicBezTo>
                  <a:pt x="279" y="108"/>
                  <a:pt x="276" y="105"/>
                  <a:pt x="276" y="104"/>
                </a:cubicBezTo>
                <a:close/>
                <a:moveTo>
                  <a:pt x="277" y="127"/>
                </a:moveTo>
                <a:cubicBezTo>
                  <a:pt x="276" y="126"/>
                  <a:pt x="276" y="126"/>
                  <a:pt x="275" y="125"/>
                </a:cubicBezTo>
                <a:cubicBezTo>
                  <a:pt x="276" y="125"/>
                  <a:pt x="277" y="126"/>
                  <a:pt x="277" y="127"/>
                </a:cubicBezTo>
                <a:close/>
                <a:moveTo>
                  <a:pt x="279" y="102"/>
                </a:moveTo>
                <a:cubicBezTo>
                  <a:pt x="278" y="102"/>
                  <a:pt x="281" y="102"/>
                  <a:pt x="281" y="102"/>
                </a:cubicBezTo>
                <a:cubicBezTo>
                  <a:pt x="280" y="103"/>
                  <a:pt x="279" y="102"/>
                  <a:pt x="279" y="102"/>
                </a:cubicBezTo>
                <a:close/>
                <a:moveTo>
                  <a:pt x="275" y="111"/>
                </a:moveTo>
                <a:cubicBezTo>
                  <a:pt x="275" y="111"/>
                  <a:pt x="275" y="111"/>
                  <a:pt x="274" y="110"/>
                </a:cubicBezTo>
                <a:cubicBezTo>
                  <a:pt x="275" y="111"/>
                  <a:pt x="275" y="111"/>
                  <a:pt x="275" y="111"/>
                </a:cubicBezTo>
                <a:cubicBezTo>
                  <a:pt x="275" y="111"/>
                  <a:pt x="275" y="111"/>
                  <a:pt x="275" y="111"/>
                </a:cubicBezTo>
                <a:close/>
                <a:moveTo>
                  <a:pt x="287" y="142"/>
                </a:moveTo>
                <a:cubicBezTo>
                  <a:pt x="286" y="143"/>
                  <a:pt x="284" y="140"/>
                  <a:pt x="286" y="140"/>
                </a:cubicBezTo>
                <a:cubicBezTo>
                  <a:pt x="287" y="139"/>
                  <a:pt x="288" y="141"/>
                  <a:pt x="287" y="142"/>
                </a:cubicBezTo>
                <a:close/>
                <a:moveTo>
                  <a:pt x="286" y="87"/>
                </a:moveTo>
                <a:cubicBezTo>
                  <a:pt x="287" y="87"/>
                  <a:pt x="287" y="88"/>
                  <a:pt x="286" y="89"/>
                </a:cubicBezTo>
                <a:cubicBezTo>
                  <a:pt x="286" y="89"/>
                  <a:pt x="285" y="88"/>
                  <a:pt x="286" y="87"/>
                </a:cubicBezTo>
                <a:close/>
                <a:moveTo>
                  <a:pt x="280" y="66"/>
                </a:moveTo>
                <a:cubicBezTo>
                  <a:pt x="282" y="65"/>
                  <a:pt x="285" y="69"/>
                  <a:pt x="286" y="70"/>
                </a:cubicBezTo>
                <a:cubicBezTo>
                  <a:pt x="284" y="71"/>
                  <a:pt x="279" y="68"/>
                  <a:pt x="280" y="66"/>
                </a:cubicBezTo>
                <a:close/>
                <a:moveTo>
                  <a:pt x="276" y="74"/>
                </a:moveTo>
                <a:cubicBezTo>
                  <a:pt x="278" y="76"/>
                  <a:pt x="275" y="73"/>
                  <a:pt x="276" y="74"/>
                </a:cubicBezTo>
                <a:close/>
                <a:moveTo>
                  <a:pt x="276" y="77"/>
                </a:moveTo>
                <a:cubicBezTo>
                  <a:pt x="276" y="77"/>
                  <a:pt x="276" y="77"/>
                  <a:pt x="276" y="77"/>
                </a:cubicBezTo>
                <a:cubicBezTo>
                  <a:pt x="276" y="77"/>
                  <a:pt x="276" y="77"/>
                  <a:pt x="275" y="77"/>
                </a:cubicBezTo>
                <a:cubicBezTo>
                  <a:pt x="276" y="77"/>
                  <a:pt x="276" y="77"/>
                  <a:pt x="276" y="77"/>
                </a:cubicBezTo>
                <a:close/>
                <a:moveTo>
                  <a:pt x="275" y="74"/>
                </a:moveTo>
                <a:cubicBezTo>
                  <a:pt x="274" y="74"/>
                  <a:pt x="273" y="72"/>
                  <a:pt x="271" y="72"/>
                </a:cubicBezTo>
                <a:cubicBezTo>
                  <a:pt x="272" y="71"/>
                  <a:pt x="274" y="73"/>
                  <a:pt x="275" y="74"/>
                </a:cubicBezTo>
                <a:close/>
                <a:moveTo>
                  <a:pt x="273" y="85"/>
                </a:moveTo>
                <a:cubicBezTo>
                  <a:pt x="273" y="86"/>
                  <a:pt x="271" y="85"/>
                  <a:pt x="270" y="85"/>
                </a:cubicBezTo>
                <a:cubicBezTo>
                  <a:pt x="268" y="83"/>
                  <a:pt x="274" y="82"/>
                  <a:pt x="273" y="85"/>
                </a:cubicBezTo>
                <a:close/>
                <a:moveTo>
                  <a:pt x="275" y="102"/>
                </a:moveTo>
                <a:cubicBezTo>
                  <a:pt x="272" y="100"/>
                  <a:pt x="270" y="98"/>
                  <a:pt x="268" y="95"/>
                </a:cubicBezTo>
                <a:cubicBezTo>
                  <a:pt x="271" y="97"/>
                  <a:pt x="273" y="99"/>
                  <a:pt x="275" y="102"/>
                </a:cubicBezTo>
                <a:close/>
                <a:moveTo>
                  <a:pt x="268" y="117"/>
                </a:moveTo>
                <a:cubicBezTo>
                  <a:pt x="268" y="118"/>
                  <a:pt x="267" y="117"/>
                  <a:pt x="267" y="116"/>
                </a:cubicBezTo>
                <a:cubicBezTo>
                  <a:pt x="265" y="115"/>
                  <a:pt x="269" y="116"/>
                  <a:pt x="268" y="117"/>
                </a:cubicBezTo>
                <a:close/>
                <a:moveTo>
                  <a:pt x="268" y="58"/>
                </a:moveTo>
                <a:cubicBezTo>
                  <a:pt x="269" y="59"/>
                  <a:pt x="266" y="57"/>
                  <a:pt x="268" y="58"/>
                </a:cubicBezTo>
                <a:close/>
                <a:moveTo>
                  <a:pt x="267" y="98"/>
                </a:moveTo>
                <a:cubicBezTo>
                  <a:pt x="267" y="98"/>
                  <a:pt x="265" y="98"/>
                  <a:pt x="265" y="97"/>
                </a:cubicBezTo>
                <a:cubicBezTo>
                  <a:pt x="265" y="97"/>
                  <a:pt x="267" y="98"/>
                  <a:pt x="267" y="98"/>
                </a:cubicBezTo>
                <a:close/>
                <a:moveTo>
                  <a:pt x="266" y="51"/>
                </a:moveTo>
                <a:cubicBezTo>
                  <a:pt x="265" y="52"/>
                  <a:pt x="262" y="52"/>
                  <a:pt x="260" y="51"/>
                </a:cubicBezTo>
                <a:cubicBezTo>
                  <a:pt x="262" y="50"/>
                  <a:pt x="264" y="51"/>
                  <a:pt x="266" y="51"/>
                </a:cubicBezTo>
                <a:close/>
                <a:moveTo>
                  <a:pt x="260" y="153"/>
                </a:moveTo>
                <a:cubicBezTo>
                  <a:pt x="260" y="153"/>
                  <a:pt x="260" y="153"/>
                  <a:pt x="260" y="153"/>
                </a:cubicBezTo>
                <a:cubicBezTo>
                  <a:pt x="260" y="153"/>
                  <a:pt x="260" y="153"/>
                  <a:pt x="260" y="153"/>
                </a:cubicBezTo>
                <a:cubicBezTo>
                  <a:pt x="260" y="153"/>
                  <a:pt x="260" y="153"/>
                  <a:pt x="260" y="153"/>
                </a:cubicBezTo>
                <a:close/>
                <a:moveTo>
                  <a:pt x="260" y="181"/>
                </a:moveTo>
                <a:cubicBezTo>
                  <a:pt x="261" y="181"/>
                  <a:pt x="262" y="183"/>
                  <a:pt x="261" y="183"/>
                </a:cubicBezTo>
                <a:cubicBezTo>
                  <a:pt x="261" y="184"/>
                  <a:pt x="259" y="182"/>
                  <a:pt x="260" y="181"/>
                </a:cubicBezTo>
                <a:close/>
                <a:moveTo>
                  <a:pt x="260" y="152"/>
                </a:moveTo>
                <a:cubicBezTo>
                  <a:pt x="259" y="152"/>
                  <a:pt x="259" y="152"/>
                  <a:pt x="260" y="152"/>
                </a:cubicBezTo>
                <a:close/>
                <a:moveTo>
                  <a:pt x="259" y="202"/>
                </a:moveTo>
                <a:cubicBezTo>
                  <a:pt x="261" y="201"/>
                  <a:pt x="259" y="205"/>
                  <a:pt x="259" y="202"/>
                </a:cubicBezTo>
                <a:close/>
                <a:moveTo>
                  <a:pt x="259" y="152"/>
                </a:moveTo>
                <a:cubicBezTo>
                  <a:pt x="258" y="151"/>
                  <a:pt x="257" y="150"/>
                  <a:pt x="257" y="148"/>
                </a:cubicBezTo>
                <a:cubicBezTo>
                  <a:pt x="258" y="149"/>
                  <a:pt x="259" y="150"/>
                  <a:pt x="259" y="152"/>
                </a:cubicBezTo>
                <a:close/>
                <a:moveTo>
                  <a:pt x="255" y="100"/>
                </a:moveTo>
                <a:cubicBezTo>
                  <a:pt x="256" y="100"/>
                  <a:pt x="257" y="102"/>
                  <a:pt x="255" y="103"/>
                </a:cubicBezTo>
                <a:cubicBezTo>
                  <a:pt x="254" y="103"/>
                  <a:pt x="252" y="100"/>
                  <a:pt x="255" y="100"/>
                </a:cubicBezTo>
                <a:close/>
                <a:moveTo>
                  <a:pt x="255" y="196"/>
                </a:moveTo>
                <a:cubicBezTo>
                  <a:pt x="256" y="196"/>
                  <a:pt x="255" y="198"/>
                  <a:pt x="255" y="198"/>
                </a:cubicBezTo>
                <a:cubicBezTo>
                  <a:pt x="254" y="198"/>
                  <a:pt x="254" y="196"/>
                  <a:pt x="255" y="196"/>
                </a:cubicBezTo>
                <a:close/>
                <a:moveTo>
                  <a:pt x="253" y="79"/>
                </a:moveTo>
                <a:cubicBezTo>
                  <a:pt x="252" y="82"/>
                  <a:pt x="243" y="80"/>
                  <a:pt x="246" y="76"/>
                </a:cubicBezTo>
                <a:cubicBezTo>
                  <a:pt x="245" y="77"/>
                  <a:pt x="242" y="76"/>
                  <a:pt x="242" y="75"/>
                </a:cubicBezTo>
                <a:cubicBezTo>
                  <a:pt x="243" y="73"/>
                  <a:pt x="247" y="74"/>
                  <a:pt x="246" y="76"/>
                </a:cubicBezTo>
                <a:cubicBezTo>
                  <a:pt x="247" y="74"/>
                  <a:pt x="253" y="76"/>
                  <a:pt x="253" y="79"/>
                </a:cubicBezTo>
                <a:close/>
                <a:moveTo>
                  <a:pt x="249" y="118"/>
                </a:moveTo>
                <a:cubicBezTo>
                  <a:pt x="248" y="119"/>
                  <a:pt x="247" y="117"/>
                  <a:pt x="248" y="116"/>
                </a:cubicBezTo>
                <a:cubicBezTo>
                  <a:pt x="249" y="116"/>
                  <a:pt x="250" y="118"/>
                  <a:pt x="249" y="118"/>
                </a:cubicBezTo>
                <a:close/>
                <a:moveTo>
                  <a:pt x="244" y="88"/>
                </a:moveTo>
                <a:cubicBezTo>
                  <a:pt x="244" y="88"/>
                  <a:pt x="243" y="87"/>
                  <a:pt x="244" y="87"/>
                </a:cubicBezTo>
                <a:cubicBezTo>
                  <a:pt x="245" y="85"/>
                  <a:pt x="247" y="90"/>
                  <a:pt x="244" y="88"/>
                </a:cubicBezTo>
                <a:close/>
                <a:moveTo>
                  <a:pt x="244" y="70"/>
                </a:moveTo>
                <a:cubicBezTo>
                  <a:pt x="246" y="70"/>
                  <a:pt x="244" y="73"/>
                  <a:pt x="244" y="70"/>
                </a:cubicBezTo>
                <a:close/>
                <a:moveTo>
                  <a:pt x="248" y="64"/>
                </a:moveTo>
                <a:cubicBezTo>
                  <a:pt x="249" y="65"/>
                  <a:pt x="246" y="64"/>
                  <a:pt x="248" y="64"/>
                </a:cubicBezTo>
                <a:close/>
                <a:moveTo>
                  <a:pt x="243" y="69"/>
                </a:moveTo>
                <a:cubicBezTo>
                  <a:pt x="246" y="69"/>
                  <a:pt x="249" y="70"/>
                  <a:pt x="251" y="71"/>
                </a:cubicBezTo>
                <a:cubicBezTo>
                  <a:pt x="250" y="71"/>
                  <a:pt x="248" y="70"/>
                  <a:pt x="246" y="70"/>
                </a:cubicBezTo>
                <a:cubicBezTo>
                  <a:pt x="246" y="70"/>
                  <a:pt x="246" y="70"/>
                  <a:pt x="246" y="70"/>
                </a:cubicBezTo>
                <a:cubicBezTo>
                  <a:pt x="246" y="70"/>
                  <a:pt x="246" y="70"/>
                  <a:pt x="246" y="70"/>
                </a:cubicBezTo>
                <a:cubicBezTo>
                  <a:pt x="245" y="69"/>
                  <a:pt x="244" y="69"/>
                  <a:pt x="243" y="69"/>
                </a:cubicBezTo>
                <a:cubicBezTo>
                  <a:pt x="243" y="69"/>
                  <a:pt x="243" y="70"/>
                  <a:pt x="242" y="69"/>
                </a:cubicBezTo>
                <a:cubicBezTo>
                  <a:pt x="242" y="69"/>
                  <a:pt x="242" y="69"/>
                  <a:pt x="242" y="69"/>
                </a:cubicBezTo>
                <a:cubicBezTo>
                  <a:pt x="242" y="69"/>
                  <a:pt x="242" y="69"/>
                  <a:pt x="242" y="69"/>
                </a:cubicBezTo>
                <a:cubicBezTo>
                  <a:pt x="242" y="68"/>
                  <a:pt x="242" y="68"/>
                  <a:pt x="242" y="68"/>
                </a:cubicBezTo>
                <a:cubicBezTo>
                  <a:pt x="242" y="68"/>
                  <a:pt x="243" y="68"/>
                  <a:pt x="243" y="69"/>
                </a:cubicBezTo>
                <a:close/>
                <a:moveTo>
                  <a:pt x="242" y="89"/>
                </a:moveTo>
                <a:cubicBezTo>
                  <a:pt x="241" y="88"/>
                  <a:pt x="243" y="90"/>
                  <a:pt x="242" y="89"/>
                </a:cubicBezTo>
                <a:close/>
                <a:moveTo>
                  <a:pt x="234" y="66"/>
                </a:moveTo>
                <a:cubicBezTo>
                  <a:pt x="234" y="64"/>
                  <a:pt x="234" y="63"/>
                  <a:pt x="235" y="62"/>
                </a:cubicBezTo>
                <a:cubicBezTo>
                  <a:pt x="238" y="60"/>
                  <a:pt x="242" y="65"/>
                  <a:pt x="241" y="67"/>
                </a:cubicBezTo>
                <a:cubicBezTo>
                  <a:pt x="240" y="69"/>
                  <a:pt x="235" y="67"/>
                  <a:pt x="234" y="66"/>
                </a:cubicBezTo>
                <a:close/>
                <a:moveTo>
                  <a:pt x="246" y="122"/>
                </a:moveTo>
                <a:cubicBezTo>
                  <a:pt x="245" y="123"/>
                  <a:pt x="241" y="118"/>
                  <a:pt x="241" y="117"/>
                </a:cubicBezTo>
                <a:cubicBezTo>
                  <a:pt x="239" y="112"/>
                  <a:pt x="247" y="121"/>
                  <a:pt x="246" y="122"/>
                </a:cubicBezTo>
                <a:close/>
                <a:moveTo>
                  <a:pt x="242" y="252"/>
                </a:moveTo>
                <a:cubicBezTo>
                  <a:pt x="242" y="252"/>
                  <a:pt x="245" y="257"/>
                  <a:pt x="243" y="256"/>
                </a:cubicBezTo>
                <a:cubicBezTo>
                  <a:pt x="242" y="256"/>
                  <a:pt x="242" y="251"/>
                  <a:pt x="242" y="251"/>
                </a:cubicBezTo>
                <a:cubicBezTo>
                  <a:pt x="240" y="247"/>
                  <a:pt x="237" y="245"/>
                  <a:pt x="237" y="241"/>
                </a:cubicBezTo>
                <a:cubicBezTo>
                  <a:pt x="240" y="242"/>
                  <a:pt x="242" y="250"/>
                  <a:pt x="242" y="252"/>
                </a:cubicBezTo>
                <a:close/>
                <a:moveTo>
                  <a:pt x="241" y="246"/>
                </a:moveTo>
                <a:cubicBezTo>
                  <a:pt x="242" y="246"/>
                  <a:pt x="243" y="248"/>
                  <a:pt x="242" y="248"/>
                </a:cubicBezTo>
                <a:cubicBezTo>
                  <a:pt x="242" y="248"/>
                  <a:pt x="241" y="247"/>
                  <a:pt x="241" y="246"/>
                </a:cubicBezTo>
                <a:close/>
                <a:moveTo>
                  <a:pt x="244" y="213"/>
                </a:moveTo>
                <a:cubicBezTo>
                  <a:pt x="243" y="213"/>
                  <a:pt x="243" y="213"/>
                  <a:pt x="243" y="213"/>
                </a:cubicBezTo>
                <a:cubicBezTo>
                  <a:pt x="241" y="212"/>
                  <a:pt x="244" y="211"/>
                  <a:pt x="244" y="213"/>
                </a:cubicBezTo>
                <a:close/>
                <a:moveTo>
                  <a:pt x="241" y="158"/>
                </a:moveTo>
                <a:cubicBezTo>
                  <a:pt x="240" y="157"/>
                  <a:pt x="243" y="158"/>
                  <a:pt x="242" y="159"/>
                </a:cubicBezTo>
                <a:cubicBezTo>
                  <a:pt x="242" y="159"/>
                  <a:pt x="242" y="158"/>
                  <a:pt x="241" y="158"/>
                </a:cubicBezTo>
                <a:close/>
                <a:moveTo>
                  <a:pt x="243" y="148"/>
                </a:moveTo>
                <a:cubicBezTo>
                  <a:pt x="244" y="147"/>
                  <a:pt x="245" y="149"/>
                  <a:pt x="244" y="149"/>
                </a:cubicBezTo>
                <a:cubicBezTo>
                  <a:pt x="244" y="149"/>
                  <a:pt x="243" y="148"/>
                  <a:pt x="243" y="148"/>
                </a:cubicBezTo>
                <a:close/>
                <a:moveTo>
                  <a:pt x="244" y="215"/>
                </a:moveTo>
                <a:cubicBezTo>
                  <a:pt x="244" y="215"/>
                  <a:pt x="246" y="216"/>
                  <a:pt x="245" y="216"/>
                </a:cubicBezTo>
                <a:cubicBezTo>
                  <a:pt x="244" y="216"/>
                  <a:pt x="244" y="216"/>
                  <a:pt x="244" y="215"/>
                </a:cubicBezTo>
                <a:close/>
                <a:moveTo>
                  <a:pt x="230" y="166"/>
                </a:moveTo>
                <a:cubicBezTo>
                  <a:pt x="228" y="160"/>
                  <a:pt x="236" y="159"/>
                  <a:pt x="238" y="164"/>
                </a:cubicBezTo>
                <a:cubicBezTo>
                  <a:pt x="242" y="171"/>
                  <a:pt x="232" y="172"/>
                  <a:pt x="230" y="166"/>
                </a:cubicBezTo>
                <a:close/>
                <a:moveTo>
                  <a:pt x="236" y="177"/>
                </a:moveTo>
                <a:cubicBezTo>
                  <a:pt x="236" y="178"/>
                  <a:pt x="235" y="177"/>
                  <a:pt x="234" y="177"/>
                </a:cubicBezTo>
                <a:cubicBezTo>
                  <a:pt x="235" y="176"/>
                  <a:pt x="236" y="177"/>
                  <a:pt x="236" y="177"/>
                </a:cubicBezTo>
                <a:close/>
                <a:moveTo>
                  <a:pt x="234" y="190"/>
                </a:moveTo>
                <a:cubicBezTo>
                  <a:pt x="233" y="190"/>
                  <a:pt x="234" y="188"/>
                  <a:pt x="234" y="190"/>
                </a:cubicBezTo>
                <a:close/>
                <a:moveTo>
                  <a:pt x="230" y="190"/>
                </a:moveTo>
                <a:cubicBezTo>
                  <a:pt x="231" y="189"/>
                  <a:pt x="233" y="191"/>
                  <a:pt x="233" y="191"/>
                </a:cubicBezTo>
                <a:cubicBezTo>
                  <a:pt x="232" y="192"/>
                  <a:pt x="230" y="190"/>
                  <a:pt x="230" y="190"/>
                </a:cubicBezTo>
                <a:close/>
                <a:moveTo>
                  <a:pt x="232" y="199"/>
                </a:moveTo>
                <a:cubicBezTo>
                  <a:pt x="232" y="200"/>
                  <a:pt x="231" y="198"/>
                  <a:pt x="232" y="198"/>
                </a:cubicBezTo>
                <a:cubicBezTo>
                  <a:pt x="232" y="199"/>
                  <a:pt x="232" y="199"/>
                  <a:pt x="232" y="199"/>
                </a:cubicBezTo>
                <a:close/>
                <a:moveTo>
                  <a:pt x="232" y="179"/>
                </a:moveTo>
                <a:cubicBezTo>
                  <a:pt x="232" y="179"/>
                  <a:pt x="233" y="179"/>
                  <a:pt x="233" y="180"/>
                </a:cubicBezTo>
                <a:cubicBezTo>
                  <a:pt x="233" y="180"/>
                  <a:pt x="231" y="180"/>
                  <a:pt x="232" y="179"/>
                </a:cubicBezTo>
                <a:close/>
                <a:moveTo>
                  <a:pt x="238" y="100"/>
                </a:moveTo>
                <a:cubicBezTo>
                  <a:pt x="238" y="100"/>
                  <a:pt x="238" y="100"/>
                  <a:pt x="238" y="100"/>
                </a:cubicBezTo>
                <a:cubicBezTo>
                  <a:pt x="238" y="100"/>
                  <a:pt x="239" y="101"/>
                  <a:pt x="238" y="100"/>
                </a:cubicBezTo>
                <a:close/>
                <a:moveTo>
                  <a:pt x="235" y="107"/>
                </a:moveTo>
                <a:cubicBezTo>
                  <a:pt x="235" y="107"/>
                  <a:pt x="234" y="109"/>
                  <a:pt x="234" y="107"/>
                </a:cubicBezTo>
                <a:cubicBezTo>
                  <a:pt x="234" y="108"/>
                  <a:pt x="233" y="106"/>
                  <a:pt x="235" y="107"/>
                </a:cubicBezTo>
                <a:close/>
                <a:moveTo>
                  <a:pt x="231" y="104"/>
                </a:moveTo>
                <a:cubicBezTo>
                  <a:pt x="233" y="103"/>
                  <a:pt x="233" y="107"/>
                  <a:pt x="231" y="107"/>
                </a:cubicBezTo>
                <a:cubicBezTo>
                  <a:pt x="230" y="107"/>
                  <a:pt x="229" y="104"/>
                  <a:pt x="231" y="104"/>
                </a:cubicBezTo>
                <a:close/>
                <a:moveTo>
                  <a:pt x="238" y="120"/>
                </a:moveTo>
                <a:cubicBezTo>
                  <a:pt x="238" y="124"/>
                  <a:pt x="230" y="122"/>
                  <a:pt x="229" y="120"/>
                </a:cubicBezTo>
                <a:cubicBezTo>
                  <a:pt x="223" y="112"/>
                  <a:pt x="239" y="113"/>
                  <a:pt x="238" y="120"/>
                </a:cubicBezTo>
                <a:close/>
                <a:moveTo>
                  <a:pt x="233" y="134"/>
                </a:moveTo>
                <a:cubicBezTo>
                  <a:pt x="233" y="133"/>
                  <a:pt x="234" y="135"/>
                  <a:pt x="234" y="135"/>
                </a:cubicBezTo>
                <a:cubicBezTo>
                  <a:pt x="232" y="136"/>
                  <a:pt x="232" y="133"/>
                  <a:pt x="231" y="132"/>
                </a:cubicBezTo>
                <a:cubicBezTo>
                  <a:pt x="230" y="130"/>
                  <a:pt x="226" y="126"/>
                  <a:pt x="225" y="122"/>
                </a:cubicBezTo>
                <a:cubicBezTo>
                  <a:pt x="228" y="124"/>
                  <a:pt x="232" y="131"/>
                  <a:pt x="233" y="134"/>
                </a:cubicBezTo>
                <a:close/>
                <a:moveTo>
                  <a:pt x="226" y="205"/>
                </a:moveTo>
                <a:cubicBezTo>
                  <a:pt x="227" y="204"/>
                  <a:pt x="227" y="206"/>
                  <a:pt x="227" y="206"/>
                </a:cubicBezTo>
                <a:cubicBezTo>
                  <a:pt x="226" y="206"/>
                  <a:pt x="226" y="205"/>
                  <a:pt x="226" y="205"/>
                </a:cubicBezTo>
                <a:close/>
                <a:moveTo>
                  <a:pt x="226" y="130"/>
                </a:moveTo>
                <a:cubicBezTo>
                  <a:pt x="226" y="130"/>
                  <a:pt x="225" y="129"/>
                  <a:pt x="226" y="129"/>
                </a:cubicBezTo>
                <a:cubicBezTo>
                  <a:pt x="226" y="129"/>
                  <a:pt x="226" y="130"/>
                  <a:pt x="226" y="130"/>
                </a:cubicBezTo>
                <a:close/>
                <a:moveTo>
                  <a:pt x="226" y="159"/>
                </a:moveTo>
                <a:cubicBezTo>
                  <a:pt x="224" y="159"/>
                  <a:pt x="226" y="158"/>
                  <a:pt x="226" y="159"/>
                </a:cubicBezTo>
                <a:close/>
                <a:moveTo>
                  <a:pt x="225" y="158"/>
                </a:moveTo>
                <a:cubicBezTo>
                  <a:pt x="224" y="159"/>
                  <a:pt x="222" y="157"/>
                  <a:pt x="221" y="157"/>
                </a:cubicBezTo>
                <a:cubicBezTo>
                  <a:pt x="222" y="156"/>
                  <a:pt x="224" y="158"/>
                  <a:pt x="225" y="158"/>
                </a:cubicBezTo>
                <a:close/>
                <a:moveTo>
                  <a:pt x="224" y="169"/>
                </a:moveTo>
                <a:cubicBezTo>
                  <a:pt x="225" y="170"/>
                  <a:pt x="224" y="174"/>
                  <a:pt x="225" y="175"/>
                </a:cubicBezTo>
                <a:cubicBezTo>
                  <a:pt x="226" y="178"/>
                  <a:pt x="226" y="177"/>
                  <a:pt x="223" y="179"/>
                </a:cubicBezTo>
                <a:cubicBezTo>
                  <a:pt x="221" y="182"/>
                  <a:pt x="216" y="182"/>
                  <a:pt x="217" y="178"/>
                </a:cubicBezTo>
                <a:cubicBezTo>
                  <a:pt x="222" y="179"/>
                  <a:pt x="215" y="177"/>
                  <a:pt x="214" y="175"/>
                </a:cubicBezTo>
                <a:cubicBezTo>
                  <a:pt x="213" y="175"/>
                  <a:pt x="213" y="169"/>
                  <a:pt x="214" y="168"/>
                </a:cubicBezTo>
                <a:cubicBezTo>
                  <a:pt x="217" y="164"/>
                  <a:pt x="222" y="166"/>
                  <a:pt x="224" y="169"/>
                </a:cubicBezTo>
                <a:close/>
                <a:moveTo>
                  <a:pt x="212" y="179"/>
                </a:moveTo>
                <a:cubicBezTo>
                  <a:pt x="213" y="179"/>
                  <a:pt x="213" y="182"/>
                  <a:pt x="212" y="181"/>
                </a:cubicBezTo>
                <a:cubicBezTo>
                  <a:pt x="211" y="181"/>
                  <a:pt x="211" y="180"/>
                  <a:pt x="212" y="179"/>
                </a:cubicBezTo>
                <a:close/>
                <a:moveTo>
                  <a:pt x="211" y="154"/>
                </a:moveTo>
                <a:cubicBezTo>
                  <a:pt x="212" y="153"/>
                  <a:pt x="213" y="154"/>
                  <a:pt x="213" y="155"/>
                </a:cubicBezTo>
                <a:cubicBezTo>
                  <a:pt x="213" y="155"/>
                  <a:pt x="212" y="154"/>
                  <a:pt x="211" y="154"/>
                </a:cubicBezTo>
                <a:close/>
                <a:moveTo>
                  <a:pt x="214" y="225"/>
                </a:moveTo>
                <a:cubicBezTo>
                  <a:pt x="213" y="224"/>
                  <a:pt x="212" y="223"/>
                  <a:pt x="212" y="221"/>
                </a:cubicBezTo>
                <a:cubicBezTo>
                  <a:pt x="212" y="223"/>
                  <a:pt x="214" y="223"/>
                  <a:pt x="214" y="225"/>
                </a:cubicBezTo>
                <a:close/>
                <a:moveTo>
                  <a:pt x="213" y="174"/>
                </a:moveTo>
                <a:cubicBezTo>
                  <a:pt x="212" y="176"/>
                  <a:pt x="218" y="182"/>
                  <a:pt x="216" y="182"/>
                </a:cubicBezTo>
                <a:cubicBezTo>
                  <a:pt x="215" y="182"/>
                  <a:pt x="211" y="176"/>
                  <a:pt x="213" y="174"/>
                </a:cubicBezTo>
                <a:close/>
                <a:moveTo>
                  <a:pt x="219" y="185"/>
                </a:moveTo>
                <a:cubicBezTo>
                  <a:pt x="218" y="186"/>
                  <a:pt x="216" y="185"/>
                  <a:pt x="216" y="184"/>
                </a:cubicBezTo>
                <a:cubicBezTo>
                  <a:pt x="214" y="182"/>
                  <a:pt x="220" y="182"/>
                  <a:pt x="219" y="185"/>
                </a:cubicBezTo>
                <a:close/>
                <a:moveTo>
                  <a:pt x="217" y="156"/>
                </a:moveTo>
                <a:cubicBezTo>
                  <a:pt x="217" y="156"/>
                  <a:pt x="217" y="156"/>
                  <a:pt x="217" y="156"/>
                </a:cubicBezTo>
                <a:cubicBezTo>
                  <a:pt x="215" y="155"/>
                  <a:pt x="219" y="156"/>
                  <a:pt x="217" y="156"/>
                </a:cubicBezTo>
                <a:close/>
                <a:moveTo>
                  <a:pt x="216" y="132"/>
                </a:moveTo>
                <a:cubicBezTo>
                  <a:pt x="216" y="133"/>
                  <a:pt x="215" y="133"/>
                  <a:pt x="214" y="132"/>
                </a:cubicBezTo>
                <a:cubicBezTo>
                  <a:pt x="213" y="131"/>
                  <a:pt x="216" y="130"/>
                  <a:pt x="216" y="132"/>
                </a:cubicBezTo>
                <a:close/>
                <a:moveTo>
                  <a:pt x="216" y="146"/>
                </a:moveTo>
                <a:cubicBezTo>
                  <a:pt x="216" y="147"/>
                  <a:pt x="215" y="146"/>
                  <a:pt x="215" y="146"/>
                </a:cubicBezTo>
                <a:cubicBezTo>
                  <a:pt x="213" y="145"/>
                  <a:pt x="216" y="145"/>
                  <a:pt x="216" y="146"/>
                </a:cubicBezTo>
                <a:close/>
                <a:moveTo>
                  <a:pt x="220" y="156"/>
                </a:moveTo>
                <a:cubicBezTo>
                  <a:pt x="217" y="155"/>
                  <a:pt x="214" y="154"/>
                  <a:pt x="211" y="152"/>
                </a:cubicBezTo>
                <a:cubicBezTo>
                  <a:pt x="214" y="152"/>
                  <a:pt x="218" y="154"/>
                  <a:pt x="220" y="156"/>
                </a:cubicBezTo>
                <a:close/>
                <a:moveTo>
                  <a:pt x="212" y="115"/>
                </a:moveTo>
                <a:cubicBezTo>
                  <a:pt x="212" y="117"/>
                  <a:pt x="209" y="116"/>
                  <a:pt x="209" y="115"/>
                </a:cubicBezTo>
                <a:cubicBezTo>
                  <a:pt x="207" y="112"/>
                  <a:pt x="212" y="112"/>
                  <a:pt x="212" y="115"/>
                </a:cubicBezTo>
                <a:close/>
                <a:moveTo>
                  <a:pt x="210" y="146"/>
                </a:moveTo>
                <a:cubicBezTo>
                  <a:pt x="209" y="146"/>
                  <a:pt x="209" y="145"/>
                  <a:pt x="209" y="144"/>
                </a:cubicBezTo>
                <a:cubicBezTo>
                  <a:pt x="209" y="144"/>
                  <a:pt x="210" y="146"/>
                  <a:pt x="210" y="146"/>
                </a:cubicBezTo>
                <a:close/>
                <a:moveTo>
                  <a:pt x="209" y="150"/>
                </a:moveTo>
                <a:cubicBezTo>
                  <a:pt x="207" y="148"/>
                  <a:pt x="210" y="149"/>
                  <a:pt x="209" y="150"/>
                </a:cubicBezTo>
                <a:close/>
                <a:moveTo>
                  <a:pt x="207" y="167"/>
                </a:moveTo>
                <a:cubicBezTo>
                  <a:pt x="207" y="167"/>
                  <a:pt x="207" y="167"/>
                  <a:pt x="207" y="167"/>
                </a:cubicBezTo>
                <a:cubicBezTo>
                  <a:pt x="209" y="166"/>
                  <a:pt x="206" y="169"/>
                  <a:pt x="207" y="167"/>
                </a:cubicBezTo>
                <a:close/>
                <a:moveTo>
                  <a:pt x="204" y="221"/>
                </a:moveTo>
                <a:cubicBezTo>
                  <a:pt x="205" y="220"/>
                  <a:pt x="206" y="222"/>
                  <a:pt x="205" y="222"/>
                </a:cubicBezTo>
                <a:cubicBezTo>
                  <a:pt x="204" y="222"/>
                  <a:pt x="204" y="221"/>
                  <a:pt x="204" y="221"/>
                </a:cubicBezTo>
                <a:close/>
                <a:moveTo>
                  <a:pt x="204" y="239"/>
                </a:moveTo>
                <a:cubicBezTo>
                  <a:pt x="205" y="239"/>
                  <a:pt x="206" y="241"/>
                  <a:pt x="205" y="242"/>
                </a:cubicBezTo>
                <a:cubicBezTo>
                  <a:pt x="204" y="242"/>
                  <a:pt x="202" y="240"/>
                  <a:pt x="204" y="239"/>
                </a:cubicBezTo>
                <a:close/>
                <a:moveTo>
                  <a:pt x="203" y="346"/>
                </a:moveTo>
                <a:cubicBezTo>
                  <a:pt x="205" y="346"/>
                  <a:pt x="205" y="348"/>
                  <a:pt x="203" y="346"/>
                </a:cubicBezTo>
                <a:close/>
                <a:moveTo>
                  <a:pt x="202" y="233"/>
                </a:moveTo>
                <a:cubicBezTo>
                  <a:pt x="202" y="233"/>
                  <a:pt x="203" y="235"/>
                  <a:pt x="202" y="235"/>
                </a:cubicBezTo>
                <a:cubicBezTo>
                  <a:pt x="202" y="235"/>
                  <a:pt x="201" y="233"/>
                  <a:pt x="202" y="233"/>
                </a:cubicBezTo>
                <a:close/>
                <a:moveTo>
                  <a:pt x="202" y="232"/>
                </a:moveTo>
                <a:cubicBezTo>
                  <a:pt x="200" y="232"/>
                  <a:pt x="202" y="231"/>
                  <a:pt x="202" y="232"/>
                </a:cubicBezTo>
                <a:close/>
                <a:moveTo>
                  <a:pt x="202" y="345"/>
                </a:moveTo>
                <a:cubicBezTo>
                  <a:pt x="204" y="347"/>
                  <a:pt x="201" y="343"/>
                  <a:pt x="202" y="345"/>
                </a:cubicBezTo>
                <a:close/>
                <a:moveTo>
                  <a:pt x="201" y="171"/>
                </a:moveTo>
                <a:cubicBezTo>
                  <a:pt x="201" y="172"/>
                  <a:pt x="203" y="172"/>
                  <a:pt x="202" y="173"/>
                </a:cubicBezTo>
                <a:cubicBezTo>
                  <a:pt x="202" y="174"/>
                  <a:pt x="200" y="171"/>
                  <a:pt x="201" y="171"/>
                </a:cubicBezTo>
                <a:close/>
                <a:moveTo>
                  <a:pt x="200" y="182"/>
                </a:moveTo>
                <a:cubicBezTo>
                  <a:pt x="201" y="181"/>
                  <a:pt x="202" y="184"/>
                  <a:pt x="201" y="184"/>
                </a:cubicBezTo>
                <a:cubicBezTo>
                  <a:pt x="199" y="185"/>
                  <a:pt x="200" y="182"/>
                  <a:pt x="200" y="182"/>
                </a:cubicBezTo>
                <a:close/>
                <a:moveTo>
                  <a:pt x="199" y="304"/>
                </a:moveTo>
                <a:cubicBezTo>
                  <a:pt x="198" y="304"/>
                  <a:pt x="198" y="302"/>
                  <a:pt x="199" y="302"/>
                </a:cubicBezTo>
                <a:cubicBezTo>
                  <a:pt x="200" y="302"/>
                  <a:pt x="200" y="304"/>
                  <a:pt x="199" y="304"/>
                </a:cubicBezTo>
                <a:close/>
                <a:moveTo>
                  <a:pt x="200" y="321"/>
                </a:moveTo>
                <a:cubicBezTo>
                  <a:pt x="200" y="321"/>
                  <a:pt x="200" y="321"/>
                  <a:pt x="200" y="321"/>
                </a:cubicBezTo>
                <a:cubicBezTo>
                  <a:pt x="200" y="321"/>
                  <a:pt x="200" y="321"/>
                  <a:pt x="200" y="321"/>
                </a:cubicBezTo>
                <a:cubicBezTo>
                  <a:pt x="200" y="321"/>
                  <a:pt x="200" y="321"/>
                  <a:pt x="200" y="321"/>
                </a:cubicBezTo>
                <a:close/>
                <a:moveTo>
                  <a:pt x="198" y="238"/>
                </a:moveTo>
                <a:cubicBezTo>
                  <a:pt x="199" y="239"/>
                  <a:pt x="200" y="240"/>
                  <a:pt x="201" y="242"/>
                </a:cubicBezTo>
                <a:cubicBezTo>
                  <a:pt x="199" y="241"/>
                  <a:pt x="198" y="240"/>
                  <a:pt x="198" y="238"/>
                </a:cubicBezTo>
                <a:close/>
                <a:moveTo>
                  <a:pt x="198" y="266"/>
                </a:moveTo>
                <a:cubicBezTo>
                  <a:pt x="197" y="267"/>
                  <a:pt x="197" y="265"/>
                  <a:pt x="197" y="265"/>
                </a:cubicBezTo>
                <a:cubicBezTo>
                  <a:pt x="197" y="265"/>
                  <a:pt x="199" y="266"/>
                  <a:pt x="198" y="266"/>
                </a:cubicBezTo>
                <a:close/>
                <a:moveTo>
                  <a:pt x="199" y="228"/>
                </a:moveTo>
                <a:cubicBezTo>
                  <a:pt x="197" y="229"/>
                  <a:pt x="195" y="222"/>
                  <a:pt x="198" y="222"/>
                </a:cubicBezTo>
                <a:cubicBezTo>
                  <a:pt x="201" y="222"/>
                  <a:pt x="201" y="228"/>
                  <a:pt x="199" y="228"/>
                </a:cubicBezTo>
                <a:close/>
                <a:moveTo>
                  <a:pt x="197" y="165"/>
                </a:moveTo>
                <a:cubicBezTo>
                  <a:pt x="198" y="165"/>
                  <a:pt x="201" y="171"/>
                  <a:pt x="198" y="172"/>
                </a:cubicBezTo>
                <a:cubicBezTo>
                  <a:pt x="194" y="173"/>
                  <a:pt x="192" y="164"/>
                  <a:pt x="197" y="165"/>
                </a:cubicBezTo>
                <a:close/>
                <a:moveTo>
                  <a:pt x="196" y="264"/>
                </a:moveTo>
                <a:cubicBezTo>
                  <a:pt x="195" y="263"/>
                  <a:pt x="195" y="262"/>
                  <a:pt x="194" y="261"/>
                </a:cubicBezTo>
                <a:cubicBezTo>
                  <a:pt x="195" y="261"/>
                  <a:pt x="196" y="263"/>
                  <a:pt x="196" y="264"/>
                </a:cubicBezTo>
                <a:close/>
                <a:moveTo>
                  <a:pt x="194" y="242"/>
                </a:moveTo>
                <a:cubicBezTo>
                  <a:pt x="194" y="242"/>
                  <a:pt x="194" y="242"/>
                  <a:pt x="194" y="242"/>
                </a:cubicBezTo>
                <a:cubicBezTo>
                  <a:pt x="196" y="241"/>
                  <a:pt x="192" y="244"/>
                  <a:pt x="194" y="242"/>
                </a:cubicBezTo>
                <a:close/>
                <a:moveTo>
                  <a:pt x="194" y="188"/>
                </a:moveTo>
                <a:cubicBezTo>
                  <a:pt x="195" y="188"/>
                  <a:pt x="195" y="191"/>
                  <a:pt x="194" y="191"/>
                </a:cubicBezTo>
                <a:cubicBezTo>
                  <a:pt x="193" y="191"/>
                  <a:pt x="192" y="188"/>
                  <a:pt x="194" y="188"/>
                </a:cubicBezTo>
                <a:close/>
                <a:moveTo>
                  <a:pt x="192" y="192"/>
                </a:moveTo>
                <a:cubicBezTo>
                  <a:pt x="190" y="193"/>
                  <a:pt x="193" y="192"/>
                  <a:pt x="192" y="192"/>
                </a:cubicBezTo>
                <a:close/>
                <a:moveTo>
                  <a:pt x="191" y="224"/>
                </a:moveTo>
                <a:cubicBezTo>
                  <a:pt x="191" y="225"/>
                  <a:pt x="190" y="223"/>
                  <a:pt x="190" y="223"/>
                </a:cubicBezTo>
                <a:cubicBezTo>
                  <a:pt x="191" y="222"/>
                  <a:pt x="192" y="224"/>
                  <a:pt x="191" y="224"/>
                </a:cubicBezTo>
                <a:close/>
                <a:moveTo>
                  <a:pt x="191" y="190"/>
                </a:moveTo>
                <a:cubicBezTo>
                  <a:pt x="191" y="189"/>
                  <a:pt x="191" y="189"/>
                  <a:pt x="190" y="188"/>
                </a:cubicBezTo>
                <a:cubicBezTo>
                  <a:pt x="191" y="188"/>
                  <a:pt x="191" y="189"/>
                  <a:pt x="191" y="190"/>
                </a:cubicBezTo>
                <a:close/>
                <a:moveTo>
                  <a:pt x="192" y="243"/>
                </a:moveTo>
                <a:cubicBezTo>
                  <a:pt x="192" y="241"/>
                  <a:pt x="191" y="242"/>
                  <a:pt x="190" y="243"/>
                </a:cubicBezTo>
                <a:cubicBezTo>
                  <a:pt x="188" y="243"/>
                  <a:pt x="184" y="239"/>
                  <a:pt x="186" y="235"/>
                </a:cubicBezTo>
                <a:cubicBezTo>
                  <a:pt x="189" y="230"/>
                  <a:pt x="196" y="237"/>
                  <a:pt x="192" y="243"/>
                </a:cubicBezTo>
                <a:close/>
                <a:moveTo>
                  <a:pt x="192" y="254"/>
                </a:moveTo>
                <a:cubicBezTo>
                  <a:pt x="191" y="255"/>
                  <a:pt x="191" y="253"/>
                  <a:pt x="191" y="253"/>
                </a:cubicBezTo>
                <a:cubicBezTo>
                  <a:pt x="192" y="252"/>
                  <a:pt x="192" y="254"/>
                  <a:pt x="192" y="254"/>
                </a:cubicBezTo>
                <a:close/>
                <a:moveTo>
                  <a:pt x="190" y="274"/>
                </a:moveTo>
                <a:cubicBezTo>
                  <a:pt x="190" y="274"/>
                  <a:pt x="189" y="272"/>
                  <a:pt x="190" y="272"/>
                </a:cubicBezTo>
                <a:cubicBezTo>
                  <a:pt x="191" y="271"/>
                  <a:pt x="191" y="274"/>
                  <a:pt x="190" y="274"/>
                </a:cubicBezTo>
                <a:close/>
                <a:moveTo>
                  <a:pt x="186" y="193"/>
                </a:moveTo>
                <a:cubicBezTo>
                  <a:pt x="189" y="193"/>
                  <a:pt x="188" y="197"/>
                  <a:pt x="187" y="197"/>
                </a:cubicBezTo>
                <a:cubicBezTo>
                  <a:pt x="185" y="197"/>
                  <a:pt x="185" y="193"/>
                  <a:pt x="186" y="193"/>
                </a:cubicBezTo>
                <a:close/>
                <a:moveTo>
                  <a:pt x="185" y="198"/>
                </a:moveTo>
                <a:cubicBezTo>
                  <a:pt x="187" y="198"/>
                  <a:pt x="186" y="200"/>
                  <a:pt x="185" y="198"/>
                </a:cubicBezTo>
                <a:close/>
                <a:moveTo>
                  <a:pt x="183" y="252"/>
                </a:moveTo>
                <a:cubicBezTo>
                  <a:pt x="184" y="252"/>
                  <a:pt x="184" y="254"/>
                  <a:pt x="183" y="253"/>
                </a:cubicBezTo>
                <a:cubicBezTo>
                  <a:pt x="183" y="253"/>
                  <a:pt x="183" y="253"/>
                  <a:pt x="183" y="252"/>
                </a:cubicBezTo>
                <a:close/>
                <a:moveTo>
                  <a:pt x="184" y="268"/>
                </a:moveTo>
                <a:cubicBezTo>
                  <a:pt x="184" y="268"/>
                  <a:pt x="185" y="269"/>
                  <a:pt x="184" y="269"/>
                </a:cubicBezTo>
                <a:cubicBezTo>
                  <a:pt x="184" y="270"/>
                  <a:pt x="182" y="268"/>
                  <a:pt x="184" y="268"/>
                </a:cubicBezTo>
                <a:close/>
                <a:moveTo>
                  <a:pt x="184" y="309"/>
                </a:moveTo>
                <a:cubicBezTo>
                  <a:pt x="183" y="309"/>
                  <a:pt x="182" y="307"/>
                  <a:pt x="183" y="306"/>
                </a:cubicBezTo>
                <a:cubicBezTo>
                  <a:pt x="185" y="305"/>
                  <a:pt x="185" y="309"/>
                  <a:pt x="184" y="309"/>
                </a:cubicBezTo>
                <a:close/>
                <a:moveTo>
                  <a:pt x="184" y="256"/>
                </a:moveTo>
                <a:cubicBezTo>
                  <a:pt x="183" y="256"/>
                  <a:pt x="182" y="254"/>
                  <a:pt x="184" y="254"/>
                </a:cubicBezTo>
                <a:cubicBezTo>
                  <a:pt x="185" y="254"/>
                  <a:pt x="185" y="256"/>
                  <a:pt x="184" y="256"/>
                </a:cubicBezTo>
                <a:close/>
                <a:moveTo>
                  <a:pt x="186" y="272"/>
                </a:moveTo>
                <a:cubicBezTo>
                  <a:pt x="190" y="271"/>
                  <a:pt x="189" y="278"/>
                  <a:pt x="187" y="278"/>
                </a:cubicBezTo>
                <a:cubicBezTo>
                  <a:pt x="185" y="278"/>
                  <a:pt x="184" y="273"/>
                  <a:pt x="186" y="272"/>
                </a:cubicBezTo>
                <a:close/>
                <a:moveTo>
                  <a:pt x="189" y="304"/>
                </a:moveTo>
                <a:cubicBezTo>
                  <a:pt x="193" y="304"/>
                  <a:pt x="193" y="312"/>
                  <a:pt x="190" y="312"/>
                </a:cubicBezTo>
                <a:cubicBezTo>
                  <a:pt x="187" y="312"/>
                  <a:pt x="185" y="305"/>
                  <a:pt x="189" y="304"/>
                </a:cubicBezTo>
                <a:close/>
                <a:moveTo>
                  <a:pt x="193" y="375"/>
                </a:moveTo>
                <a:cubicBezTo>
                  <a:pt x="193" y="375"/>
                  <a:pt x="192" y="374"/>
                  <a:pt x="193" y="374"/>
                </a:cubicBezTo>
                <a:cubicBezTo>
                  <a:pt x="193" y="374"/>
                  <a:pt x="194" y="375"/>
                  <a:pt x="193" y="375"/>
                </a:cubicBezTo>
                <a:close/>
                <a:moveTo>
                  <a:pt x="205" y="365"/>
                </a:moveTo>
                <a:cubicBezTo>
                  <a:pt x="205" y="366"/>
                  <a:pt x="203" y="362"/>
                  <a:pt x="204" y="364"/>
                </a:cubicBezTo>
                <a:cubicBezTo>
                  <a:pt x="199" y="355"/>
                  <a:pt x="192" y="344"/>
                  <a:pt x="189" y="335"/>
                </a:cubicBezTo>
                <a:cubicBezTo>
                  <a:pt x="195" y="343"/>
                  <a:pt x="199" y="352"/>
                  <a:pt x="204" y="362"/>
                </a:cubicBezTo>
                <a:cubicBezTo>
                  <a:pt x="204" y="362"/>
                  <a:pt x="206" y="364"/>
                  <a:pt x="205" y="365"/>
                </a:cubicBezTo>
                <a:close/>
                <a:moveTo>
                  <a:pt x="206" y="165"/>
                </a:moveTo>
                <a:cubicBezTo>
                  <a:pt x="204" y="165"/>
                  <a:pt x="205" y="163"/>
                  <a:pt x="206" y="165"/>
                </a:cubicBezTo>
                <a:close/>
                <a:moveTo>
                  <a:pt x="212" y="221"/>
                </a:moveTo>
                <a:cubicBezTo>
                  <a:pt x="210" y="220"/>
                  <a:pt x="208" y="217"/>
                  <a:pt x="206" y="215"/>
                </a:cubicBezTo>
                <a:cubicBezTo>
                  <a:pt x="209" y="216"/>
                  <a:pt x="210" y="219"/>
                  <a:pt x="212" y="221"/>
                </a:cubicBezTo>
                <a:close/>
                <a:moveTo>
                  <a:pt x="207" y="224"/>
                </a:moveTo>
                <a:cubicBezTo>
                  <a:pt x="205" y="222"/>
                  <a:pt x="211" y="223"/>
                  <a:pt x="209" y="225"/>
                </a:cubicBezTo>
                <a:cubicBezTo>
                  <a:pt x="209" y="226"/>
                  <a:pt x="208" y="225"/>
                  <a:pt x="207" y="224"/>
                </a:cubicBezTo>
                <a:close/>
                <a:moveTo>
                  <a:pt x="209" y="243"/>
                </a:moveTo>
                <a:cubicBezTo>
                  <a:pt x="210" y="243"/>
                  <a:pt x="211" y="244"/>
                  <a:pt x="211" y="244"/>
                </a:cubicBezTo>
                <a:cubicBezTo>
                  <a:pt x="211" y="247"/>
                  <a:pt x="208" y="245"/>
                  <a:pt x="209" y="243"/>
                </a:cubicBezTo>
                <a:close/>
                <a:moveTo>
                  <a:pt x="214" y="405"/>
                </a:moveTo>
                <a:cubicBezTo>
                  <a:pt x="214" y="405"/>
                  <a:pt x="215" y="405"/>
                  <a:pt x="215" y="405"/>
                </a:cubicBezTo>
                <a:cubicBezTo>
                  <a:pt x="216" y="406"/>
                  <a:pt x="213" y="406"/>
                  <a:pt x="214" y="405"/>
                </a:cubicBezTo>
                <a:close/>
                <a:moveTo>
                  <a:pt x="211" y="256"/>
                </a:moveTo>
                <a:cubicBezTo>
                  <a:pt x="211" y="256"/>
                  <a:pt x="210" y="254"/>
                  <a:pt x="211" y="254"/>
                </a:cubicBezTo>
                <a:cubicBezTo>
                  <a:pt x="214" y="256"/>
                  <a:pt x="216" y="261"/>
                  <a:pt x="217" y="264"/>
                </a:cubicBezTo>
                <a:cubicBezTo>
                  <a:pt x="215" y="261"/>
                  <a:pt x="212" y="258"/>
                  <a:pt x="211" y="256"/>
                </a:cubicBezTo>
                <a:close/>
                <a:moveTo>
                  <a:pt x="219" y="262"/>
                </a:moveTo>
                <a:cubicBezTo>
                  <a:pt x="218" y="262"/>
                  <a:pt x="217" y="260"/>
                  <a:pt x="219" y="260"/>
                </a:cubicBezTo>
                <a:cubicBezTo>
                  <a:pt x="219" y="260"/>
                  <a:pt x="220" y="261"/>
                  <a:pt x="219" y="262"/>
                </a:cubicBezTo>
                <a:close/>
                <a:moveTo>
                  <a:pt x="221" y="386"/>
                </a:moveTo>
                <a:cubicBezTo>
                  <a:pt x="221" y="385"/>
                  <a:pt x="222" y="386"/>
                  <a:pt x="222" y="386"/>
                </a:cubicBezTo>
                <a:cubicBezTo>
                  <a:pt x="221" y="387"/>
                  <a:pt x="220" y="387"/>
                  <a:pt x="221" y="386"/>
                </a:cubicBezTo>
                <a:close/>
                <a:moveTo>
                  <a:pt x="222" y="327"/>
                </a:moveTo>
                <a:cubicBezTo>
                  <a:pt x="220" y="326"/>
                  <a:pt x="222" y="326"/>
                  <a:pt x="222" y="327"/>
                </a:cubicBezTo>
                <a:close/>
                <a:moveTo>
                  <a:pt x="224" y="204"/>
                </a:moveTo>
                <a:cubicBezTo>
                  <a:pt x="223" y="205"/>
                  <a:pt x="222" y="205"/>
                  <a:pt x="222" y="205"/>
                </a:cubicBezTo>
                <a:cubicBezTo>
                  <a:pt x="221" y="204"/>
                  <a:pt x="221" y="203"/>
                  <a:pt x="222" y="203"/>
                </a:cubicBezTo>
                <a:cubicBezTo>
                  <a:pt x="222" y="202"/>
                  <a:pt x="222" y="201"/>
                  <a:pt x="222" y="201"/>
                </a:cubicBezTo>
                <a:cubicBezTo>
                  <a:pt x="221" y="200"/>
                  <a:pt x="215" y="194"/>
                  <a:pt x="216" y="194"/>
                </a:cubicBezTo>
                <a:cubicBezTo>
                  <a:pt x="218" y="192"/>
                  <a:pt x="222" y="201"/>
                  <a:pt x="223" y="202"/>
                </a:cubicBezTo>
                <a:cubicBezTo>
                  <a:pt x="224" y="203"/>
                  <a:pt x="225" y="204"/>
                  <a:pt x="224" y="204"/>
                </a:cubicBezTo>
                <a:cubicBezTo>
                  <a:pt x="224" y="204"/>
                  <a:pt x="224" y="204"/>
                  <a:pt x="224" y="204"/>
                </a:cubicBezTo>
                <a:cubicBezTo>
                  <a:pt x="224" y="204"/>
                  <a:pt x="224" y="204"/>
                  <a:pt x="224" y="204"/>
                </a:cubicBezTo>
                <a:close/>
                <a:moveTo>
                  <a:pt x="227" y="215"/>
                </a:moveTo>
                <a:cubicBezTo>
                  <a:pt x="224" y="216"/>
                  <a:pt x="222" y="210"/>
                  <a:pt x="225" y="210"/>
                </a:cubicBezTo>
                <a:cubicBezTo>
                  <a:pt x="227" y="210"/>
                  <a:pt x="228" y="214"/>
                  <a:pt x="227" y="215"/>
                </a:cubicBezTo>
                <a:close/>
                <a:moveTo>
                  <a:pt x="230" y="252"/>
                </a:moveTo>
                <a:cubicBezTo>
                  <a:pt x="230" y="251"/>
                  <a:pt x="231" y="252"/>
                  <a:pt x="231" y="252"/>
                </a:cubicBezTo>
                <a:cubicBezTo>
                  <a:pt x="231" y="252"/>
                  <a:pt x="230" y="252"/>
                  <a:pt x="230" y="252"/>
                </a:cubicBezTo>
                <a:close/>
                <a:moveTo>
                  <a:pt x="232" y="218"/>
                </a:moveTo>
                <a:cubicBezTo>
                  <a:pt x="232" y="218"/>
                  <a:pt x="232" y="218"/>
                  <a:pt x="232" y="218"/>
                </a:cubicBezTo>
                <a:cubicBezTo>
                  <a:pt x="231" y="217"/>
                  <a:pt x="230" y="216"/>
                  <a:pt x="229" y="216"/>
                </a:cubicBezTo>
                <a:cubicBezTo>
                  <a:pt x="229" y="216"/>
                  <a:pt x="230" y="215"/>
                  <a:pt x="230" y="215"/>
                </a:cubicBezTo>
                <a:cubicBezTo>
                  <a:pt x="230" y="214"/>
                  <a:pt x="232" y="217"/>
                  <a:pt x="234" y="218"/>
                </a:cubicBezTo>
                <a:cubicBezTo>
                  <a:pt x="235" y="219"/>
                  <a:pt x="242" y="224"/>
                  <a:pt x="243" y="226"/>
                </a:cubicBezTo>
                <a:cubicBezTo>
                  <a:pt x="244" y="228"/>
                  <a:pt x="241" y="224"/>
                  <a:pt x="240" y="224"/>
                </a:cubicBezTo>
                <a:cubicBezTo>
                  <a:pt x="239" y="222"/>
                  <a:pt x="235" y="220"/>
                  <a:pt x="232" y="218"/>
                </a:cubicBezTo>
                <a:cubicBezTo>
                  <a:pt x="233" y="219"/>
                  <a:pt x="233" y="219"/>
                  <a:pt x="232" y="219"/>
                </a:cubicBezTo>
                <a:cubicBezTo>
                  <a:pt x="232" y="219"/>
                  <a:pt x="232" y="218"/>
                  <a:pt x="232" y="218"/>
                </a:cubicBezTo>
                <a:close/>
                <a:moveTo>
                  <a:pt x="233" y="254"/>
                </a:moveTo>
                <a:cubicBezTo>
                  <a:pt x="233" y="254"/>
                  <a:pt x="232" y="253"/>
                  <a:pt x="232" y="253"/>
                </a:cubicBezTo>
                <a:cubicBezTo>
                  <a:pt x="232" y="253"/>
                  <a:pt x="234" y="253"/>
                  <a:pt x="233" y="254"/>
                </a:cubicBezTo>
                <a:close/>
                <a:moveTo>
                  <a:pt x="233" y="257"/>
                </a:moveTo>
                <a:cubicBezTo>
                  <a:pt x="232" y="257"/>
                  <a:pt x="232" y="255"/>
                  <a:pt x="233" y="255"/>
                </a:cubicBezTo>
                <a:cubicBezTo>
                  <a:pt x="234" y="254"/>
                  <a:pt x="234" y="257"/>
                  <a:pt x="233" y="257"/>
                </a:cubicBezTo>
                <a:close/>
                <a:moveTo>
                  <a:pt x="234" y="240"/>
                </a:moveTo>
                <a:cubicBezTo>
                  <a:pt x="234" y="240"/>
                  <a:pt x="234" y="240"/>
                  <a:pt x="234" y="239"/>
                </a:cubicBezTo>
                <a:cubicBezTo>
                  <a:pt x="235" y="237"/>
                  <a:pt x="237" y="243"/>
                  <a:pt x="234" y="240"/>
                </a:cubicBezTo>
                <a:close/>
                <a:moveTo>
                  <a:pt x="239" y="261"/>
                </a:moveTo>
                <a:cubicBezTo>
                  <a:pt x="240" y="261"/>
                  <a:pt x="242" y="263"/>
                  <a:pt x="240" y="264"/>
                </a:cubicBezTo>
                <a:cubicBezTo>
                  <a:pt x="238" y="266"/>
                  <a:pt x="235" y="260"/>
                  <a:pt x="239" y="261"/>
                </a:cubicBezTo>
                <a:close/>
                <a:moveTo>
                  <a:pt x="243" y="722"/>
                </a:moveTo>
                <a:cubicBezTo>
                  <a:pt x="243" y="722"/>
                  <a:pt x="243" y="722"/>
                  <a:pt x="243" y="722"/>
                </a:cubicBezTo>
                <a:cubicBezTo>
                  <a:pt x="244" y="724"/>
                  <a:pt x="241" y="719"/>
                  <a:pt x="243" y="722"/>
                </a:cubicBezTo>
                <a:close/>
                <a:moveTo>
                  <a:pt x="240" y="314"/>
                </a:moveTo>
                <a:cubicBezTo>
                  <a:pt x="242" y="315"/>
                  <a:pt x="242" y="318"/>
                  <a:pt x="244" y="319"/>
                </a:cubicBezTo>
                <a:cubicBezTo>
                  <a:pt x="242" y="318"/>
                  <a:pt x="241" y="316"/>
                  <a:pt x="240" y="314"/>
                </a:cubicBezTo>
                <a:close/>
                <a:moveTo>
                  <a:pt x="245" y="274"/>
                </a:moveTo>
                <a:cubicBezTo>
                  <a:pt x="247" y="273"/>
                  <a:pt x="246" y="276"/>
                  <a:pt x="245" y="276"/>
                </a:cubicBezTo>
                <a:cubicBezTo>
                  <a:pt x="244" y="277"/>
                  <a:pt x="243" y="274"/>
                  <a:pt x="245" y="274"/>
                </a:cubicBezTo>
                <a:close/>
                <a:moveTo>
                  <a:pt x="246" y="680"/>
                </a:moveTo>
                <a:cubicBezTo>
                  <a:pt x="244" y="679"/>
                  <a:pt x="247" y="680"/>
                  <a:pt x="246" y="680"/>
                </a:cubicBezTo>
                <a:close/>
                <a:moveTo>
                  <a:pt x="245" y="321"/>
                </a:moveTo>
                <a:cubicBezTo>
                  <a:pt x="248" y="323"/>
                  <a:pt x="245" y="324"/>
                  <a:pt x="245" y="321"/>
                </a:cubicBezTo>
                <a:close/>
                <a:moveTo>
                  <a:pt x="247" y="85"/>
                </a:moveTo>
                <a:cubicBezTo>
                  <a:pt x="246" y="86"/>
                  <a:pt x="245" y="85"/>
                  <a:pt x="245" y="84"/>
                </a:cubicBezTo>
                <a:cubicBezTo>
                  <a:pt x="244" y="83"/>
                  <a:pt x="247" y="83"/>
                  <a:pt x="247" y="85"/>
                </a:cubicBezTo>
                <a:close/>
                <a:moveTo>
                  <a:pt x="246" y="83"/>
                </a:moveTo>
                <a:cubicBezTo>
                  <a:pt x="246" y="82"/>
                  <a:pt x="246" y="83"/>
                  <a:pt x="246" y="83"/>
                </a:cubicBezTo>
                <a:cubicBezTo>
                  <a:pt x="248" y="82"/>
                  <a:pt x="245" y="84"/>
                  <a:pt x="246" y="83"/>
                </a:cubicBezTo>
                <a:close/>
                <a:moveTo>
                  <a:pt x="247" y="96"/>
                </a:moveTo>
                <a:cubicBezTo>
                  <a:pt x="248" y="97"/>
                  <a:pt x="247" y="97"/>
                  <a:pt x="247" y="96"/>
                </a:cubicBezTo>
                <a:close/>
                <a:moveTo>
                  <a:pt x="249" y="170"/>
                </a:moveTo>
                <a:cubicBezTo>
                  <a:pt x="247" y="168"/>
                  <a:pt x="250" y="172"/>
                  <a:pt x="249" y="170"/>
                </a:cubicBezTo>
                <a:close/>
                <a:moveTo>
                  <a:pt x="248" y="146"/>
                </a:moveTo>
                <a:cubicBezTo>
                  <a:pt x="248" y="146"/>
                  <a:pt x="247" y="145"/>
                  <a:pt x="248" y="144"/>
                </a:cubicBezTo>
                <a:cubicBezTo>
                  <a:pt x="250" y="141"/>
                  <a:pt x="251" y="149"/>
                  <a:pt x="248" y="146"/>
                </a:cubicBezTo>
                <a:close/>
                <a:moveTo>
                  <a:pt x="251" y="173"/>
                </a:moveTo>
                <a:cubicBezTo>
                  <a:pt x="249" y="171"/>
                  <a:pt x="252" y="175"/>
                  <a:pt x="251" y="173"/>
                </a:cubicBezTo>
                <a:close/>
                <a:moveTo>
                  <a:pt x="251" y="126"/>
                </a:moveTo>
                <a:cubicBezTo>
                  <a:pt x="251" y="125"/>
                  <a:pt x="252" y="126"/>
                  <a:pt x="252" y="126"/>
                </a:cubicBezTo>
                <a:cubicBezTo>
                  <a:pt x="252" y="126"/>
                  <a:pt x="251" y="126"/>
                  <a:pt x="251" y="126"/>
                </a:cubicBezTo>
                <a:close/>
                <a:moveTo>
                  <a:pt x="254" y="93"/>
                </a:moveTo>
                <a:cubicBezTo>
                  <a:pt x="254" y="93"/>
                  <a:pt x="253" y="93"/>
                  <a:pt x="252" y="93"/>
                </a:cubicBezTo>
                <a:cubicBezTo>
                  <a:pt x="250" y="91"/>
                  <a:pt x="255" y="90"/>
                  <a:pt x="254" y="93"/>
                </a:cubicBezTo>
                <a:close/>
                <a:moveTo>
                  <a:pt x="253" y="639"/>
                </a:moveTo>
                <a:cubicBezTo>
                  <a:pt x="253" y="638"/>
                  <a:pt x="255" y="639"/>
                  <a:pt x="255" y="639"/>
                </a:cubicBezTo>
                <a:cubicBezTo>
                  <a:pt x="256" y="641"/>
                  <a:pt x="252" y="640"/>
                  <a:pt x="253" y="639"/>
                </a:cubicBezTo>
                <a:close/>
                <a:moveTo>
                  <a:pt x="254" y="281"/>
                </a:moveTo>
                <a:cubicBezTo>
                  <a:pt x="256" y="282"/>
                  <a:pt x="255" y="284"/>
                  <a:pt x="254" y="281"/>
                </a:cubicBezTo>
                <a:close/>
                <a:moveTo>
                  <a:pt x="256" y="131"/>
                </a:moveTo>
                <a:cubicBezTo>
                  <a:pt x="258" y="131"/>
                  <a:pt x="257" y="133"/>
                  <a:pt x="256" y="133"/>
                </a:cubicBezTo>
                <a:cubicBezTo>
                  <a:pt x="255" y="133"/>
                  <a:pt x="254" y="131"/>
                  <a:pt x="256" y="131"/>
                </a:cubicBezTo>
                <a:close/>
                <a:moveTo>
                  <a:pt x="256" y="252"/>
                </a:moveTo>
                <a:cubicBezTo>
                  <a:pt x="256" y="252"/>
                  <a:pt x="258" y="254"/>
                  <a:pt x="258" y="254"/>
                </a:cubicBezTo>
                <a:cubicBezTo>
                  <a:pt x="258" y="254"/>
                  <a:pt x="256" y="253"/>
                  <a:pt x="256" y="252"/>
                </a:cubicBezTo>
                <a:close/>
                <a:moveTo>
                  <a:pt x="257" y="723"/>
                </a:moveTo>
                <a:cubicBezTo>
                  <a:pt x="257" y="723"/>
                  <a:pt x="258" y="723"/>
                  <a:pt x="258" y="723"/>
                </a:cubicBezTo>
                <a:cubicBezTo>
                  <a:pt x="260" y="724"/>
                  <a:pt x="256" y="723"/>
                  <a:pt x="257" y="723"/>
                </a:cubicBezTo>
                <a:close/>
                <a:moveTo>
                  <a:pt x="257" y="608"/>
                </a:moveTo>
                <a:cubicBezTo>
                  <a:pt x="258" y="607"/>
                  <a:pt x="261" y="610"/>
                  <a:pt x="260" y="610"/>
                </a:cubicBezTo>
                <a:cubicBezTo>
                  <a:pt x="265" y="613"/>
                  <a:pt x="273" y="615"/>
                  <a:pt x="279" y="618"/>
                </a:cubicBezTo>
                <a:cubicBezTo>
                  <a:pt x="279" y="618"/>
                  <a:pt x="281" y="619"/>
                  <a:pt x="281" y="619"/>
                </a:cubicBezTo>
                <a:cubicBezTo>
                  <a:pt x="282" y="621"/>
                  <a:pt x="264" y="613"/>
                  <a:pt x="261" y="611"/>
                </a:cubicBezTo>
                <a:cubicBezTo>
                  <a:pt x="261" y="611"/>
                  <a:pt x="256" y="609"/>
                  <a:pt x="257" y="608"/>
                </a:cubicBezTo>
                <a:close/>
                <a:moveTo>
                  <a:pt x="271" y="686"/>
                </a:moveTo>
                <a:cubicBezTo>
                  <a:pt x="271" y="688"/>
                  <a:pt x="269" y="684"/>
                  <a:pt x="270" y="686"/>
                </a:cubicBezTo>
                <a:cubicBezTo>
                  <a:pt x="270" y="686"/>
                  <a:pt x="271" y="686"/>
                  <a:pt x="271" y="686"/>
                </a:cubicBezTo>
                <a:close/>
                <a:moveTo>
                  <a:pt x="270" y="730"/>
                </a:moveTo>
                <a:cubicBezTo>
                  <a:pt x="270" y="731"/>
                  <a:pt x="268" y="729"/>
                  <a:pt x="270" y="730"/>
                </a:cubicBezTo>
                <a:close/>
                <a:moveTo>
                  <a:pt x="269" y="705"/>
                </a:moveTo>
                <a:cubicBezTo>
                  <a:pt x="269" y="705"/>
                  <a:pt x="271" y="705"/>
                  <a:pt x="271" y="705"/>
                </a:cubicBezTo>
                <a:cubicBezTo>
                  <a:pt x="272" y="707"/>
                  <a:pt x="268" y="706"/>
                  <a:pt x="269" y="705"/>
                </a:cubicBezTo>
                <a:close/>
                <a:moveTo>
                  <a:pt x="270" y="699"/>
                </a:moveTo>
                <a:cubicBezTo>
                  <a:pt x="272" y="697"/>
                  <a:pt x="273" y="701"/>
                  <a:pt x="270" y="699"/>
                </a:cubicBezTo>
                <a:close/>
                <a:moveTo>
                  <a:pt x="277" y="747"/>
                </a:moveTo>
                <a:cubicBezTo>
                  <a:pt x="275" y="746"/>
                  <a:pt x="279" y="748"/>
                  <a:pt x="277" y="747"/>
                </a:cubicBezTo>
                <a:close/>
                <a:moveTo>
                  <a:pt x="277" y="671"/>
                </a:moveTo>
                <a:cubicBezTo>
                  <a:pt x="279" y="670"/>
                  <a:pt x="279" y="671"/>
                  <a:pt x="279" y="671"/>
                </a:cubicBezTo>
                <a:cubicBezTo>
                  <a:pt x="281" y="673"/>
                  <a:pt x="276" y="671"/>
                  <a:pt x="277" y="671"/>
                </a:cubicBezTo>
                <a:close/>
                <a:moveTo>
                  <a:pt x="280" y="741"/>
                </a:moveTo>
                <a:cubicBezTo>
                  <a:pt x="280" y="740"/>
                  <a:pt x="284" y="740"/>
                  <a:pt x="285" y="741"/>
                </a:cubicBezTo>
                <a:cubicBezTo>
                  <a:pt x="285" y="743"/>
                  <a:pt x="280" y="742"/>
                  <a:pt x="280" y="741"/>
                </a:cubicBezTo>
                <a:close/>
                <a:moveTo>
                  <a:pt x="284" y="510"/>
                </a:moveTo>
                <a:cubicBezTo>
                  <a:pt x="284" y="510"/>
                  <a:pt x="285" y="510"/>
                  <a:pt x="286" y="510"/>
                </a:cubicBezTo>
                <a:cubicBezTo>
                  <a:pt x="287" y="512"/>
                  <a:pt x="283" y="512"/>
                  <a:pt x="284" y="510"/>
                </a:cubicBezTo>
                <a:close/>
                <a:moveTo>
                  <a:pt x="286" y="669"/>
                </a:moveTo>
                <a:cubicBezTo>
                  <a:pt x="286" y="667"/>
                  <a:pt x="289" y="668"/>
                  <a:pt x="289" y="669"/>
                </a:cubicBezTo>
                <a:cubicBezTo>
                  <a:pt x="290" y="671"/>
                  <a:pt x="286" y="670"/>
                  <a:pt x="286" y="669"/>
                </a:cubicBezTo>
                <a:close/>
                <a:moveTo>
                  <a:pt x="308" y="749"/>
                </a:moveTo>
                <a:cubicBezTo>
                  <a:pt x="302" y="750"/>
                  <a:pt x="295" y="748"/>
                  <a:pt x="288" y="746"/>
                </a:cubicBezTo>
                <a:cubicBezTo>
                  <a:pt x="294" y="747"/>
                  <a:pt x="301" y="748"/>
                  <a:pt x="308" y="749"/>
                </a:cubicBezTo>
                <a:close/>
              </a:path>
            </a:pathLst>
          </a:custGeom>
          <a:solidFill>
            <a:schemeClr val="accent4">
              <a:alpha val="40000"/>
            </a:schemeClr>
          </a:solidFill>
          <a:ln>
            <a:noFill/>
          </a:ln>
        </p:spPr>
        <p:txBody>
          <a:bodyPr vert="horz" wrap="square" lIns="91440" tIns="45720" rIns="91440" bIns="45720" numCol="1" anchor="t" anchorCtr="0" compatLnSpc="1">
            <a:prstTxWarp prst="textNoShape">
              <a:avLst/>
            </a:prstTxWarp>
          </a:bodyPr>
          <a:lstStyle/>
          <a:p>
            <a:endParaRPr lang="en-ID"/>
          </a:p>
        </p:txBody>
      </p:sp>
      <p:sp>
        <p:nvSpPr>
          <p:cNvPr id="136" name="Freeform 131">
            <a:extLst>
              <a:ext uri="{FF2B5EF4-FFF2-40B4-BE49-F238E27FC236}">
                <a16:creationId xmlns:a16="http://schemas.microsoft.com/office/drawing/2014/main" id="{EEB340F0-16BF-4ABF-969D-1FEB0C2FEBB3}"/>
              </a:ext>
            </a:extLst>
          </p:cNvPr>
          <p:cNvSpPr>
            <a:spLocks noEditPoints="1"/>
          </p:cNvSpPr>
          <p:nvPr/>
        </p:nvSpPr>
        <p:spPr bwMode="auto">
          <a:xfrm>
            <a:off x="0" y="-3705224"/>
            <a:ext cx="5716692" cy="6581774"/>
          </a:xfrm>
          <a:custGeom>
            <a:avLst/>
            <a:gdLst>
              <a:gd name="T0" fmla="*/ 472 w 680"/>
              <a:gd name="T1" fmla="*/ 703 h 784"/>
              <a:gd name="T2" fmla="*/ 510 w 680"/>
              <a:gd name="T3" fmla="*/ 633 h 784"/>
              <a:gd name="T4" fmla="*/ 527 w 680"/>
              <a:gd name="T5" fmla="*/ 618 h 784"/>
              <a:gd name="T6" fmla="*/ 559 w 680"/>
              <a:gd name="T7" fmla="*/ 657 h 784"/>
              <a:gd name="T8" fmla="*/ 551 w 680"/>
              <a:gd name="T9" fmla="*/ 603 h 784"/>
              <a:gd name="T10" fmla="*/ 581 w 680"/>
              <a:gd name="T11" fmla="*/ 564 h 784"/>
              <a:gd name="T12" fmla="*/ 625 w 680"/>
              <a:gd name="T13" fmla="*/ 572 h 784"/>
              <a:gd name="T14" fmla="*/ 679 w 680"/>
              <a:gd name="T15" fmla="*/ 423 h 784"/>
              <a:gd name="T16" fmla="*/ 245 w 680"/>
              <a:gd name="T17" fmla="*/ 55 h 784"/>
              <a:gd name="T18" fmla="*/ 197 w 680"/>
              <a:gd name="T19" fmla="*/ 116 h 784"/>
              <a:gd name="T20" fmla="*/ 139 w 680"/>
              <a:gd name="T21" fmla="*/ 176 h 784"/>
              <a:gd name="T22" fmla="*/ 91 w 680"/>
              <a:gd name="T23" fmla="*/ 199 h 784"/>
              <a:gd name="T24" fmla="*/ 61 w 680"/>
              <a:gd name="T25" fmla="*/ 218 h 784"/>
              <a:gd name="T26" fmla="*/ 38 w 680"/>
              <a:gd name="T27" fmla="*/ 290 h 784"/>
              <a:gd name="T28" fmla="*/ 55 w 680"/>
              <a:gd name="T29" fmla="*/ 350 h 784"/>
              <a:gd name="T30" fmla="*/ 6 w 680"/>
              <a:gd name="T31" fmla="*/ 262 h 784"/>
              <a:gd name="T32" fmla="*/ 492 w 680"/>
              <a:gd name="T33" fmla="*/ 624 h 784"/>
              <a:gd name="T34" fmla="*/ 552 w 680"/>
              <a:gd name="T35" fmla="*/ 574 h 784"/>
              <a:gd name="T36" fmla="*/ 633 w 680"/>
              <a:gd name="T37" fmla="*/ 545 h 784"/>
              <a:gd name="T38" fmla="*/ 641 w 680"/>
              <a:gd name="T39" fmla="*/ 482 h 784"/>
              <a:gd name="T40" fmla="*/ 625 w 680"/>
              <a:gd name="T41" fmla="*/ 439 h 784"/>
              <a:gd name="T42" fmla="*/ 595 w 680"/>
              <a:gd name="T43" fmla="*/ 520 h 784"/>
              <a:gd name="T44" fmla="*/ 561 w 680"/>
              <a:gd name="T45" fmla="*/ 516 h 784"/>
              <a:gd name="T46" fmla="*/ 539 w 680"/>
              <a:gd name="T47" fmla="*/ 439 h 784"/>
              <a:gd name="T48" fmla="*/ 26 w 680"/>
              <a:gd name="T49" fmla="*/ 245 h 784"/>
              <a:gd name="T50" fmla="*/ 44 w 680"/>
              <a:gd name="T51" fmla="*/ 264 h 784"/>
              <a:gd name="T52" fmla="*/ 68 w 680"/>
              <a:gd name="T53" fmla="*/ 289 h 784"/>
              <a:gd name="T54" fmla="*/ 46 w 680"/>
              <a:gd name="T55" fmla="*/ 337 h 784"/>
              <a:gd name="T56" fmla="*/ 75 w 680"/>
              <a:gd name="T57" fmla="*/ 351 h 784"/>
              <a:gd name="T58" fmla="*/ 149 w 680"/>
              <a:gd name="T59" fmla="*/ 200 h 784"/>
              <a:gd name="T60" fmla="*/ 124 w 680"/>
              <a:gd name="T61" fmla="*/ 222 h 784"/>
              <a:gd name="T62" fmla="*/ 95 w 680"/>
              <a:gd name="T63" fmla="*/ 257 h 784"/>
              <a:gd name="T64" fmla="*/ 117 w 680"/>
              <a:gd name="T65" fmla="*/ 400 h 784"/>
              <a:gd name="T66" fmla="*/ 177 w 680"/>
              <a:gd name="T67" fmla="*/ 200 h 784"/>
              <a:gd name="T68" fmla="*/ 181 w 680"/>
              <a:gd name="T69" fmla="*/ 290 h 784"/>
              <a:gd name="T70" fmla="*/ 306 w 680"/>
              <a:gd name="T71" fmla="*/ 205 h 784"/>
              <a:gd name="T72" fmla="*/ 350 w 680"/>
              <a:gd name="T73" fmla="*/ 136 h 784"/>
              <a:gd name="T74" fmla="*/ 366 w 680"/>
              <a:gd name="T75" fmla="*/ 677 h 784"/>
              <a:gd name="T76" fmla="*/ 346 w 680"/>
              <a:gd name="T77" fmla="*/ 657 h 784"/>
              <a:gd name="T78" fmla="*/ 328 w 680"/>
              <a:gd name="T79" fmla="*/ 658 h 784"/>
              <a:gd name="T80" fmla="*/ 368 w 680"/>
              <a:gd name="T81" fmla="*/ 740 h 784"/>
              <a:gd name="T82" fmla="*/ 421 w 680"/>
              <a:gd name="T83" fmla="*/ 663 h 784"/>
              <a:gd name="T84" fmla="*/ 446 w 680"/>
              <a:gd name="T85" fmla="*/ 640 h 784"/>
              <a:gd name="T86" fmla="*/ 451 w 680"/>
              <a:gd name="T87" fmla="*/ 566 h 784"/>
              <a:gd name="T88" fmla="*/ 426 w 680"/>
              <a:gd name="T89" fmla="*/ 681 h 784"/>
              <a:gd name="T90" fmla="*/ 399 w 680"/>
              <a:gd name="T91" fmla="*/ 697 h 784"/>
              <a:gd name="T92" fmla="*/ 437 w 680"/>
              <a:gd name="T93" fmla="*/ 693 h 784"/>
              <a:gd name="T94" fmla="*/ 467 w 680"/>
              <a:gd name="T95" fmla="*/ 683 h 784"/>
              <a:gd name="T96" fmla="*/ 482 w 680"/>
              <a:gd name="T97" fmla="*/ 621 h 784"/>
              <a:gd name="T98" fmla="*/ 499 w 680"/>
              <a:gd name="T99" fmla="*/ 528 h 784"/>
              <a:gd name="T100" fmla="*/ 523 w 680"/>
              <a:gd name="T101" fmla="*/ 458 h 784"/>
              <a:gd name="T102" fmla="*/ 495 w 680"/>
              <a:gd name="T103" fmla="*/ 148 h 784"/>
              <a:gd name="T104" fmla="*/ 461 w 680"/>
              <a:gd name="T105" fmla="*/ 536 h 784"/>
              <a:gd name="T106" fmla="*/ 401 w 680"/>
              <a:gd name="T107" fmla="*/ 117 h 784"/>
              <a:gd name="T108" fmla="*/ 364 w 680"/>
              <a:gd name="T109" fmla="*/ 54 h 784"/>
              <a:gd name="T110" fmla="*/ 314 w 680"/>
              <a:gd name="T111" fmla="*/ 88 h 784"/>
              <a:gd name="T112" fmla="*/ 267 w 680"/>
              <a:gd name="T113" fmla="*/ 262 h 784"/>
              <a:gd name="T114" fmla="*/ 280 w 680"/>
              <a:gd name="T115" fmla="*/ 66 h 784"/>
              <a:gd name="T116" fmla="*/ 241 w 680"/>
              <a:gd name="T117" fmla="*/ 67 h 784"/>
              <a:gd name="T118" fmla="*/ 212 w 680"/>
              <a:gd name="T119" fmla="*/ 179 h 784"/>
              <a:gd name="T120" fmla="*/ 194 w 680"/>
              <a:gd name="T121" fmla="*/ 242 h 784"/>
              <a:gd name="T122" fmla="*/ 222 w 680"/>
              <a:gd name="T123" fmla="*/ 327 h 784"/>
              <a:gd name="T124" fmla="*/ 256 w 680"/>
              <a:gd name="T125" fmla="*/ 133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0" h="784">
                <a:moveTo>
                  <a:pt x="298" y="758"/>
                </a:moveTo>
                <a:cubicBezTo>
                  <a:pt x="300" y="757"/>
                  <a:pt x="304" y="758"/>
                  <a:pt x="305" y="756"/>
                </a:cubicBezTo>
                <a:cubicBezTo>
                  <a:pt x="305" y="756"/>
                  <a:pt x="304" y="755"/>
                  <a:pt x="305" y="755"/>
                </a:cubicBezTo>
                <a:cubicBezTo>
                  <a:pt x="307" y="753"/>
                  <a:pt x="311" y="754"/>
                  <a:pt x="312" y="754"/>
                </a:cubicBezTo>
                <a:cubicBezTo>
                  <a:pt x="324" y="757"/>
                  <a:pt x="318" y="767"/>
                  <a:pt x="306" y="764"/>
                </a:cubicBezTo>
                <a:cubicBezTo>
                  <a:pt x="304" y="763"/>
                  <a:pt x="305" y="762"/>
                  <a:pt x="302" y="762"/>
                </a:cubicBezTo>
                <a:cubicBezTo>
                  <a:pt x="340" y="784"/>
                  <a:pt x="340" y="784"/>
                  <a:pt x="340" y="784"/>
                </a:cubicBezTo>
                <a:cubicBezTo>
                  <a:pt x="340" y="783"/>
                  <a:pt x="341" y="783"/>
                  <a:pt x="341" y="783"/>
                </a:cubicBezTo>
                <a:cubicBezTo>
                  <a:pt x="344" y="782"/>
                  <a:pt x="344" y="782"/>
                  <a:pt x="344" y="782"/>
                </a:cubicBezTo>
                <a:cubicBezTo>
                  <a:pt x="344" y="782"/>
                  <a:pt x="343" y="782"/>
                  <a:pt x="343" y="781"/>
                </a:cubicBezTo>
                <a:cubicBezTo>
                  <a:pt x="344" y="781"/>
                  <a:pt x="344" y="781"/>
                  <a:pt x="344" y="782"/>
                </a:cubicBezTo>
                <a:cubicBezTo>
                  <a:pt x="346" y="781"/>
                  <a:pt x="346" y="781"/>
                  <a:pt x="346" y="781"/>
                </a:cubicBezTo>
                <a:cubicBezTo>
                  <a:pt x="346" y="780"/>
                  <a:pt x="345" y="780"/>
                  <a:pt x="345" y="779"/>
                </a:cubicBezTo>
                <a:cubicBezTo>
                  <a:pt x="345" y="777"/>
                  <a:pt x="351" y="775"/>
                  <a:pt x="354" y="776"/>
                </a:cubicBezTo>
                <a:cubicBezTo>
                  <a:pt x="363" y="770"/>
                  <a:pt x="363" y="770"/>
                  <a:pt x="363" y="770"/>
                </a:cubicBezTo>
                <a:cubicBezTo>
                  <a:pt x="363" y="770"/>
                  <a:pt x="363" y="770"/>
                  <a:pt x="363" y="770"/>
                </a:cubicBezTo>
                <a:cubicBezTo>
                  <a:pt x="363" y="770"/>
                  <a:pt x="360" y="768"/>
                  <a:pt x="361" y="766"/>
                </a:cubicBezTo>
                <a:cubicBezTo>
                  <a:pt x="361" y="765"/>
                  <a:pt x="364" y="765"/>
                  <a:pt x="364" y="765"/>
                </a:cubicBezTo>
                <a:cubicBezTo>
                  <a:pt x="366" y="762"/>
                  <a:pt x="364" y="765"/>
                  <a:pt x="366" y="764"/>
                </a:cubicBezTo>
                <a:cubicBezTo>
                  <a:pt x="366" y="764"/>
                  <a:pt x="367" y="763"/>
                  <a:pt x="367" y="763"/>
                </a:cubicBezTo>
                <a:cubicBezTo>
                  <a:pt x="369" y="763"/>
                  <a:pt x="371" y="764"/>
                  <a:pt x="372" y="766"/>
                </a:cubicBezTo>
                <a:cubicBezTo>
                  <a:pt x="420" y="738"/>
                  <a:pt x="420" y="738"/>
                  <a:pt x="420" y="738"/>
                </a:cubicBezTo>
                <a:cubicBezTo>
                  <a:pt x="420" y="737"/>
                  <a:pt x="419" y="737"/>
                  <a:pt x="419" y="737"/>
                </a:cubicBezTo>
                <a:cubicBezTo>
                  <a:pt x="419" y="735"/>
                  <a:pt x="420" y="737"/>
                  <a:pt x="421" y="737"/>
                </a:cubicBezTo>
                <a:cubicBezTo>
                  <a:pt x="419" y="734"/>
                  <a:pt x="424" y="734"/>
                  <a:pt x="423" y="732"/>
                </a:cubicBezTo>
                <a:cubicBezTo>
                  <a:pt x="425" y="733"/>
                  <a:pt x="426" y="733"/>
                  <a:pt x="428" y="733"/>
                </a:cubicBezTo>
                <a:cubicBezTo>
                  <a:pt x="444" y="724"/>
                  <a:pt x="444" y="724"/>
                  <a:pt x="444" y="724"/>
                </a:cubicBezTo>
                <a:cubicBezTo>
                  <a:pt x="442" y="723"/>
                  <a:pt x="441" y="723"/>
                  <a:pt x="440" y="723"/>
                </a:cubicBezTo>
                <a:cubicBezTo>
                  <a:pt x="439" y="723"/>
                  <a:pt x="439" y="724"/>
                  <a:pt x="438" y="724"/>
                </a:cubicBezTo>
                <a:cubicBezTo>
                  <a:pt x="438" y="724"/>
                  <a:pt x="431" y="722"/>
                  <a:pt x="431" y="721"/>
                </a:cubicBezTo>
                <a:cubicBezTo>
                  <a:pt x="430" y="721"/>
                  <a:pt x="429" y="718"/>
                  <a:pt x="429" y="718"/>
                </a:cubicBezTo>
                <a:cubicBezTo>
                  <a:pt x="429" y="718"/>
                  <a:pt x="428" y="718"/>
                  <a:pt x="428" y="717"/>
                </a:cubicBezTo>
                <a:cubicBezTo>
                  <a:pt x="428" y="716"/>
                  <a:pt x="432" y="715"/>
                  <a:pt x="436" y="715"/>
                </a:cubicBezTo>
                <a:cubicBezTo>
                  <a:pt x="436" y="715"/>
                  <a:pt x="436" y="715"/>
                  <a:pt x="436" y="715"/>
                </a:cubicBezTo>
                <a:cubicBezTo>
                  <a:pt x="436" y="715"/>
                  <a:pt x="436" y="715"/>
                  <a:pt x="436" y="715"/>
                </a:cubicBezTo>
                <a:cubicBezTo>
                  <a:pt x="437" y="715"/>
                  <a:pt x="437" y="715"/>
                  <a:pt x="438" y="715"/>
                </a:cubicBezTo>
                <a:cubicBezTo>
                  <a:pt x="440" y="714"/>
                  <a:pt x="442" y="713"/>
                  <a:pt x="440" y="711"/>
                </a:cubicBezTo>
                <a:cubicBezTo>
                  <a:pt x="441" y="712"/>
                  <a:pt x="437" y="712"/>
                  <a:pt x="437" y="711"/>
                </a:cubicBezTo>
                <a:cubicBezTo>
                  <a:pt x="437" y="711"/>
                  <a:pt x="444" y="710"/>
                  <a:pt x="443" y="708"/>
                </a:cubicBezTo>
                <a:cubicBezTo>
                  <a:pt x="443" y="709"/>
                  <a:pt x="440" y="706"/>
                  <a:pt x="441" y="706"/>
                </a:cubicBezTo>
                <a:cubicBezTo>
                  <a:pt x="441" y="705"/>
                  <a:pt x="444" y="705"/>
                  <a:pt x="446" y="705"/>
                </a:cubicBezTo>
                <a:cubicBezTo>
                  <a:pt x="446" y="705"/>
                  <a:pt x="446" y="704"/>
                  <a:pt x="446" y="704"/>
                </a:cubicBezTo>
                <a:cubicBezTo>
                  <a:pt x="446" y="704"/>
                  <a:pt x="446" y="703"/>
                  <a:pt x="446" y="703"/>
                </a:cubicBezTo>
                <a:cubicBezTo>
                  <a:pt x="445" y="702"/>
                  <a:pt x="444" y="703"/>
                  <a:pt x="445" y="701"/>
                </a:cubicBezTo>
                <a:cubicBezTo>
                  <a:pt x="443" y="702"/>
                  <a:pt x="442" y="702"/>
                  <a:pt x="440" y="703"/>
                </a:cubicBezTo>
                <a:cubicBezTo>
                  <a:pt x="442" y="703"/>
                  <a:pt x="442" y="700"/>
                  <a:pt x="443" y="700"/>
                </a:cubicBezTo>
                <a:cubicBezTo>
                  <a:pt x="446" y="700"/>
                  <a:pt x="443" y="700"/>
                  <a:pt x="442" y="698"/>
                </a:cubicBezTo>
                <a:cubicBezTo>
                  <a:pt x="441" y="699"/>
                  <a:pt x="442" y="699"/>
                  <a:pt x="442" y="700"/>
                </a:cubicBezTo>
                <a:cubicBezTo>
                  <a:pt x="440" y="705"/>
                  <a:pt x="434" y="698"/>
                  <a:pt x="437" y="696"/>
                </a:cubicBezTo>
                <a:cubicBezTo>
                  <a:pt x="438" y="696"/>
                  <a:pt x="441" y="698"/>
                  <a:pt x="441" y="697"/>
                </a:cubicBezTo>
                <a:cubicBezTo>
                  <a:pt x="443" y="697"/>
                  <a:pt x="443" y="696"/>
                  <a:pt x="443" y="694"/>
                </a:cubicBezTo>
                <a:cubicBezTo>
                  <a:pt x="444" y="694"/>
                  <a:pt x="445" y="695"/>
                  <a:pt x="447" y="695"/>
                </a:cubicBezTo>
                <a:cubicBezTo>
                  <a:pt x="447" y="695"/>
                  <a:pt x="446" y="694"/>
                  <a:pt x="447" y="694"/>
                </a:cubicBezTo>
                <a:cubicBezTo>
                  <a:pt x="448" y="692"/>
                  <a:pt x="454" y="695"/>
                  <a:pt x="453" y="693"/>
                </a:cubicBezTo>
                <a:cubicBezTo>
                  <a:pt x="454" y="693"/>
                  <a:pt x="454" y="693"/>
                  <a:pt x="454" y="693"/>
                </a:cubicBezTo>
                <a:cubicBezTo>
                  <a:pt x="454" y="693"/>
                  <a:pt x="454" y="693"/>
                  <a:pt x="454" y="693"/>
                </a:cubicBezTo>
                <a:cubicBezTo>
                  <a:pt x="455" y="693"/>
                  <a:pt x="455" y="693"/>
                  <a:pt x="455" y="693"/>
                </a:cubicBezTo>
                <a:cubicBezTo>
                  <a:pt x="454" y="693"/>
                  <a:pt x="454" y="693"/>
                  <a:pt x="454" y="693"/>
                </a:cubicBezTo>
                <a:cubicBezTo>
                  <a:pt x="455" y="694"/>
                  <a:pt x="456" y="697"/>
                  <a:pt x="457" y="699"/>
                </a:cubicBezTo>
                <a:cubicBezTo>
                  <a:pt x="457" y="700"/>
                  <a:pt x="458" y="700"/>
                  <a:pt x="458" y="701"/>
                </a:cubicBezTo>
                <a:cubicBezTo>
                  <a:pt x="457" y="702"/>
                  <a:pt x="455" y="700"/>
                  <a:pt x="455" y="702"/>
                </a:cubicBezTo>
                <a:cubicBezTo>
                  <a:pt x="455" y="706"/>
                  <a:pt x="463" y="704"/>
                  <a:pt x="461" y="698"/>
                </a:cubicBezTo>
                <a:cubicBezTo>
                  <a:pt x="463" y="700"/>
                  <a:pt x="465" y="701"/>
                  <a:pt x="466" y="703"/>
                </a:cubicBezTo>
                <a:cubicBezTo>
                  <a:pt x="466" y="702"/>
                  <a:pt x="468" y="702"/>
                  <a:pt x="468" y="703"/>
                </a:cubicBezTo>
                <a:cubicBezTo>
                  <a:pt x="469" y="704"/>
                  <a:pt x="467" y="704"/>
                  <a:pt x="466" y="703"/>
                </a:cubicBezTo>
                <a:cubicBezTo>
                  <a:pt x="467" y="704"/>
                  <a:pt x="467" y="704"/>
                  <a:pt x="467" y="705"/>
                </a:cubicBezTo>
                <a:cubicBezTo>
                  <a:pt x="467" y="705"/>
                  <a:pt x="468" y="704"/>
                  <a:pt x="468" y="705"/>
                </a:cubicBezTo>
                <a:cubicBezTo>
                  <a:pt x="468" y="706"/>
                  <a:pt x="467" y="706"/>
                  <a:pt x="467" y="705"/>
                </a:cubicBezTo>
                <a:cubicBezTo>
                  <a:pt x="467" y="706"/>
                  <a:pt x="467" y="706"/>
                  <a:pt x="467" y="707"/>
                </a:cubicBezTo>
                <a:cubicBezTo>
                  <a:pt x="467" y="706"/>
                  <a:pt x="469" y="707"/>
                  <a:pt x="471" y="706"/>
                </a:cubicBezTo>
                <a:cubicBezTo>
                  <a:pt x="471" y="706"/>
                  <a:pt x="471" y="706"/>
                  <a:pt x="471" y="706"/>
                </a:cubicBezTo>
                <a:cubicBezTo>
                  <a:pt x="472" y="706"/>
                  <a:pt x="472" y="706"/>
                  <a:pt x="472" y="706"/>
                </a:cubicBezTo>
                <a:cubicBezTo>
                  <a:pt x="472" y="706"/>
                  <a:pt x="472" y="706"/>
                  <a:pt x="472" y="706"/>
                </a:cubicBezTo>
                <a:cubicBezTo>
                  <a:pt x="472" y="706"/>
                  <a:pt x="473" y="706"/>
                  <a:pt x="474" y="706"/>
                </a:cubicBezTo>
                <a:cubicBezTo>
                  <a:pt x="474" y="706"/>
                  <a:pt x="474" y="705"/>
                  <a:pt x="472" y="705"/>
                </a:cubicBezTo>
                <a:cubicBezTo>
                  <a:pt x="472" y="704"/>
                  <a:pt x="475" y="705"/>
                  <a:pt x="476" y="705"/>
                </a:cubicBezTo>
                <a:cubicBezTo>
                  <a:pt x="476" y="705"/>
                  <a:pt x="476" y="705"/>
                  <a:pt x="476" y="705"/>
                </a:cubicBezTo>
                <a:cubicBezTo>
                  <a:pt x="476" y="705"/>
                  <a:pt x="475" y="704"/>
                  <a:pt x="475" y="704"/>
                </a:cubicBezTo>
                <a:cubicBezTo>
                  <a:pt x="474" y="705"/>
                  <a:pt x="471" y="704"/>
                  <a:pt x="472" y="703"/>
                </a:cubicBezTo>
                <a:cubicBezTo>
                  <a:pt x="473" y="703"/>
                  <a:pt x="473" y="703"/>
                  <a:pt x="473" y="703"/>
                </a:cubicBezTo>
                <a:cubicBezTo>
                  <a:pt x="473" y="703"/>
                  <a:pt x="473" y="703"/>
                  <a:pt x="473" y="702"/>
                </a:cubicBezTo>
                <a:cubicBezTo>
                  <a:pt x="473" y="703"/>
                  <a:pt x="475" y="702"/>
                  <a:pt x="475" y="703"/>
                </a:cubicBezTo>
                <a:cubicBezTo>
                  <a:pt x="474" y="701"/>
                  <a:pt x="472" y="701"/>
                  <a:pt x="472" y="700"/>
                </a:cubicBezTo>
                <a:cubicBezTo>
                  <a:pt x="474" y="698"/>
                  <a:pt x="477" y="703"/>
                  <a:pt x="479" y="702"/>
                </a:cubicBezTo>
                <a:cubicBezTo>
                  <a:pt x="479" y="702"/>
                  <a:pt x="479" y="702"/>
                  <a:pt x="479" y="702"/>
                </a:cubicBezTo>
                <a:cubicBezTo>
                  <a:pt x="479" y="702"/>
                  <a:pt x="479" y="702"/>
                  <a:pt x="479" y="702"/>
                </a:cubicBezTo>
                <a:cubicBezTo>
                  <a:pt x="477" y="700"/>
                  <a:pt x="473" y="698"/>
                  <a:pt x="476" y="697"/>
                </a:cubicBezTo>
                <a:cubicBezTo>
                  <a:pt x="475" y="697"/>
                  <a:pt x="475" y="697"/>
                  <a:pt x="474" y="696"/>
                </a:cubicBezTo>
                <a:cubicBezTo>
                  <a:pt x="474" y="696"/>
                  <a:pt x="474" y="695"/>
                  <a:pt x="474" y="695"/>
                </a:cubicBezTo>
                <a:cubicBezTo>
                  <a:pt x="474" y="695"/>
                  <a:pt x="474" y="695"/>
                  <a:pt x="474" y="695"/>
                </a:cubicBezTo>
                <a:cubicBezTo>
                  <a:pt x="474" y="694"/>
                  <a:pt x="476" y="693"/>
                  <a:pt x="476" y="694"/>
                </a:cubicBezTo>
                <a:cubicBezTo>
                  <a:pt x="479" y="694"/>
                  <a:pt x="485" y="695"/>
                  <a:pt x="481" y="692"/>
                </a:cubicBezTo>
                <a:cubicBezTo>
                  <a:pt x="482" y="693"/>
                  <a:pt x="485" y="690"/>
                  <a:pt x="487" y="693"/>
                </a:cubicBezTo>
                <a:cubicBezTo>
                  <a:pt x="487" y="693"/>
                  <a:pt x="486" y="694"/>
                  <a:pt x="486" y="694"/>
                </a:cubicBezTo>
                <a:cubicBezTo>
                  <a:pt x="487" y="694"/>
                  <a:pt x="494" y="692"/>
                  <a:pt x="494" y="691"/>
                </a:cubicBezTo>
                <a:cubicBezTo>
                  <a:pt x="494" y="691"/>
                  <a:pt x="488" y="688"/>
                  <a:pt x="492" y="687"/>
                </a:cubicBezTo>
                <a:cubicBezTo>
                  <a:pt x="494" y="687"/>
                  <a:pt x="496" y="689"/>
                  <a:pt x="496" y="690"/>
                </a:cubicBezTo>
                <a:cubicBezTo>
                  <a:pt x="496" y="693"/>
                  <a:pt x="499" y="688"/>
                  <a:pt x="499" y="688"/>
                </a:cubicBezTo>
                <a:cubicBezTo>
                  <a:pt x="498" y="686"/>
                  <a:pt x="497" y="688"/>
                  <a:pt x="497" y="686"/>
                </a:cubicBezTo>
                <a:cubicBezTo>
                  <a:pt x="497" y="687"/>
                  <a:pt x="500" y="684"/>
                  <a:pt x="500" y="684"/>
                </a:cubicBezTo>
                <a:cubicBezTo>
                  <a:pt x="501" y="683"/>
                  <a:pt x="500" y="682"/>
                  <a:pt x="503" y="683"/>
                </a:cubicBezTo>
                <a:cubicBezTo>
                  <a:pt x="502" y="683"/>
                  <a:pt x="501" y="682"/>
                  <a:pt x="501" y="681"/>
                </a:cubicBezTo>
                <a:cubicBezTo>
                  <a:pt x="500" y="680"/>
                  <a:pt x="499" y="679"/>
                  <a:pt x="500" y="679"/>
                </a:cubicBezTo>
                <a:cubicBezTo>
                  <a:pt x="500" y="678"/>
                  <a:pt x="500" y="678"/>
                  <a:pt x="501" y="678"/>
                </a:cubicBezTo>
                <a:cubicBezTo>
                  <a:pt x="501" y="678"/>
                  <a:pt x="501" y="678"/>
                  <a:pt x="501" y="678"/>
                </a:cubicBezTo>
                <a:cubicBezTo>
                  <a:pt x="502" y="679"/>
                  <a:pt x="503" y="679"/>
                  <a:pt x="503" y="680"/>
                </a:cubicBezTo>
                <a:cubicBezTo>
                  <a:pt x="503" y="680"/>
                  <a:pt x="503" y="680"/>
                  <a:pt x="504" y="680"/>
                </a:cubicBezTo>
                <a:cubicBezTo>
                  <a:pt x="504" y="680"/>
                  <a:pt x="504" y="680"/>
                  <a:pt x="505" y="679"/>
                </a:cubicBezTo>
                <a:cubicBezTo>
                  <a:pt x="504" y="679"/>
                  <a:pt x="504" y="678"/>
                  <a:pt x="504" y="678"/>
                </a:cubicBezTo>
                <a:cubicBezTo>
                  <a:pt x="505" y="676"/>
                  <a:pt x="508" y="676"/>
                  <a:pt x="509" y="678"/>
                </a:cubicBezTo>
                <a:cubicBezTo>
                  <a:pt x="509" y="677"/>
                  <a:pt x="510" y="677"/>
                  <a:pt x="510" y="677"/>
                </a:cubicBezTo>
                <a:cubicBezTo>
                  <a:pt x="510" y="678"/>
                  <a:pt x="512" y="680"/>
                  <a:pt x="513" y="680"/>
                </a:cubicBezTo>
                <a:cubicBezTo>
                  <a:pt x="513" y="680"/>
                  <a:pt x="513" y="681"/>
                  <a:pt x="513" y="681"/>
                </a:cubicBezTo>
                <a:cubicBezTo>
                  <a:pt x="513" y="681"/>
                  <a:pt x="513" y="681"/>
                  <a:pt x="513" y="682"/>
                </a:cubicBezTo>
                <a:cubicBezTo>
                  <a:pt x="513" y="682"/>
                  <a:pt x="513" y="682"/>
                  <a:pt x="513" y="682"/>
                </a:cubicBezTo>
                <a:cubicBezTo>
                  <a:pt x="516" y="683"/>
                  <a:pt x="514" y="677"/>
                  <a:pt x="517" y="678"/>
                </a:cubicBezTo>
                <a:cubicBezTo>
                  <a:pt x="515" y="678"/>
                  <a:pt x="514" y="677"/>
                  <a:pt x="514" y="676"/>
                </a:cubicBezTo>
                <a:cubicBezTo>
                  <a:pt x="512" y="676"/>
                  <a:pt x="510" y="674"/>
                  <a:pt x="511" y="673"/>
                </a:cubicBezTo>
                <a:cubicBezTo>
                  <a:pt x="509" y="673"/>
                  <a:pt x="506" y="673"/>
                  <a:pt x="507" y="670"/>
                </a:cubicBezTo>
                <a:cubicBezTo>
                  <a:pt x="507" y="670"/>
                  <a:pt x="506" y="670"/>
                  <a:pt x="506" y="670"/>
                </a:cubicBezTo>
                <a:cubicBezTo>
                  <a:pt x="508" y="672"/>
                  <a:pt x="505" y="672"/>
                  <a:pt x="504" y="671"/>
                </a:cubicBezTo>
                <a:cubicBezTo>
                  <a:pt x="504" y="670"/>
                  <a:pt x="505" y="670"/>
                  <a:pt x="505" y="670"/>
                </a:cubicBezTo>
                <a:cubicBezTo>
                  <a:pt x="505" y="669"/>
                  <a:pt x="503" y="669"/>
                  <a:pt x="503" y="668"/>
                </a:cubicBezTo>
                <a:cubicBezTo>
                  <a:pt x="501" y="666"/>
                  <a:pt x="502" y="664"/>
                  <a:pt x="499" y="664"/>
                </a:cubicBezTo>
                <a:cubicBezTo>
                  <a:pt x="496" y="664"/>
                  <a:pt x="496" y="661"/>
                  <a:pt x="494" y="661"/>
                </a:cubicBezTo>
                <a:cubicBezTo>
                  <a:pt x="493" y="662"/>
                  <a:pt x="493" y="669"/>
                  <a:pt x="489" y="666"/>
                </a:cubicBezTo>
                <a:cubicBezTo>
                  <a:pt x="488" y="665"/>
                  <a:pt x="489" y="665"/>
                  <a:pt x="488" y="665"/>
                </a:cubicBezTo>
                <a:cubicBezTo>
                  <a:pt x="486" y="665"/>
                  <a:pt x="480" y="661"/>
                  <a:pt x="486" y="661"/>
                </a:cubicBezTo>
                <a:cubicBezTo>
                  <a:pt x="487" y="661"/>
                  <a:pt x="488" y="662"/>
                  <a:pt x="488" y="662"/>
                </a:cubicBezTo>
                <a:cubicBezTo>
                  <a:pt x="490" y="663"/>
                  <a:pt x="490" y="661"/>
                  <a:pt x="492" y="660"/>
                </a:cubicBezTo>
                <a:cubicBezTo>
                  <a:pt x="493" y="660"/>
                  <a:pt x="493" y="662"/>
                  <a:pt x="494" y="661"/>
                </a:cubicBezTo>
                <a:cubicBezTo>
                  <a:pt x="495" y="659"/>
                  <a:pt x="491" y="658"/>
                  <a:pt x="491" y="658"/>
                </a:cubicBezTo>
                <a:cubicBezTo>
                  <a:pt x="490" y="658"/>
                  <a:pt x="490" y="661"/>
                  <a:pt x="489" y="659"/>
                </a:cubicBezTo>
                <a:cubicBezTo>
                  <a:pt x="489" y="658"/>
                  <a:pt x="491" y="655"/>
                  <a:pt x="491" y="655"/>
                </a:cubicBezTo>
                <a:cubicBezTo>
                  <a:pt x="492" y="652"/>
                  <a:pt x="491" y="653"/>
                  <a:pt x="494" y="652"/>
                </a:cubicBezTo>
                <a:cubicBezTo>
                  <a:pt x="496" y="652"/>
                  <a:pt x="499" y="654"/>
                  <a:pt x="499" y="655"/>
                </a:cubicBezTo>
                <a:cubicBezTo>
                  <a:pt x="501" y="658"/>
                  <a:pt x="500" y="655"/>
                  <a:pt x="501" y="654"/>
                </a:cubicBezTo>
                <a:cubicBezTo>
                  <a:pt x="502" y="653"/>
                  <a:pt x="504" y="653"/>
                  <a:pt x="506" y="654"/>
                </a:cubicBezTo>
                <a:cubicBezTo>
                  <a:pt x="506" y="652"/>
                  <a:pt x="506" y="651"/>
                  <a:pt x="507" y="651"/>
                </a:cubicBezTo>
                <a:cubicBezTo>
                  <a:pt x="507" y="651"/>
                  <a:pt x="507" y="651"/>
                  <a:pt x="506" y="650"/>
                </a:cubicBezTo>
                <a:cubicBezTo>
                  <a:pt x="507" y="650"/>
                  <a:pt x="507" y="651"/>
                  <a:pt x="507" y="651"/>
                </a:cubicBezTo>
                <a:cubicBezTo>
                  <a:pt x="507" y="651"/>
                  <a:pt x="508" y="651"/>
                  <a:pt x="508" y="651"/>
                </a:cubicBezTo>
                <a:cubicBezTo>
                  <a:pt x="505" y="650"/>
                  <a:pt x="516" y="648"/>
                  <a:pt x="513" y="646"/>
                </a:cubicBezTo>
                <a:cubicBezTo>
                  <a:pt x="513" y="645"/>
                  <a:pt x="513" y="645"/>
                  <a:pt x="512" y="645"/>
                </a:cubicBezTo>
                <a:cubicBezTo>
                  <a:pt x="512" y="645"/>
                  <a:pt x="513" y="645"/>
                  <a:pt x="513" y="644"/>
                </a:cubicBezTo>
                <a:cubicBezTo>
                  <a:pt x="513" y="644"/>
                  <a:pt x="513" y="644"/>
                  <a:pt x="513" y="644"/>
                </a:cubicBezTo>
                <a:cubicBezTo>
                  <a:pt x="513" y="643"/>
                  <a:pt x="512" y="642"/>
                  <a:pt x="512" y="641"/>
                </a:cubicBezTo>
                <a:cubicBezTo>
                  <a:pt x="512" y="640"/>
                  <a:pt x="511" y="640"/>
                  <a:pt x="512" y="639"/>
                </a:cubicBezTo>
                <a:cubicBezTo>
                  <a:pt x="512" y="638"/>
                  <a:pt x="513" y="637"/>
                  <a:pt x="515" y="637"/>
                </a:cubicBezTo>
                <a:cubicBezTo>
                  <a:pt x="518" y="636"/>
                  <a:pt x="513" y="635"/>
                  <a:pt x="512" y="636"/>
                </a:cubicBezTo>
                <a:cubicBezTo>
                  <a:pt x="512" y="637"/>
                  <a:pt x="512" y="637"/>
                  <a:pt x="511" y="637"/>
                </a:cubicBezTo>
                <a:cubicBezTo>
                  <a:pt x="511" y="637"/>
                  <a:pt x="510" y="637"/>
                  <a:pt x="510" y="636"/>
                </a:cubicBezTo>
                <a:cubicBezTo>
                  <a:pt x="508" y="636"/>
                  <a:pt x="506" y="635"/>
                  <a:pt x="505" y="635"/>
                </a:cubicBezTo>
                <a:cubicBezTo>
                  <a:pt x="507" y="635"/>
                  <a:pt x="508" y="635"/>
                  <a:pt x="510" y="635"/>
                </a:cubicBezTo>
                <a:cubicBezTo>
                  <a:pt x="510" y="634"/>
                  <a:pt x="510" y="634"/>
                  <a:pt x="510" y="634"/>
                </a:cubicBezTo>
                <a:cubicBezTo>
                  <a:pt x="510" y="634"/>
                  <a:pt x="511" y="634"/>
                  <a:pt x="511" y="635"/>
                </a:cubicBezTo>
                <a:cubicBezTo>
                  <a:pt x="511" y="635"/>
                  <a:pt x="512" y="635"/>
                  <a:pt x="512" y="635"/>
                </a:cubicBezTo>
                <a:cubicBezTo>
                  <a:pt x="512" y="634"/>
                  <a:pt x="510" y="634"/>
                  <a:pt x="510" y="633"/>
                </a:cubicBezTo>
                <a:cubicBezTo>
                  <a:pt x="511" y="634"/>
                  <a:pt x="512" y="634"/>
                  <a:pt x="513" y="633"/>
                </a:cubicBezTo>
                <a:cubicBezTo>
                  <a:pt x="513" y="633"/>
                  <a:pt x="513" y="633"/>
                  <a:pt x="514" y="633"/>
                </a:cubicBezTo>
                <a:cubicBezTo>
                  <a:pt x="514" y="633"/>
                  <a:pt x="514" y="633"/>
                  <a:pt x="514" y="633"/>
                </a:cubicBezTo>
                <a:cubicBezTo>
                  <a:pt x="514" y="632"/>
                  <a:pt x="514" y="632"/>
                  <a:pt x="513" y="631"/>
                </a:cubicBezTo>
                <a:cubicBezTo>
                  <a:pt x="513" y="631"/>
                  <a:pt x="513" y="631"/>
                  <a:pt x="513" y="631"/>
                </a:cubicBezTo>
                <a:cubicBezTo>
                  <a:pt x="513" y="631"/>
                  <a:pt x="513" y="632"/>
                  <a:pt x="513" y="632"/>
                </a:cubicBezTo>
                <a:cubicBezTo>
                  <a:pt x="513" y="632"/>
                  <a:pt x="513" y="632"/>
                  <a:pt x="513" y="632"/>
                </a:cubicBezTo>
                <a:cubicBezTo>
                  <a:pt x="513" y="632"/>
                  <a:pt x="513" y="632"/>
                  <a:pt x="513" y="633"/>
                </a:cubicBezTo>
                <a:cubicBezTo>
                  <a:pt x="513" y="633"/>
                  <a:pt x="513" y="632"/>
                  <a:pt x="512" y="632"/>
                </a:cubicBezTo>
                <a:cubicBezTo>
                  <a:pt x="512" y="632"/>
                  <a:pt x="512" y="632"/>
                  <a:pt x="512" y="632"/>
                </a:cubicBezTo>
                <a:cubicBezTo>
                  <a:pt x="512" y="631"/>
                  <a:pt x="512" y="631"/>
                  <a:pt x="512" y="631"/>
                </a:cubicBezTo>
                <a:cubicBezTo>
                  <a:pt x="511" y="631"/>
                  <a:pt x="510" y="630"/>
                  <a:pt x="510" y="630"/>
                </a:cubicBezTo>
                <a:cubicBezTo>
                  <a:pt x="510" y="630"/>
                  <a:pt x="509" y="631"/>
                  <a:pt x="509" y="632"/>
                </a:cubicBezTo>
                <a:cubicBezTo>
                  <a:pt x="509" y="633"/>
                  <a:pt x="510" y="634"/>
                  <a:pt x="509" y="634"/>
                </a:cubicBezTo>
                <a:cubicBezTo>
                  <a:pt x="509" y="634"/>
                  <a:pt x="509" y="634"/>
                  <a:pt x="508" y="633"/>
                </a:cubicBezTo>
                <a:cubicBezTo>
                  <a:pt x="508" y="634"/>
                  <a:pt x="508" y="634"/>
                  <a:pt x="508" y="634"/>
                </a:cubicBezTo>
                <a:cubicBezTo>
                  <a:pt x="507" y="634"/>
                  <a:pt x="505" y="633"/>
                  <a:pt x="504" y="632"/>
                </a:cubicBezTo>
                <a:cubicBezTo>
                  <a:pt x="504" y="634"/>
                  <a:pt x="503" y="634"/>
                  <a:pt x="500" y="634"/>
                </a:cubicBezTo>
                <a:cubicBezTo>
                  <a:pt x="500" y="634"/>
                  <a:pt x="500" y="634"/>
                  <a:pt x="500" y="634"/>
                </a:cubicBezTo>
                <a:cubicBezTo>
                  <a:pt x="501" y="635"/>
                  <a:pt x="504" y="638"/>
                  <a:pt x="506" y="638"/>
                </a:cubicBezTo>
                <a:cubicBezTo>
                  <a:pt x="506" y="638"/>
                  <a:pt x="511" y="638"/>
                  <a:pt x="508" y="640"/>
                </a:cubicBezTo>
                <a:cubicBezTo>
                  <a:pt x="506" y="640"/>
                  <a:pt x="503" y="636"/>
                  <a:pt x="499" y="635"/>
                </a:cubicBezTo>
                <a:cubicBezTo>
                  <a:pt x="499" y="635"/>
                  <a:pt x="498" y="636"/>
                  <a:pt x="498" y="636"/>
                </a:cubicBezTo>
                <a:cubicBezTo>
                  <a:pt x="497" y="635"/>
                  <a:pt x="497" y="635"/>
                  <a:pt x="497" y="634"/>
                </a:cubicBezTo>
                <a:cubicBezTo>
                  <a:pt x="496" y="634"/>
                  <a:pt x="496" y="634"/>
                  <a:pt x="495" y="633"/>
                </a:cubicBezTo>
                <a:cubicBezTo>
                  <a:pt x="494" y="633"/>
                  <a:pt x="494" y="635"/>
                  <a:pt x="494" y="635"/>
                </a:cubicBezTo>
                <a:cubicBezTo>
                  <a:pt x="494" y="635"/>
                  <a:pt x="491" y="636"/>
                  <a:pt x="491" y="636"/>
                </a:cubicBezTo>
                <a:cubicBezTo>
                  <a:pt x="489" y="635"/>
                  <a:pt x="491" y="632"/>
                  <a:pt x="493" y="632"/>
                </a:cubicBezTo>
                <a:cubicBezTo>
                  <a:pt x="491" y="632"/>
                  <a:pt x="493" y="631"/>
                  <a:pt x="492" y="629"/>
                </a:cubicBezTo>
                <a:cubicBezTo>
                  <a:pt x="492" y="630"/>
                  <a:pt x="487" y="627"/>
                  <a:pt x="488" y="626"/>
                </a:cubicBezTo>
                <a:cubicBezTo>
                  <a:pt x="489" y="625"/>
                  <a:pt x="491" y="627"/>
                  <a:pt x="492" y="628"/>
                </a:cubicBezTo>
                <a:cubicBezTo>
                  <a:pt x="492" y="628"/>
                  <a:pt x="492" y="628"/>
                  <a:pt x="493" y="627"/>
                </a:cubicBezTo>
                <a:cubicBezTo>
                  <a:pt x="492" y="627"/>
                  <a:pt x="492" y="627"/>
                  <a:pt x="492" y="626"/>
                </a:cubicBezTo>
                <a:cubicBezTo>
                  <a:pt x="493" y="626"/>
                  <a:pt x="494" y="626"/>
                  <a:pt x="494" y="626"/>
                </a:cubicBezTo>
                <a:cubicBezTo>
                  <a:pt x="494" y="626"/>
                  <a:pt x="494" y="626"/>
                  <a:pt x="494" y="626"/>
                </a:cubicBezTo>
                <a:cubicBezTo>
                  <a:pt x="495" y="626"/>
                  <a:pt x="495" y="627"/>
                  <a:pt x="495" y="628"/>
                </a:cubicBezTo>
                <a:cubicBezTo>
                  <a:pt x="495" y="630"/>
                  <a:pt x="496" y="629"/>
                  <a:pt x="497" y="628"/>
                </a:cubicBezTo>
                <a:cubicBezTo>
                  <a:pt x="497" y="627"/>
                  <a:pt x="497" y="627"/>
                  <a:pt x="497" y="627"/>
                </a:cubicBezTo>
                <a:cubicBezTo>
                  <a:pt x="498" y="627"/>
                  <a:pt x="498" y="627"/>
                  <a:pt x="498" y="627"/>
                </a:cubicBezTo>
                <a:cubicBezTo>
                  <a:pt x="499" y="627"/>
                  <a:pt x="499" y="627"/>
                  <a:pt x="500" y="627"/>
                </a:cubicBezTo>
                <a:cubicBezTo>
                  <a:pt x="501" y="627"/>
                  <a:pt x="500" y="626"/>
                  <a:pt x="500" y="625"/>
                </a:cubicBezTo>
                <a:cubicBezTo>
                  <a:pt x="501" y="624"/>
                  <a:pt x="502" y="625"/>
                  <a:pt x="503" y="624"/>
                </a:cubicBezTo>
                <a:cubicBezTo>
                  <a:pt x="503" y="624"/>
                  <a:pt x="503" y="624"/>
                  <a:pt x="503" y="624"/>
                </a:cubicBezTo>
                <a:cubicBezTo>
                  <a:pt x="501" y="621"/>
                  <a:pt x="497" y="616"/>
                  <a:pt x="496" y="621"/>
                </a:cubicBezTo>
                <a:cubicBezTo>
                  <a:pt x="496" y="617"/>
                  <a:pt x="492" y="620"/>
                  <a:pt x="491" y="621"/>
                </a:cubicBezTo>
                <a:cubicBezTo>
                  <a:pt x="489" y="621"/>
                  <a:pt x="492" y="620"/>
                  <a:pt x="492" y="620"/>
                </a:cubicBezTo>
                <a:cubicBezTo>
                  <a:pt x="491" y="618"/>
                  <a:pt x="488" y="620"/>
                  <a:pt x="486" y="618"/>
                </a:cubicBezTo>
                <a:cubicBezTo>
                  <a:pt x="486" y="618"/>
                  <a:pt x="485" y="615"/>
                  <a:pt x="485" y="616"/>
                </a:cubicBezTo>
                <a:cubicBezTo>
                  <a:pt x="483" y="615"/>
                  <a:pt x="482" y="617"/>
                  <a:pt x="483" y="615"/>
                </a:cubicBezTo>
                <a:cubicBezTo>
                  <a:pt x="483" y="612"/>
                  <a:pt x="480" y="610"/>
                  <a:pt x="479" y="609"/>
                </a:cubicBezTo>
                <a:cubicBezTo>
                  <a:pt x="479" y="609"/>
                  <a:pt x="480" y="605"/>
                  <a:pt x="478" y="604"/>
                </a:cubicBezTo>
                <a:cubicBezTo>
                  <a:pt x="480" y="609"/>
                  <a:pt x="474" y="610"/>
                  <a:pt x="474" y="608"/>
                </a:cubicBezTo>
                <a:cubicBezTo>
                  <a:pt x="474" y="608"/>
                  <a:pt x="471" y="608"/>
                  <a:pt x="471" y="605"/>
                </a:cubicBezTo>
                <a:cubicBezTo>
                  <a:pt x="472" y="603"/>
                  <a:pt x="472" y="604"/>
                  <a:pt x="471" y="601"/>
                </a:cubicBezTo>
                <a:cubicBezTo>
                  <a:pt x="470" y="599"/>
                  <a:pt x="478" y="604"/>
                  <a:pt x="479" y="603"/>
                </a:cubicBezTo>
                <a:cubicBezTo>
                  <a:pt x="481" y="603"/>
                  <a:pt x="478" y="601"/>
                  <a:pt x="481" y="602"/>
                </a:cubicBezTo>
                <a:cubicBezTo>
                  <a:pt x="487" y="603"/>
                  <a:pt x="499" y="603"/>
                  <a:pt x="499" y="612"/>
                </a:cubicBezTo>
                <a:cubicBezTo>
                  <a:pt x="499" y="614"/>
                  <a:pt x="497" y="615"/>
                  <a:pt x="498" y="617"/>
                </a:cubicBezTo>
                <a:cubicBezTo>
                  <a:pt x="499" y="619"/>
                  <a:pt x="501" y="621"/>
                  <a:pt x="503" y="622"/>
                </a:cubicBezTo>
                <a:cubicBezTo>
                  <a:pt x="503" y="622"/>
                  <a:pt x="503" y="622"/>
                  <a:pt x="503" y="622"/>
                </a:cubicBezTo>
                <a:cubicBezTo>
                  <a:pt x="504" y="622"/>
                  <a:pt x="505" y="623"/>
                  <a:pt x="505" y="622"/>
                </a:cubicBezTo>
                <a:cubicBezTo>
                  <a:pt x="506" y="622"/>
                  <a:pt x="506" y="621"/>
                  <a:pt x="506" y="621"/>
                </a:cubicBezTo>
                <a:cubicBezTo>
                  <a:pt x="506" y="620"/>
                  <a:pt x="505" y="619"/>
                  <a:pt x="506" y="619"/>
                </a:cubicBezTo>
                <a:cubicBezTo>
                  <a:pt x="506" y="619"/>
                  <a:pt x="506" y="619"/>
                  <a:pt x="506" y="619"/>
                </a:cubicBezTo>
                <a:cubicBezTo>
                  <a:pt x="507" y="619"/>
                  <a:pt x="507" y="619"/>
                  <a:pt x="507" y="619"/>
                </a:cubicBezTo>
                <a:cubicBezTo>
                  <a:pt x="508" y="618"/>
                  <a:pt x="510" y="620"/>
                  <a:pt x="510" y="618"/>
                </a:cubicBezTo>
                <a:cubicBezTo>
                  <a:pt x="510" y="619"/>
                  <a:pt x="512" y="620"/>
                  <a:pt x="513" y="620"/>
                </a:cubicBezTo>
                <a:cubicBezTo>
                  <a:pt x="513" y="620"/>
                  <a:pt x="514" y="620"/>
                  <a:pt x="514" y="620"/>
                </a:cubicBezTo>
                <a:cubicBezTo>
                  <a:pt x="514" y="619"/>
                  <a:pt x="513" y="617"/>
                  <a:pt x="513" y="617"/>
                </a:cubicBezTo>
                <a:cubicBezTo>
                  <a:pt x="514" y="616"/>
                  <a:pt x="516" y="618"/>
                  <a:pt x="517" y="620"/>
                </a:cubicBezTo>
                <a:cubicBezTo>
                  <a:pt x="517" y="620"/>
                  <a:pt x="518" y="621"/>
                  <a:pt x="518" y="620"/>
                </a:cubicBezTo>
                <a:cubicBezTo>
                  <a:pt x="518" y="620"/>
                  <a:pt x="514" y="615"/>
                  <a:pt x="517" y="615"/>
                </a:cubicBezTo>
                <a:cubicBezTo>
                  <a:pt x="517" y="615"/>
                  <a:pt x="517" y="615"/>
                  <a:pt x="517" y="614"/>
                </a:cubicBezTo>
                <a:cubicBezTo>
                  <a:pt x="517" y="615"/>
                  <a:pt x="516" y="612"/>
                  <a:pt x="516" y="612"/>
                </a:cubicBezTo>
                <a:cubicBezTo>
                  <a:pt x="518" y="610"/>
                  <a:pt x="520" y="614"/>
                  <a:pt x="522" y="615"/>
                </a:cubicBezTo>
                <a:cubicBezTo>
                  <a:pt x="523" y="614"/>
                  <a:pt x="524" y="613"/>
                  <a:pt x="525" y="614"/>
                </a:cubicBezTo>
                <a:cubicBezTo>
                  <a:pt x="525" y="614"/>
                  <a:pt x="526" y="615"/>
                  <a:pt x="526" y="615"/>
                </a:cubicBezTo>
                <a:cubicBezTo>
                  <a:pt x="526" y="615"/>
                  <a:pt x="526" y="615"/>
                  <a:pt x="527" y="616"/>
                </a:cubicBezTo>
                <a:cubicBezTo>
                  <a:pt x="527" y="616"/>
                  <a:pt x="527" y="617"/>
                  <a:pt x="527" y="618"/>
                </a:cubicBezTo>
                <a:cubicBezTo>
                  <a:pt x="526" y="618"/>
                  <a:pt x="526" y="618"/>
                  <a:pt x="525" y="618"/>
                </a:cubicBezTo>
                <a:cubicBezTo>
                  <a:pt x="525" y="618"/>
                  <a:pt x="525" y="618"/>
                  <a:pt x="525" y="618"/>
                </a:cubicBezTo>
                <a:cubicBezTo>
                  <a:pt x="527" y="619"/>
                  <a:pt x="529" y="619"/>
                  <a:pt x="530" y="621"/>
                </a:cubicBezTo>
                <a:cubicBezTo>
                  <a:pt x="531" y="622"/>
                  <a:pt x="531" y="622"/>
                  <a:pt x="531" y="622"/>
                </a:cubicBezTo>
                <a:cubicBezTo>
                  <a:pt x="532" y="622"/>
                  <a:pt x="532" y="622"/>
                  <a:pt x="532" y="621"/>
                </a:cubicBezTo>
                <a:cubicBezTo>
                  <a:pt x="531" y="620"/>
                  <a:pt x="531" y="619"/>
                  <a:pt x="530" y="617"/>
                </a:cubicBezTo>
                <a:cubicBezTo>
                  <a:pt x="531" y="618"/>
                  <a:pt x="532" y="620"/>
                  <a:pt x="533" y="621"/>
                </a:cubicBezTo>
                <a:cubicBezTo>
                  <a:pt x="533" y="621"/>
                  <a:pt x="533" y="621"/>
                  <a:pt x="533" y="621"/>
                </a:cubicBezTo>
                <a:cubicBezTo>
                  <a:pt x="533" y="621"/>
                  <a:pt x="533" y="620"/>
                  <a:pt x="533" y="620"/>
                </a:cubicBezTo>
                <a:cubicBezTo>
                  <a:pt x="534" y="620"/>
                  <a:pt x="534" y="622"/>
                  <a:pt x="534" y="622"/>
                </a:cubicBezTo>
                <a:cubicBezTo>
                  <a:pt x="535" y="623"/>
                  <a:pt x="536" y="627"/>
                  <a:pt x="537" y="628"/>
                </a:cubicBezTo>
                <a:cubicBezTo>
                  <a:pt x="537" y="628"/>
                  <a:pt x="537" y="627"/>
                  <a:pt x="537" y="627"/>
                </a:cubicBezTo>
                <a:cubicBezTo>
                  <a:pt x="538" y="626"/>
                  <a:pt x="539" y="627"/>
                  <a:pt x="540" y="627"/>
                </a:cubicBezTo>
                <a:cubicBezTo>
                  <a:pt x="540" y="627"/>
                  <a:pt x="540" y="627"/>
                  <a:pt x="541" y="627"/>
                </a:cubicBezTo>
                <a:cubicBezTo>
                  <a:pt x="542" y="628"/>
                  <a:pt x="543" y="630"/>
                  <a:pt x="543" y="631"/>
                </a:cubicBezTo>
                <a:cubicBezTo>
                  <a:pt x="543" y="631"/>
                  <a:pt x="542" y="631"/>
                  <a:pt x="542" y="631"/>
                </a:cubicBezTo>
                <a:cubicBezTo>
                  <a:pt x="542" y="631"/>
                  <a:pt x="542" y="631"/>
                  <a:pt x="542" y="631"/>
                </a:cubicBezTo>
                <a:cubicBezTo>
                  <a:pt x="542" y="631"/>
                  <a:pt x="542" y="632"/>
                  <a:pt x="542" y="632"/>
                </a:cubicBezTo>
                <a:cubicBezTo>
                  <a:pt x="540" y="633"/>
                  <a:pt x="541" y="631"/>
                  <a:pt x="541" y="630"/>
                </a:cubicBezTo>
                <a:cubicBezTo>
                  <a:pt x="541" y="630"/>
                  <a:pt x="540" y="630"/>
                  <a:pt x="540" y="630"/>
                </a:cubicBezTo>
                <a:cubicBezTo>
                  <a:pt x="540" y="631"/>
                  <a:pt x="540" y="631"/>
                  <a:pt x="540" y="632"/>
                </a:cubicBezTo>
                <a:cubicBezTo>
                  <a:pt x="541" y="633"/>
                  <a:pt x="540" y="633"/>
                  <a:pt x="539" y="632"/>
                </a:cubicBezTo>
                <a:cubicBezTo>
                  <a:pt x="538" y="635"/>
                  <a:pt x="537" y="640"/>
                  <a:pt x="537" y="640"/>
                </a:cubicBezTo>
                <a:cubicBezTo>
                  <a:pt x="537" y="641"/>
                  <a:pt x="544" y="646"/>
                  <a:pt x="539" y="644"/>
                </a:cubicBezTo>
                <a:cubicBezTo>
                  <a:pt x="539" y="644"/>
                  <a:pt x="539" y="645"/>
                  <a:pt x="539" y="645"/>
                </a:cubicBezTo>
                <a:cubicBezTo>
                  <a:pt x="539" y="645"/>
                  <a:pt x="539" y="645"/>
                  <a:pt x="539" y="645"/>
                </a:cubicBezTo>
                <a:cubicBezTo>
                  <a:pt x="540" y="645"/>
                  <a:pt x="540" y="646"/>
                  <a:pt x="539" y="646"/>
                </a:cubicBezTo>
                <a:cubicBezTo>
                  <a:pt x="539" y="646"/>
                  <a:pt x="540" y="646"/>
                  <a:pt x="540" y="646"/>
                </a:cubicBezTo>
                <a:cubicBezTo>
                  <a:pt x="540" y="647"/>
                  <a:pt x="539" y="648"/>
                  <a:pt x="538" y="647"/>
                </a:cubicBezTo>
                <a:cubicBezTo>
                  <a:pt x="537" y="648"/>
                  <a:pt x="537" y="648"/>
                  <a:pt x="536" y="649"/>
                </a:cubicBezTo>
                <a:cubicBezTo>
                  <a:pt x="536" y="648"/>
                  <a:pt x="535" y="651"/>
                  <a:pt x="535" y="650"/>
                </a:cubicBezTo>
                <a:cubicBezTo>
                  <a:pt x="534" y="651"/>
                  <a:pt x="532" y="649"/>
                  <a:pt x="532" y="649"/>
                </a:cubicBezTo>
                <a:cubicBezTo>
                  <a:pt x="532" y="648"/>
                  <a:pt x="531" y="648"/>
                  <a:pt x="530" y="648"/>
                </a:cubicBezTo>
                <a:cubicBezTo>
                  <a:pt x="532" y="649"/>
                  <a:pt x="532" y="649"/>
                  <a:pt x="531" y="651"/>
                </a:cubicBezTo>
                <a:cubicBezTo>
                  <a:pt x="531" y="651"/>
                  <a:pt x="531" y="651"/>
                  <a:pt x="530" y="651"/>
                </a:cubicBezTo>
                <a:cubicBezTo>
                  <a:pt x="530" y="653"/>
                  <a:pt x="529" y="653"/>
                  <a:pt x="527" y="652"/>
                </a:cubicBezTo>
                <a:cubicBezTo>
                  <a:pt x="527" y="652"/>
                  <a:pt x="527" y="651"/>
                  <a:pt x="527" y="650"/>
                </a:cubicBezTo>
                <a:cubicBezTo>
                  <a:pt x="527" y="650"/>
                  <a:pt x="525" y="649"/>
                  <a:pt x="525" y="648"/>
                </a:cubicBezTo>
                <a:cubicBezTo>
                  <a:pt x="526" y="648"/>
                  <a:pt x="527" y="647"/>
                  <a:pt x="527" y="647"/>
                </a:cubicBezTo>
                <a:cubicBezTo>
                  <a:pt x="527" y="645"/>
                  <a:pt x="524" y="647"/>
                  <a:pt x="525" y="644"/>
                </a:cubicBezTo>
                <a:cubicBezTo>
                  <a:pt x="524" y="646"/>
                  <a:pt x="521" y="646"/>
                  <a:pt x="520" y="649"/>
                </a:cubicBezTo>
                <a:cubicBezTo>
                  <a:pt x="520" y="649"/>
                  <a:pt x="520" y="654"/>
                  <a:pt x="521" y="655"/>
                </a:cubicBezTo>
                <a:cubicBezTo>
                  <a:pt x="522" y="655"/>
                  <a:pt x="522" y="654"/>
                  <a:pt x="523" y="655"/>
                </a:cubicBezTo>
                <a:cubicBezTo>
                  <a:pt x="523" y="655"/>
                  <a:pt x="523" y="655"/>
                  <a:pt x="523" y="655"/>
                </a:cubicBezTo>
                <a:cubicBezTo>
                  <a:pt x="523" y="655"/>
                  <a:pt x="523" y="655"/>
                  <a:pt x="523" y="655"/>
                </a:cubicBezTo>
                <a:cubicBezTo>
                  <a:pt x="523" y="655"/>
                  <a:pt x="523" y="655"/>
                  <a:pt x="523" y="655"/>
                </a:cubicBezTo>
                <a:cubicBezTo>
                  <a:pt x="523" y="655"/>
                  <a:pt x="523" y="655"/>
                  <a:pt x="523" y="655"/>
                </a:cubicBezTo>
                <a:cubicBezTo>
                  <a:pt x="523" y="656"/>
                  <a:pt x="521" y="658"/>
                  <a:pt x="522" y="660"/>
                </a:cubicBezTo>
                <a:cubicBezTo>
                  <a:pt x="522" y="659"/>
                  <a:pt x="523" y="661"/>
                  <a:pt x="523" y="661"/>
                </a:cubicBezTo>
                <a:cubicBezTo>
                  <a:pt x="524" y="661"/>
                  <a:pt x="524" y="660"/>
                  <a:pt x="523" y="660"/>
                </a:cubicBezTo>
                <a:cubicBezTo>
                  <a:pt x="523" y="659"/>
                  <a:pt x="522" y="659"/>
                  <a:pt x="522" y="658"/>
                </a:cubicBezTo>
                <a:cubicBezTo>
                  <a:pt x="523" y="658"/>
                  <a:pt x="523" y="658"/>
                  <a:pt x="524" y="659"/>
                </a:cubicBezTo>
                <a:cubicBezTo>
                  <a:pt x="525" y="658"/>
                  <a:pt x="526" y="660"/>
                  <a:pt x="527" y="660"/>
                </a:cubicBezTo>
                <a:cubicBezTo>
                  <a:pt x="529" y="660"/>
                  <a:pt x="528" y="659"/>
                  <a:pt x="530" y="659"/>
                </a:cubicBezTo>
                <a:cubicBezTo>
                  <a:pt x="528" y="661"/>
                  <a:pt x="529" y="660"/>
                  <a:pt x="531" y="661"/>
                </a:cubicBezTo>
                <a:cubicBezTo>
                  <a:pt x="531" y="660"/>
                  <a:pt x="531" y="660"/>
                  <a:pt x="531" y="661"/>
                </a:cubicBezTo>
                <a:cubicBezTo>
                  <a:pt x="531" y="661"/>
                  <a:pt x="532" y="661"/>
                  <a:pt x="532" y="661"/>
                </a:cubicBezTo>
                <a:cubicBezTo>
                  <a:pt x="532" y="661"/>
                  <a:pt x="532" y="661"/>
                  <a:pt x="532" y="661"/>
                </a:cubicBezTo>
                <a:cubicBezTo>
                  <a:pt x="532" y="661"/>
                  <a:pt x="532" y="661"/>
                  <a:pt x="532" y="661"/>
                </a:cubicBezTo>
                <a:cubicBezTo>
                  <a:pt x="534" y="662"/>
                  <a:pt x="535" y="664"/>
                  <a:pt x="536" y="664"/>
                </a:cubicBezTo>
                <a:cubicBezTo>
                  <a:pt x="537" y="664"/>
                  <a:pt x="537" y="664"/>
                  <a:pt x="537" y="664"/>
                </a:cubicBezTo>
                <a:cubicBezTo>
                  <a:pt x="537" y="664"/>
                  <a:pt x="537" y="664"/>
                  <a:pt x="538" y="665"/>
                </a:cubicBezTo>
                <a:cubicBezTo>
                  <a:pt x="538" y="665"/>
                  <a:pt x="538" y="665"/>
                  <a:pt x="539" y="666"/>
                </a:cubicBezTo>
                <a:cubicBezTo>
                  <a:pt x="538" y="665"/>
                  <a:pt x="538" y="663"/>
                  <a:pt x="539" y="662"/>
                </a:cubicBezTo>
                <a:cubicBezTo>
                  <a:pt x="541" y="661"/>
                  <a:pt x="542" y="663"/>
                  <a:pt x="544" y="663"/>
                </a:cubicBezTo>
                <a:cubicBezTo>
                  <a:pt x="544" y="663"/>
                  <a:pt x="545" y="661"/>
                  <a:pt x="546" y="661"/>
                </a:cubicBezTo>
                <a:cubicBezTo>
                  <a:pt x="546" y="660"/>
                  <a:pt x="545" y="658"/>
                  <a:pt x="545" y="656"/>
                </a:cubicBezTo>
                <a:cubicBezTo>
                  <a:pt x="546" y="656"/>
                  <a:pt x="546" y="659"/>
                  <a:pt x="547" y="659"/>
                </a:cubicBezTo>
                <a:cubicBezTo>
                  <a:pt x="547" y="659"/>
                  <a:pt x="547" y="658"/>
                  <a:pt x="547" y="658"/>
                </a:cubicBezTo>
                <a:cubicBezTo>
                  <a:pt x="547" y="658"/>
                  <a:pt x="547" y="658"/>
                  <a:pt x="547" y="658"/>
                </a:cubicBezTo>
                <a:cubicBezTo>
                  <a:pt x="547" y="658"/>
                  <a:pt x="546" y="657"/>
                  <a:pt x="546" y="656"/>
                </a:cubicBezTo>
                <a:cubicBezTo>
                  <a:pt x="547" y="655"/>
                  <a:pt x="548" y="655"/>
                  <a:pt x="548" y="656"/>
                </a:cubicBezTo>
                <a:cubicBezTo>
                  <a:pt x="549" y="655"/>
                  <a:pt x="550" y="655"/>
                  <a:pt x="551" y="656"/>
                </a:cubicBezTo>
                <a:cubicBezTo>
                  <a:pt x="552" y="656"/>
                  <a:pt x="552" y="656"/>
                  <a:pt x="552" y="657"/>
                </a:cubicBezTo>
                <a:cubicBezTo>
                  <a:pt x="552" y="658"/>
                  <a:pt x="552" y="659"/>
                  <a:pt x="552" y="660"/>
                </a:cubicBezTo>
                <a:cubicBezTo>
                  <a:pt x="552" y="660"/>
                  <a:pt x="552" y="661"/>
                  <a:pt x="552" y="661"/>
                </a:cubicBezTo>
                <a:cubicBezTo>
                  <a:pt x="556" y="659"/>
                  <a:pt x="556" y="659"/>
                  <a:pt x="556" y="659"/>
                </a:cubicBezTo>
                <a:cubicBezTo>
                  <a:pt x="556" y="659"/>
                  <a:pt x="556" y="659"/>
                  <a:pt x="557" y="659"/>
                </a:cubicBezTo>
                <a:cubicBezTo>
                  <a:pt x="559" y="657"/>
                  <a:pt x="559" y="657"/>
                  <a:pt x="559" y="657"/>
                </a:cubicBezTo>
                <a:cubicBezTo>
                  <a:pt x="559" y="657"/>
                  <a:pt x="559" y="656"/>
                  <a:pt x="558" y="656"/>
                </a:cubicBezTo>
                <a:cubicBezTo>
                  <a:pt x="558" y="656"/>
                  <a:pt x="557" y="656"/>
                  <a:pt x="556" y="655"/>
                </a:cubicBezTo>
                <a:cubicBezTo>
                  <a:pt x="556" y="655"/>
                  <a:pt x="556" y="655"/>
                  <a:pt x="555" y="656"/>
                </a:cubicBezTo>
                <a:cubicBezTo>
                  <a:pt x="556" y="656"/>
                  <a:pt x="556" y="655"/>
                  <a:pt x="556" y="655"/>
                </a:cubicBezTo>
                <a:cubicBezTo>
                  <a:pt x="556" y="655"/>
                  <a:pt x="555" y="655"/>
                  <a:pt x="555" y="654"/>
                </a:cubicBezTo>
                <a:cubicBezTo>
                  <a:pt x="555" y="654"/>
                  <a:pt x="557" y="653"/>
                  <a:pt x="557" y="653"/>
                </a:cubicBezTo>
                <a:cubicBezTo>
                  <a:pt x="557" y="652"/>
                  <a:pt x="556" y="651"/>
                  <a:pt x="556" y="650"/>
                </a:cubicBezTo>
                <a:cubicBezTo>
                  <a:pt x="555" y="651"/>
                  <a:pt x="554" y="652"/>
                  <a:pt x="553" y="652"/>
                </a:cubicBezTo>
                <a:cubicBezTo>
                  <a:pt x="553" y="652"/>
                  <a:pt x="553" y="653"/>
                  <a:pt x="553" y="653"/>
                </a:cubicBezTo>
                <a:cubicBezTo>
                  <a:pt x="552" y="653"/>
                  <a:pt x="552" y="652"/>
                  <a:pt x="552" y="652"/>
                </a:cubicBezTo>
                <a:cubicBezTo>
                  <a:pt x="552" y="652"/>
                  <a:pt x="551" y="652"/>
                  <a:pt x="551" y="652"/>
                </a:cubicBezTo>
                <a:cubicBezTo>
                  <a:pt x="551" y="652"/>
                  <a:pt x="551" y="652"/>
                  <a:pt x="551" y="652"/>
                </a:cubicBezTo>
                <a:cubicBezTo>
                  <a:pt x="551" y="653"/>
                  <a:pt x="550" y="653"/>
                  <a:pt x="550" y="653"/>
                </a:cubicBezTo>
                <a:cubicBezTo>
                  <a:pt x="550" y="653"/>
                  <a:pt x="550" y="652"/>
                  <a:pt x="550" y="652"/>
                </a:cubicBezTo>
                <a:cubicBezTo>
                  <a:pt x="548" y="652"/>
                  <a:pt x="546" y="651"/>
                  <a:pt x="545" y="649"/>
                </a:cubicBezTo>
                <a:cubicBezTo>
                  <a:pt x="544" y="648"/>
                  <a:pt x="544" y="647"/>
                  <a:pt x="544" y="646"/>
                </a:cubicBezTo>
                <a:cubicBezTo>
                  <a:pt x="543" y="646"/>
                  <a:pt x="541" y="644"/>
                  <a:pt x="542" y="643"/>
                </a:cubicBezTo>
                <a:cubicBezTo>
                  <a:pt x="543" y="643"/>
                  <a:pt x="544" y="643"/>
                  <a:pt x="544" y="644"/>
                </a:cubicBezTo>
                <a:cubicBezTo>
                  <a:pt x="544" y="644"/>
                  <a:pt x="544" y="644"/>
                  <a:pt x="544" y="643"/>
                </a:cubicBezTo>
                <a:cubicBezTo>
                  <a:pt x="544" y="643"/>
                  <a:pt x="544" y="643"/>
                  <a:pt x="544" y="643"/>
                </a:cubicBezTo>
                <a:cubicBezTo>
                  <a:pt x="545" y="641"/>
                  <a:pt x="546" y="640"/>
                  <a:pt x="548" y="638"/>
                </a:cubicBezTo>
                <a:cubicBezTo>
                  <a:pt x="548" y="638"/>
                  <a:pt x="548" y="638"/>
                  <a:pt x="548" y="638"/>
                </a:cubicBezTo>
                <a:cubicBezTo>
                  <a:pt x="548" y="638"/>
                  <a:pt x="548" y="638"/>
                  <a:pt x="548" y="638"/>
                </a:cubicBezTo>
                <a:cubicBezTo>
                  <a:pt x="549" y="637"/>
                  <a:pt x="549" y="637"/>
                  <a:pt x="549" y="638"/>
                </a:cubicBezTo>
                <a:cubicBezTo>
                  <a:pt x="551" y="637"/>
                  <a:pt x="554" y="636"/>
                  <a:pt x="556" y="638"/>
                </a:cubicBezTo>
                <a:cubicBezTo>
                  <a:pt x="556" y="638"/>
                  <a:pt x="558" y="640"/>
                  <a:pt x="558" y="640"/>
                </a:cubicBezTo>
                <a:cubicBezTo>
                  <a:pt x="558" y="640"/>
                  <a:pt x="557" y="642"/>
                  <a:pt x="557" y="642"/>
                </a:cubicBezTo>
                <a:cubicBezTo>
                  <a:pt x="557" y="642"/>
                  <a:pt x="557" y="642"/>
                  <a:pt x="557" y="642"/>
                </a:cubicBezTo>
                <a:cubicBezTo>
                  <a:pt x="558" y="642"/>
                  <a:pt x="558" y="643"/>
                  <a:pt x="559" y="644"/>
                </a:cubicBezTo>
                <a:cubicBezTo>
                  <a:pt x="559" y="643"/>
                  <a:pt x="559" y="643"/>
                  <a:pt x="559" y="643"/>
                </a:cubicBezTo>
                <a:cubicBezTo>
                  <a:pt x="560" y="642"/>
                  <a:pt x="561" y="644"/>
                  <a:pt x="560" y="644"/>
                </a:cubicBezTo>
                <a:cubicBezTo>
                  <a:pt x="559" y="644"/>
                  <a:pt x="559" y="644"/>
                  <a:pt x="559" y="644"/>
                </a:cubicBezTo>
                <a:cubicBezTo>
                  <a:pt x="560" y="645"/>
                  <a:pt x="561" y="646"/>
                  <a:pt x="562" y="645"/>
                </a:cubicBezTo>
                <a:cubicBezTo>
                  <a:pt x="563" y="645"/>
                  <a:pt x="561" y="642"/>
                  <a:pt x="564" y="642"/>
                </a:cubicBezTo>
                <a:cubicBezTo>
                  <a:pt x="562" y="645"/>
                  <a:pt x="564" y="643"/>
                  <a:pt x="567" y="645"/>
                </a:cubicBezTo>
                <a:cubicBezTo>
                  <a:pt x="570" y="646"/>
                  <a:pt x="569" y="646"/>
                  <a:pt x="567" y="643"/>
                </a:cubicBezTo>
                <a:cubicBezTo>
                  <a:pt x="566" y="641"/>
                  <a:pt x="568" y="642"/>
                  <a:pt x="566" y="640"/>
                </a:cubicBezTo>
                <a:cubicBezTo>
                  <a:pt x="566" y="639"/>
                  <a:pt x="564" y="638"/>
                  <a:pt x="562" y="638"/>
                </a:cubicBezTo>
                <a:cubicBezTo>
                  <a:pt x="562" y="638"/>
                  <a:pt x="562" y="638"/>
                  <a:pt x="562" y="638"/>
                </a:cubicBezTo>
                <a:cubicBezTo>
                  <a:pt x="561" y="638"/>
                  <a:pt x="560" y="638"/>
                  <a:pt x="560" y="638"/>
                </a:cubicBezTo>
                <a:cubicBezTo>
                  <a:pt x="562" y="637"/>
                  <a:pt x="558" y="640"/>
                  <a:pt x="558" y="639"/>
                </a:cubicBezTo>
                <a:cubicBezTo>
                  <a:pt x="558" y="638"/>
                  <a:pt x="558" y="638"/>
                  <a:pt x="558" y="637"/>
                </a:cubicBezTo>
                <a:cubicBezTo>
                  <a:pt x="557" y="637"/>
                  <a:pt x="554" y="634"/>
                  <a:pt x="554" y="634"/>
                </a:cubicBezTo>
                <a:cubicBezTo>
                  <a:pt x="551" y="632"/>
                  <a:pt x="551" y="631"/>
                  <a:pt x="554" y="633"/>
                </a:cubicBezTo>
                <a:cubicBezTo>
                  <a:pt x="555" y="634"/>
                  <a:pt x="557" y="635"/>
                  <a:pt x="558" y="636"/>
                </a:cubicBezTo>
                <a:cubicBezTo>
                  <a:pt x="558" y="634"/>
                  <a:pt x="556" y="635"/>
                  <a:pt x="555" y="634"/>
                </a:cubicBezTo>
                <a:cubicBezTo>
                  <a:pt x="555" y="633"/>
                  <a:pt x="554" y="632"/>
                  <a:pt x="554" y="630"/>
                </a:cubicBezTo>
                <a:cubicBezTo>
                  <a:pt x="554" y="630"/>
                  <a:pt x="553" y="629"/>
                  <a:pt x="553" y="629"/>
                </a:cubicBezTo>
                <a:cubicBezTo>
                  <a:pt x="553" y="629"/>
                  <a:pt x="553" y="629"/>
                  <a:pt x="553" y="628"/>
                </a:cubicBezTo>
                <a:cubicBezTo>
                  <a:pt x="553" y="628"/>
                  <a:pt x="553" y="628"/>
                  <a:pt x="553" y="628"/>
                </a:cubicBezTo>
                <a:cubicBezTo>
                  <a:pt x="551" y="629"/>
                  <a:pt x="552" y="625"/>
                  <a:pt x="553" y="626"/>
                </a:cubicBezTo>
                <a:cubicBezTo>
                  <a:pt x="553" y="626"/>
                  <a:pt x="553" y="625"/>
                  <a:pt x="553" y="625"/>
                </a:cubicBezTo>
                <a:cubicBezTo>
                  <a:pt x="554" y="625"/>
                  <a:pt x="554" y="625"/>
                  <a:pt x="554" y="625"/>
                </a:cubicBezTo>
                <a:cubicBezTo>
                  <a:pt x="554" y="625"/>
                  <a:pt x="554" y="625"/>
                  <a:pt x="554" y="625"/>
                </a:cubicBezTo>
                <a:cubicBezTo>
                  <a:pt x="554" y="625"/>
                  <a:pt x="557" y="625"/>
                  <a:pt x="559" y="624"/>
                </a:cubicBezTo>
                <a:cubicBezTo>
                  <a:pt x="558" y="624"/>
                  <a:pt x="559" y="623"/>
                  <a:pt x="559" y="623"/>
                </a:cubicBezTo>
                <a:cubicBezTo>
                  <a:pt x="559" y="623"/>
                  <a:pt x="560" y="623"/>
                  <a:pt x="560" y="623"/>
                </a:cubicBezTo>
                <a:cubicBezTo>
                  <a:pt x="560" y="623"/>
                  <a:pt x="560" y="622"/>
                  <a:pt x="559" y="621"/>
                </a:cubicBezTo>
                <a:cubicBezTo>
                  <a:pt x="559" y="621"/>
                  <a:pt x="559" y="621"/>
                  <a:pt x="558" y="621"/>
                </a:cubicBezTo>
                <a:cubicBezTo>
                  <a:pt x="559" y="620"/>
                  <a:pt x="561" y="613"/>
                  <a:pt x="557" y="616"/>
                </a:cubicBezTo>
                <a:cubicBezTo>
                  <a:pt x="557" y="616"/>
                  <a:pt x="558" y="617"/>
                  <a:pt x="558" y="617"/>
                </a:cubicBezTo>
                <a:cubicBezTo>
                  <a:pt x="558" y="617"/>
                  <a:pt x="557" y="617"/>
                  <a:pt x="557" y="617"/>
                </a:cubicBezTo>
                <a:cubicBezTo>
                  <a:pt x="556" y="618"/>
                  <a:pt x="558" y="620"/>
                  <a:pt x="557" y="621"/>
                </a:cubicBezTo>
                <a:cubicBezTo>
                  <a:pt x="557" y="619"/>
                  <a:pt x="553" y="620"/>
                  <a:pt x="553" y="618"/>
                </a:cubicBezTo>
                <a:cubicBezTo>
                  <a:pt x="553" y="616"/>
                  <a:pt x="557" y="615"/>
                  <a:pt x="558" y="613"/>
                </a:cubicBezTo>
                <a:cubicBezTo>
                  <a:pt x="559" y="611"/>
                  <a:pt x="557" y="609"/>
                  <a:pt x="555" y="607"/>
                </a:cubicBezTo>
                <a:cubicBezTo>
                  <a:pt x="555" y="608"/>
                  <a:pt x="555" y="610"/>
                  <a:pt x="554" y="611"/>
                </a:cubicBezTo>
                <a:cubicBezTo>
                  <a:pt x="554" y="612"/>
                  <a:pt x="555" y="613"/>
                  <a:pt x="552" y="614"/>
                </a:cubicBezTo>
                <a:cubicBezTo>
                  <a:pt x="550" y="614"/>
                  <a:pt x="546" y="617"/>
                  <a:pt x="545" y="614"/>
                </a:cubicBezTo>
                <a:cubicBezTo>
                  <a:pt x="543" y="610"/>
                  <a:pt x="541" y="602"/>
                  <a:pt x="536" y="600"/>
                </a:cubicBezTo>
                <a:cubicBezTo>
                  <a:pt x="539" y="606"/>
                  <a:pt x="533" y="604"/>
                  <a:pt x="534" y="599"/>
                </a:cubicBezTo>
                <a:cubicBezTo>
                  <a:pt x="535" y="601"/>
                  <a:pt x="535" y="598"/>
                  <a:pt x="536" y="597"/>
                </a:cubicBezTo>
                <a:cubicBezTo>
                  <a:pt x="537" y="597"/>
                  <a:pt x="537" y="598"/>
                  <a:pt x="537" y="598"/>
                </a:cubicBezTo>
                <a:cubicBezTo>
                  <a:pt x="537" y="598"/>
                  <a:pt x="537" y="598"/>
                  <a:pt x="537" y="598"/>
                </a:cubicBezTo>
                <a:cubicBezTo>
                  <a:pt x="539" y="596"/>
                  <a:pt x="541" y="601"/>
                  <a:pt x="538" y="599"/>
                </a:cubicBezTo>
                <a:cubicBezTo>
                  <a:pt x="538" y="599"/>
                  <a:pt x="538" y="599"/>
                  <a:pt x="538" y="599"/>
                </a:cubicBezTo>
                <a:cubicBezTo>
                  <a:pt x="539" y="600"/>
                  <a:pt x="539" y="600"/>
                  <a:pt x="540" y="601"/>
                </a:cubicBezTo>
                <a:cubicBezTo>
                  <a:pt x="542" y="603"/>
                  <a:pt x="546" y="604"/>
                  <a:pt x="549" y="604"/>
                </a:cubicBezTo>
                <a:cubicBezTo>
                  <a:pt x="550" y="603"/>
                  <a:pt x="550" y="603"/>
                  <a:pt x="551" y="603"/>
                </a:cubicBezTo>
                <a:cubicBezTo>
                  <a:pt x="551" y="603"/>
                  <a:pt x="552" y="603"/>
                  <a:pt x="552" y="603"/>
                </a:cubicBezTo>
                <a:cubicBezTo>
                  <a:pt x="553" y="602"/>
                  <a:pt x="553" y="601"/>
                  <a:pt x="550" y="598"/>
                </a:cubicBezTo>
                <a:cubicBezTo>
                  <a:pt x="557" y="600"/>
                  <a:pt x="550" y="591"/>
                  <a:pt x="548" y="592"/>
                </a:cubicBezTo>
                <a:cubicBezTo>
                  <a:pt x="548" y="592"/>
                  <a:pt x="547" y="594"/>
                  <a:pt x="546" y="594"/>
                </a:cubicBezTo>
                <a:cubicBezTo>
                  <a:pt x="545" y="594"/>
                  <a:pt x="543" y="592"/>
                  <a:pt x="542" y="591"/>
                </a:cubicBezTo>
                <a:cubicBezTo>
                  <a:pt x="541" y="590"/>
                  <a:pt x="536" y="584"/>
                  <a:pt x="540" y="587"/>
                </a:cubicBezTo>
                <a:cubicBezTo>
                  <a:pt x="542" y="588"/>
                  <a:pt x="543" y="589"/>
                  <a:pt x="545" y="589"/>
                </a:cubicBezTo>
                <a:cubicBezTo>
                  <a:pt x="545" y="589"/>
                  <a:pt x="544" y="588"/>
                  <a:pt x="545" y="589"/>
                </a:cubicBezTo>
                <a:cubicBezTo>
                  <a:pt x="545" y="589"/>
                  <a:pt x="545" y="589"/>
                  <a:pt x="545" y="589"/>
                </a:cubicBezTo>
                <a:cubicBezTo>
                  <a:pt x="546" y="590"/>
                  <a:pt x="547" y="590"/>
                  <a:pt x="549" y="591"/>
                </a:cubicBezTo>
                <a:cubicBezTo>
                  <a:pt x="551" y="592"/>
                  <a:pt x="552" y="594"/>
                  <a:pt x="553" y="594"/>
                </a:cubicBezTo>
                <a:cubicBezTo>
                  <a:pt x="553" y="594"/>
                  <a:pt x="553" y="594"/>
                  <a:pt x="554" y="593"/>
                </a:cubicBezTo>
                <a:cubicBezTo>
                  <a:pt x="554" y="593"/>
                  <a:pt x="555" y="593"/>
                  <a:pt x="555" y="593"/>
                </a:cubicBezTo>
                <a:cubicBezTo>
                  <a:pt x="555" y="594"/>
                  <a:pt x="555" y="594"/>
                  <a:pt x="556" y="594"/>
                </a:cubicBezTo>
                <a:cubicBezTo>
                  <a:pt x="556" y="594"/>
                  <a:pt x="556" y="594"/>
                  <a:pt x="556" y="594"/>
                </a:cubicBezTo>
                <a:cubicBezTo>
                  <a:pt x="557" y="591"/>
                  <a:pt x="549" y="589"/>
                  <a:pt x="546" y="588"/>
                </a:cubicBezTo>
                <a:cubicBezTo>
                  <a:pt x="547" y="588"/>
                  <a:pt x="547" y="588"/>
                  <a:pt x="546" y="588"/>
                </a:cubicBezTo>
                <a:cubicBezTo>
                  <a:pt x="546" y="589"/>
                  <a:pt x="545" y="588"/>
                  <a:pt x="546" y="587"/>
                </a:cubicBezTo>
                <a:cubicBezTo>
                  <a:pt x="546" y="587"/>
                  <a:pt x="546" y="587"/>
                  <a:pt x="545" y="587"/>
                </a:cubicBezTo>
                <a:cubicBezTo>
                  <a:pt x="545" y="587"/>
                  <a:pt x="545" y="587"/>
                  <a:pt x="544" y="586"/>
                </a:cubicBezTo>
                <a:cubicBezTo>
                  <a:pt x="544" y="586"/>
                  <a:pt x="544" y="586"/>
                  <a:pt x="544" y="586"/>
                </a:cubicBezTo>
                <a:cubicBezTo>
                  <a:pt x="543" y="586"/>
                  <a:pt x="543" y="586"/>
                  <a:pt x="543" y="586"/>
                </a:cubicBezTo>
                <a:cubicBezTo>
                  <a:pt x="541" y="585"/>
                  <a:pt x="539" y="583"/>
                  <a:pt x="539" y="583"/>
                </a:cubicBezTo>
                <a:cubicBezTo>
                  <a:pt x="538" y="579"/>
                  <a:pt x="551" y="590"/>
                  <a:pt x="548" y="583"/>
                </a:cubicBezTo>
                <a:cubicBezTo>
                  <a:pt x="548" y="582"/>
                  <a:pt x="546" y="576"/>
                  <a:pt x="545" y="576"/>
                </a:cubicBezTo>
                <a:cubicBezTo>
                  <a:pt x="544" y="576"/>
                  <a:pt x="545" y="579"/>
                  <a:pt x="544" y="579"/>
                </a:cubicBezTo>
                <a:cubicBezTo>
                  <a:pt x="543" y="580"/>
                  <a:pt x="540" y="578"/>
                  <a:pt x="540" y="577"/>
                </a:cubicBezTo>
                <a:cubicBezTo>
                  <a:pt x="540" y="575"/>
                  <a:pt x="542" y="576"/>
                  <a:pt x="542" y="575"/>
                </a:cubicBezTo>
                <a:cubicBezTo>
                  <a:pt x="542" y="573"/>
                  <a:pt x="541" y="572"/>
                  <a:pt x="539" y="570"/>
                </a:cubicBezTo>
                <a:cubicBezTo>
                  <a:pt x="539" y="571"/>
                  <a:pt x="539" y="571"/>
                  <a:pt x="539" y="571"/>
                </a:cubicBezTo>
                <a:cubicBezTo>
                  <a:pt x="539" y="571"/>
                  <a:pt x="539" y="570"/>
                  <a:pt x="539" y="570"/>
                </a:cubicBezTo>
                <a:cubicBezTo>
                  <a:pt x="537" y="569"/>
                  <a:pt x="536" y="568"/>
                  <a:pt x="535" y="566"/>
                </a:cubicBezTo>
                <a:cubicBezTo>
                  <a:pt x="533" y="563"/>
                  <a:pt x="530" y="561"/>
                  <a:pt x="530" y="561"/>
                </a:cubicBezTo>
                <a:cubicBezTo>
                  <a:pt x="530" y="560"/>
                  <a:pt x="533" y="559"/>
                  <a:pt x="534" y="558"/>
                </a:cubicBezTo>
                <a:cubicBezTo>
                  <a:pt x="534" y="556"/>
                  <a:pt x="532" y="555"/>
                  <a:pt x="535" y="556"/>
                </a:cubicBezTo>
                <a:cubicBezTo>
                  <a:pt x="537" y="556"/>
                  <a:pt x="535" y="554"/>
                  <a:pt x="537" y="556"/>
                </a:cubicBezTo>
                <a:cubicBezTo>
                  <a:pt x="539" y="556"/>
                  <a:pt x="543" y="561"/>
                  <a:pt x="540" y="563"/>
                </a:cubicBezTo>
                <a:cubicBezTo>
                  <a:pt x="539" y="564"/>
                  <a:pt x="536" y="564"/>
                  <a:pt x="538" y="566"/>
                </a:cubicBezTo>
                <a:cubicBezTo>
                  <a:pt x="539" y="567"/>
                  <a:pt x="541" y="567"/>
                  <a:pt x="542" y="568"/>
                </a:cubicBezTo>
                <a:cubicBezTo>
                  <a:pt x="544" y="570"/>
                  <a:pt x="546" y="575"/>
                  <a:pt x="548" y="577"/>
                </a:cubicBezTo>
                <a:cubicBezTo>
                  <a:pt x="550" y="579"/>
                  <a:pt x="553" y="580"/>
                  <a:pt x="555" y="582"/>
                </a:cubicBezTo>
                <a:cubicBezTo>
                  <a:pt x="556" y="584"/>
                  <a:pt x="557" y="590"/>
                  <a:pt x="559" y="591"/>
                </a:cubicBezTo>
                <a:cubicBezTo>
                  <a:pt x="560" y="591"/>
                  <a:pt x="561" y="591"/>
                  <a:pt x="561" y="590"/>
                </a:cubicBezTo>
                <a:cubicBezTo>
                  <a:pt x="562" y="590"/>
                  <a:pt x="562" y="590"/>
                  <a:pt x="562" y="590"/>
                </a:cubicBezTo>
                <a:cubicBezTo>
                  <a:pt x="562" y="590"/>
                  <a:pt x="562" y="590"/>
                  <a:pt x="562" y="590"/>
                </a:cubicBezTo>
                <a:cubicBezTo>
                  <a:pt x="565" y="589"/>
                  <a:pt x="567" y="585"/>
                  <a:pt x="567" y="582"/>
                </a:cubicBezTo>
                <a:cubicBezTo>
                  <a:pt x="567" y="582"/>
                  <a:pt x="567" y="582"/>
                  <a:pt x="567" y="582"/>
                </a:cubicBezTo>
                <a:cubicBezTo>
                  <a:pt x="566" y="582"/>
                  <a:pt x="565" y="581"/>
                  <a:pt x="565" y="581"/>
                </a:cubicBezTo>
                <a:cubicBezTo>
                  <a:pt x="561" y="578"/>
                  <a:pt x="560" y="569"/>
                  <a:pt x="565" y="567"/>
                </a:cubicBezTo>
                <a:cubicBezTo>
                  <a:pt x="565" y="567"/>
                  <a:pt x="565" y="567"/>
                  <a:pt x="565" y="567"/>
                </a:cubicBezTo>
                <a:cubicBezTo>
                  <a:pt x="565" y="566"/>
                  <a:pt x="565" y="566"/>
                  <a:pt x="565" y="566"/>
                </a:cubicBezTo>
                <a:cubicBezTo>
                  <a:pt x="564" y="565"/>
                  <a:pt x="565" y="566"/>
                  <a:pt x="565" y="567"/>
                </a:cubicBezTo>
                <a:cubicBezTo>
                  <a:pt x="566" y="566"/>
                  <a:pt x="566" y="566"/>
                  <a:pt x="566" y="566"/>
                </a:cubicBezTo>
                <a:cubicBezTo>
                  <a:pt x="566" y="565"/>
                  <a:pt x="566" y="564"/>
                  <a:pt x="565" y="564"/>
                </a:cubicBezTo>
                <a:cubicBezTo>
                  <a:pt x="567" y="563"/>
                  <a:pt x="565" y="561"/>
                  <a:pt x="565" y="559"/>
                </a:cubicBezTo>
                <a:cubicBezTo>
                  <a:pt x="565" y="558"/>
                  <a:pt x="568" y="557"/>
                  <a:pt x="566" y="556"/>
                </a:cubicBezTo>
                <a:cubicBezTo>
                  <a:pt x="570" y="558"/>
                  <a:pt x="566" y="547"/>
                  <a:pt x="564" y="546"/>
                </a:cubicBezTo>
                <a:cubicBezTo>
                  <a:pt x="565" y="547"/>
                  <a:pt x="561" y="552"/>
                  <a:pt x="562" y="552"/>
                </a:cubicBezTo>
                <a:cubicBezTo>
                  <a:pt x="562" y="552"/>
                  <a:pt x="562" y="552"/>
                  <a:pt x="562" y="552"/>
                </a:cubicBezTo>
                <a:cubicBezTo>
                  <a:pt x="562" y="552"/>
                  <a:pt x="562" y="552"/>
                  <a:pt x="562" y="553"/>
                </a:cubicBezTo>
                <a:cubicBezTo>
                  <a:pt x="562" y="553"/>
                  <a:pt x="563" y="554"/>
                  <a:pt x="562" y="554"/>
                </a:cubicBezTo>
                <a:cubicBezTo>
                  <a:pt x="560" y="555"/>
                  <a:pt x="561" y="553"/>
                  <a:pt x="560" y="552"/>
                </a:cubicBezTo>
                <a:cubicBezTo>
                  <a:pt x="560" y="552"/>
                  <a:pt x="560" y="552"/>
                  <a:pt x="559" y="552"/>
                </a:cubicBezTo>
                <a:cubicBezTo>
                  <a:pt x="559" y="553"/>
                  <a:pt x="558" y="553"/>
                  <a:pt x="557" y="552"/>
                </a:cubicBezTo>
                <a:cubicBezTo>
                  <a:pt x="557" y="552"/>
                  <a:pt x="557" y="552"/>
                  <a:pt x="557" y="552"/>
                </a:cubicBezTo>
                <a:cubicBezTo>
                  <a:pt x="556" y="552"/>
                  <a:pt x="555" y="552"/>
                  <a:pt x="555" y="552"/>
                </a:cubicBezTo>
                <a:cubicBezTo>
                  <a:pt x="555" y="552"/>
                  <a:pt x="553" y="548"/>
                  <a:pt x="553" y="547"/>
                </a:cubicBezTo>
                <a:cubicBezTo>
                  <a:pt x="552" y="547"/>
                  <a:pt x="548" y="543"/>
                  <a:pt x="549" y="542"/>
                </a:cubicBezTo>
                <a:cubicBezTo>
                  <a:pt x="551" y="540"/>
                  <a:pt x="551" y="543"/>
                  <a:pt x="552" y="543"/>
                </a:cubicBezTo>
                <a:cubicBezTo>
                  <a:pt x="553" y="543"/>
                  <a:pt x="553" y="540"/>
                  <a:pt x="554" y="540"/>
                </a:cubicBezTo>
                <a:cubicBezTo>
                  <a:pt x="554" y="539"/>
                  <a:pt x="556" y="541"/>
                  <a:pt x="557" y="540"/>
                </a:cubicBezTo>
                <a:cubicBezTo>
                  <a:pt x="556" y="540"/>
                  <a:pt x="556" y="537"/>
                  <a:pt x="558" y="537"/>
                </a:cubicBezTo>
                <a:cubicBezTo>
                  <a:pt x="560" y="537"/>
                  <a:pt x="558" y="539"/>
                  <a:pt x="559" y="540"/>
                </a:cubicBezTo>
                <a:cubicBezTo>
                  <a:pt x="559" y="541"/>
                  <a:pt x="561" y="540"/>
                  <a:pt x="561" y="540"/>
                </a:cubicBezTo>
                <a:cubicBezTo>
                  <a:pt x="562" y="540"/>
                  <a:pt x="561" y="542"/>
                  <a:pt x="563" y="543"/>
                </a:cubicBezTo>
                <a:cubicBezTo>
                  <a:pt x="563" y="543"/>
                  <a:pt x="565" y="543"/>
                  <a:pt x="565" y="543"/>
                </a:cubicBezTo>
                <a:cubicBezTo>
                  <a:pt x="567" y="546"/>
                  <a:pt x="567" y="553"/>
                  <a:pt x="572" y="553"/>
                </a:cubicBezTo>
                <a:cubicBezTo>
                  <a:pt x="573" y="554"/>
                  <a:pt x="573" y="552"/>
                  <a:pt x="573" y="551"/>
                </a:cubicBezTo>
                <a:cubicBezTo>
                  <a:pt x="575" y="553"/>
                  <a:pt x="582" y="559"/>
                  <a:pt x="581" y="564"/>
                </a:cubicBezTo>
                <a:cubicBezTo>
                  <a:pt x="581" y="564"/>
                  <a:pt x="579" y="567"/>
                  <a:pt x="579" y="567"/>
                </a:cubicBezTo>
                <a:cubicBezTo>
                  <a:pt x="578" y="568"/>
                  <a:pt x="577" y="568"/>
                  <a:pt x="576" y="568"/>
                </a:cubicBezTo>
                <a:cubicBezTo>
                  <a:pt x="576" y="569"/>
                  <a:pt x="575" y="569"/>
                  <a:pt x="575" y="569"/>
                </a:cubicBezTo>
                <a:cubicBezTo>
                  <a:pt x="575" y="569"/>
                  <a:pt x="575" y="569"/>
                  <a:pt x="575" y="569"/>
                </a:cubicBezTo>
                <a:cubicBezTo>
                  <a:pt x="574" y="569"/>
                  <a:pt x="574" y="569"/>
                  <a:pt x="573" y="569"/>
                </a:cubicBezTo>
                <a:cubicBezTo>
                  <a:pt x="574" y="571"/>
                  <a:pt x="575" y="573"/>
                  <a:pt x="575" y="574"/>
                </a:cubicBezTo>
                <a:cubicBezTo>
                  <a:pt x="577" y="574"/>
                  <a:pt x="576" y="572"/>
                  <a:pt x="576" y="571"/>
                </a:cubicBezTo>
                <a:cubicBezTo>
                  <a:pt x="577" y="572"/>
                  <a:pt x="577" y="572"/>
                  <a:pt x="577" y="572"/>
                </a:cubicBezTo>
                <a:cubicBezTo>
                  <a:pt x="578" y="571"/>
                  <a:pt x="578" y="570"/>
                  <a:pt x="579" y="570"/>
                </a:cubicBezTo>
                <a:cubicBezTo>
                  <a:pt x="580" y="570"/>
                  <a:pt x="579" y="572"/>
                  <a:pt x="580" y="572"/>
                </a:cubicBezTo>
                <a:cubicBezTo>
                  <a:pt x="581" y="573"/>
                  <a:pt x="580" y="571"/>
                  <a:pt x="582" y="573"/>
                </a:cubicBezTo>
                <a:cubicBezTo>
                  <a:pt x="583" y="575"/>
                  <a:pt x="581" y="577"/>
                  <a:pt x="582" y="579"/>
                </a:cubicBezTo>
                <a:cubicBezTo>
                  <a:pt x="582" y="579"/>
                  <a:pt x="582" y="579"/>
                  <a:pt x="582" y="579"/>
                </a:cubicBezTo>
                <a:cubicBezTo>
                  <a:pt x="583" y="579"/>
                  <a:pt x="584" y="578"/>
                  <a:pt x="584" y="578"/>
                </a:cubicBezTo>
                <a:cubicBezTo>
                  <a:pt x="584" y="578"/>
                  <a:pt x="585" y="580"/>
                  <a:pt x="587" y="580"/>
                </a:cubicBezTo>
                <a:cubicBezTo>
                  <a:pt x="588" y="580"/>
                  <a:pt x="587" y="579"/>
                  <a:pt x="587" y="579"/>
                </a:cubicBezTo>
                <a:cubicBezTo>
                  <a:pt x="588" y="579"/>
                  <a:pt x="592" y="580"/>
                  <a:pt x="592" y="579"/>
                </a:cubicBezTo>
                <a:cubicBezTo>
                  <a:pt x="593" y="581"/>
                  <a:pt x="591" y="582"/>
                  <a:pt x="591" y="584"/>
                </a:cubicBezTo>
                <a:cubicBezTo>
                  <a:pt x="591" y="584"/>
                  <a:pt x="592" y="588"/>
                  <a:pt x="592" y="588"/>
                </a:cubicBezTo>
                <a:cubicBezTo>
                  <a:pt x="592" y="588"/>
                  <a:pt x="594" y="587"/>
                  <a:pt x="595" y="588"/>
                </a:cubicBezTo>
                <a:cubicBezTo>
                  <a:pt x="596" y="589"/>
                  <a:pt x="596" y="591"/>
                  <a:pt x="598" y="592"/>
                </a:cubicBezTo>
                <a:cubicBezTo>
                  <a:pt x="599" y="592"/>
                  <a:pt x="601" y="596"/>
                  <a:pt x="601" y="598"/>
                </a:cubicBezTo>
                <a:cubicBezTo>
                  <a:pt x="599" y="602"/>
                  <a:pt x="593" y="597"/>
                  <a:pt x="592" y="604"/>
                </a:cubicBezTo>
                <a:cubicBezTo>
                  <a:pt x="587" y="602"/>
                  <a:pt x="595" y="611"/>
                  <a:pt x="594" y="612"/>
                </a:cubicBezTo>
                <a:cubicBezTo>
                  <a:pt x="594" y="612"/>
                  <a:pt x="594" y="612"/>
                  <a:pt x="594" y="612"/>
                </a:cubicBezTo>
                <a:cubicBezTo>
                  <a:pt x="595" y="612"/>
                  <a:pt x="595" y="613"/>
                  <a:pt x="594" y="613"/>
                </a:cubicBezTo>
                <a:cubicBezTo>
                  <a:pt x="594" y="613"/>
                  <a:pt x="594" y="613"/>
                  <a:pt x="594" y="613"/>
                </a:cubicBezTo>
                <a:cubicBezTo>
                  <a:pt x="592" y="613"/>
                  <a:pt x="593" y="612"/>
                  <a:pt x="594" y="612"/>
                </a:cubicBezTo>
                <a:cubicBezTo>
                  <a:pt x="592" y="612"/>
                  <a:pt x="589" y="606"/>
                  <a:pt x="589" y="611"/>
                </a:cubicBezTo>
                <a:cubicBezTo>
                  <a:pt x="589" y="613"/>
                  <a:pt x="592" y="612"/>
                  <a:pt x="593" y="613"/>
                </a:cubicBezTo>
                <a:cubicBezTo>
                  <a:pt x="593" y="615"/>
                  <a:pt x="591" y="617"/>
                  <a:pt x="591" y="619"/>
                </a:cubicBezTo>
                <a:cubicBezTo>
                  <a:pt x="591" y="619"/>
                  <a:pt x="593" y="622"/>
                  <a:pt x="594" y="622"/>
                </a:cubicBezTo>
                <a:cubicBezTo>
                  <a:pt x="596" y="622"/>
                  <a:pt x="596" y="620"/>
                  <a:pt x="598" y="622"/>
                </a:cubicBezTo>
                <a:cubicBezTo>
                  <a:pt x="599" y="622"/>
                  <a:pt x="597" y="621"/>
                  <a:pt x="598" y="621"/>
                </a:cubicBezTo>
                <a:cubicBezTo>
                  <a:pt x="598" y="623"/>
                  <a:pt x="600" y="622"/>
                  <a:pt x="599" y="620"/>
                </a:cubicBezTo>
                <a:cubicBezTo>
                  <a:pt x="601" y="623"/>
                  <a:pt x="600" y="626"/>
                  <a:pt x="603" y="625"/>
                </a:cubicBezTo>
                <a:cubicBezTo>
                  <a:pt x="603" y="625"/>
                  <a:pt x="608" y="621"/>
                  <a:pt x="608" y="621"/>
                </a:cubicBezTo>
                <a:cubicBezTo>
                  <a:pt x="608" y="617"/>
                  <a:pt x="604" y="622"/>
                  <a:pt x="601" y="620"/>
                </a:cubicBezTo>
                <a:cubicBezTo>
                  <a:pt x="599" y="618"/>
                  <a:pt x="606" y="619"/>
                  <a:pt x="607" y="618"/>
                </a:cubicBezTo>
                <a:cubicBezTo>
                  <a:pt x="608" y="617"/>
                  <a:pt x="606" y="617"/>
                  <a:pt x="607" y="616"/>
                </a:cubicBezTo>
                <a:cubicBezTo>
                  <a:pt x="607" y="615"/>
                  <a:pt x="610" y="614"/>
                  <a:pt x="609" y="613"/>
                </a:cubicBezTo>
                <a:cubicBezTo>
                  <a:pt x="608" y="613"/>
                  <a:pt x="607" y="616"/>
                  <a:pt x="606" y="614"/>
                </a:cubicBezTo>
                <a:cubicBezTo>
                  <a:pt x="605" y="613"/>
                  <a:pt x="608" y="611"/>
                  <a:pt x="608" y="612"/>
                </a:cubicBezTo>
                <a:cubicBezTo>
                  <a:pt x="609" y="610"/>
                  <a:pt x="609" y="610"/>
                  <a:pt x="610" y="609"/>
                </a:cubicBezTo>
                <a:cubicBezTo>
                  <a:pt x="610" y="609"/>
                  <a:pt x="609" y="608"/>
                  <a:pt x="609" y="608"/>
                </a:cubicBezTo>
                <a:cubicBezTo>
                  <a:pt x="610" y="608"/>
                  <a:pt x="611" y="609"/>
                  <a:pt x="611" y="609"/>
                </a:cubicBezTo>
                <a:cubicBezTo>
                  <a:pt x="613" y="610"/>
                  <a:pt x="615" y="611"/>
                  <a:pt x="616" y="612"/>
                </a:cubicBezTo>
                <a:cubicBezTo>
                  <a:pt x="616" y="612"/>
                  <a:pt x="616" y="612"/>
                  <a:pt x="616" y="612"/>
                </a:cubicBezTo>
                <a:cubicBezTo>
                  <a:pt x="617" y="611"/>
                  <a:pt x="616" y="611"/>
                  <a:pt x="616" y="610"/>
                </a:cubicBezTo>
                <a:cubicBezTo>
                  <a:pt x="616" y="610"/>
                  <a:pt x="617" y="609"/>
                  <a:pt x="617" y="609"/>
                </a:cubicBezTo>
                <a:cubicBezTo>
                  <a:pt x="615" y="608"/>
                  <a:pt x="613" y="606"/>
                  <a:pt x="613" y="605"/>
                </a:cubicBezTo>
                <a:cubicBezTo>
                  <a:pt x="613" y="603"/>
                  <a:pt x="616" y="603"/>
                  <a:pt x="614" y="601"/>
                </a:cubicBezTo>
                <a:cubicBezTo>
                  <a:pt x="613" y="601"/>
                  <a:pt x="610" y="602"/>
                  <a:pt x="610" y="602"/>
                </a:cubicBezTo>
                <a:cubicBezTo>
                  <a:pt x="610" y="602"/>
                  <a:pt x="608" y="602"/>
                  <a:pt x="608" y="602"/>
                </a:cubicBezTo>
                <a:cubicBezTo>
                  <a:pt x="607" y="603"/>
                  <a:pt x="608" y="605"/>
                  <a:pt x="608" y="606"/>
                </a:cubicBezTo>
                <a:cubicBezTo>
                  <a:pt x="606" y="607"/>
                  <a:pt x="605" y="604"/>
                  <a:pt x="604" y="603"/>
                </a:cubicBezTo>
                <a:cubicBezTo>
                  <a:pt x="608" y="604"/>
                  <a:pt x="605" y="600"/>
                  <a:pt x="605" y="598"/>
                </a:cubicBezTo>
                <a:cubicBezTo>
                  <a:pt x="604" y="597"/>
                  <a:pt x="605" y="595"/>
                  <a:pt x="605" y="594"/>
                </a:cubicBezTo>
                <a:cubicBezTo>
                  <a:pt x="604" y="593"/>
                  <a:pt x="602" y="594"/>
                  <a:pt x="602" y="592"/>
                </a:cubicBezTo>
                <a:cubicBezTo>
                  <a:pt x="603" y="591"/>
                  <a:pt x="604" y="592"/>
                  <a:pt x="604" y="592"/>
                </a:cubicBezTo>
                <a:cubicBezTo>
                  <a:pt x="605" y="592"/>
                  <a:pt x="603" y="589"/>
                  <a:pt x="605" y="588"/>
                </a:cubicBezTo>
                <a:cubicBezTo>
                  <a:pt x="605" y="588"/>
                  <a:pt x="607" y="589"/>
                  <a:pt x="608" y="590"/>
                </a:cubicBezTo>
                <a:cubicBezTo>
                  <a:pt x="609" y="590"/>
                  <a:pt x="610" y="590"/>
                  <a:pt x="611" y="591"/>
                </a:cubicBezTo>
                <a:cubicBezTo>
                  <a:pt x="611" y="588"/>
                  <a:pt x="613" y="584"/>
                  <a:pt x="614" y="584"/>
                </a:cubicBezTo>
                <a:cubicBezTo>
                  <a:pt x="615" y="582"/>
                  <a:pt x="617" y="585"/>
                  <a:pt x="617" y="582"/>
                </a:cubicBezTo>
                <a:cubicBezTo>
                  <a:pt x="618" y="585"/>
                  <a:pt x="621" y="582"/>
                  <a:pt x="622" y="582"/>
                </a:cubicBezTo>
                <a:cubicBezTo>
                  <a:pt x="623" y="582"/>
                  <a:pt x="622" y="584"/>
                  <a:pt x="623" y="584"/>
                </a:cubicBezTo>
                <a:cubicBezTo>
                  <a:pt x="623" y="585"/>
                  <a:pt x="624" y="584"/>
                  <a:pt x="625" y="585"/>
                </a:cubicBezTo>
                <a:cubicBezTo>
                  <a:pt x="625" y="585"/>
                  <a:pt x="625" y="585"/>
                  <a:pt x="625" y="585"/>
                </a:cubicBezTo>
                <a:cubicBezTo>
                  <a:pt x="626" y="585"/>
                  <a:pt x="628" y="585"/>
                  <a:pt x="629" y="585"/>
                </a:cubicBezTo>
                <a:cubicBezTo>
                  <a:pt x="629" y="585"/>
                  <a:pt x="629" y="584"/>
                  <a:pt x="630" y="584"/>
                </a:cubicBezTo>
                <a:cubicBezTo>
                  <a:pt x="629" y="584"/>
                  <a:pt x="628" y="584"/>
                  <a:pt x="628" y="584"/>
                </a:cubicBezTo>
                <a:cubicBezTo>
                  <a:pt x="627" y="583"/>
                  <a:pt x="626" y="583"/>
                  <a:pt x="626" y="582"/>
                </a:cubicBezTo>
                <a:cubicBezTo>
                  <a:pt x="626" y="581"/>
                  <a:pt x="625" y="581"/>
                  <a:pt x="625" y="580"/>
                </a:cubicBezTo>
                <a:cubicBezTo>
                  <a:pt x="625" y="580"/>
                  <a:pt x="625" y="580"/>
                  <a:pt x="624" y="580"/>
                </a:cubicBezTo>
                <a:cubicBezTo>
                  <a:pt x="624" y="580"/>
                  <a:pt x="624" y="579"/>
                  <a:pt x="624" y="579"/>
                </a:cubicBezTo>
                <a:cubicBezTo>
                  <a:pt x="624" y="577"/>
                  <a:pt x="624" y="575"/>
                  <a:pt x="622" y="574"/>
                </a:cubicBezTo>
                <a:cubicBezTo>
                  <a:pt x="624" y="576"/>
                  <a:pt x="625" y="573"/>
                  <a:pt x="625" y="573"/>
                </a:cubicBezTo>
                <a:cubicBezTo>
                  <a:pt x="625" y="573"/>
                  <a:pt x="625" y="573"/>
                  <a:pt x="625" y="572"/>
                </a:cubicBezTo>
                <a:cubicBezTo>
                  <a:pt x="625" y="572"/>
                  <a:pt x="625" y="572"/>
                  <a:pt x="625" y="572"/>
                </a:cubicBezTo>
                <a:cubicBezTo>
                  <a:pt x="625" y="572"/>
                  <a:pt x="625" y="573"/>
                  <a:pt x="625" y="573"/>
                </a:cubicBezTo>
                <a:cubicBezTo>
                  <a:pt x="623" y="574"/>
                  <a:pt x="619" y="571"/>
                  <a:pt x="619" y="570"/>
                </a:cubicBezTo>
                <a:cubicBezTo>
                  <a:pt x="619" y="569"/>
                  <a:pt x="619" y="570"/>
                  <a:pt x="620" y="569"/>
                </a:cubicBezTo>
                <a:cubicBezTo>
                  <a:pt x="620" y="567"/>
                  <a:pt x="618" y="565"/>
                  <a:pt x="620" y="562"/>
                </a:cubicBezTo>
                <a:cubicBezTo>
                  <a:pt x="621" y="563"/>
                  <a:pt x="620" y="565"/>
                  <a:pt x="621" y="566"/>
                </a:cubicBezTo>
                <a:cubicBezTo>
                  <a:pt x="621" y="567"/>
                  <a:pt x="622" y="565"/>
                  <a:pt x="622" y="565"/>
                </a:cubicBezTo>
                <a:cubicBezTo>
                  <a:pt x="624" y="565"/>
                  <a:pt x="627" y="568"/>
                  <a:pt x="626" y="571"/>
                </a:cubicBezTo>
                <a:cubicBezTo>
                  <a:pt x="627" y="572"/>
                  <a:pt x="628" y="572"/>
                  <a:pt x="628" y="573"/>
                </a:cubicBezTo>
                <a:cubicBezTo>
                  <a:pt x="629" y="573"/>
                  <a:pt x="629" y="572"/>
                  <a:pt x="629" y="572"/>
                </a:cubicBezTo>
                <a:cubicBezTo>
                  <a:pt x="628" y="570"/>
                  <a:pt x="628" y="568"/>
                  <a:pt x="627" y="566"/>
                </a:cubicBezTo>
                <a:cubicBezTo>
                  <a:pt x="626" y="565"/>
                  <a:pt x="625" y="565"/>
                  <a:pt x="624" y="565"/>
                </a:cubicBezTo>
                <a:cubicBezTo>
                  <a:pt x="624" y="564"/>
                  <a:pt x="624" y="563"/>
                  <a:pt x="623" y="563"/>
                </a:cubicBezTo>
                <a:cubicBezTo>
                  <a:pt x="622" y="562"/>
                  <a:pt x="622" y="564"/>
                  <a:pt x="621" y="563"/>
                </a:cubicBezTo>
                <a:cubicBezTo>
                  <a:pt x="620" y="562"/>
                  <a:pt x="621" y="561"/>
                  <a:pt x="621" y="561"/>
                </a:cubicBezTo>
                <a:cubicBezTo>
                  <a:pt x="622" y="560"/>
                  <a:pt x="624" y="562"/>
                  <a:pt x="625" y="562"/>
                </a:cubicBezTo>
                <a:cubicBezTo>
                  <a:pt x="626" y="561"/>
                  <a:pt x="626" y="560"/>
                  <a:pt x="627" y="559"/>
                </a:cubicBezTo>
                <a:cubicBezTo>
                  <a:pt x="628" y="558"/>
                  <a:pt x="630" y="559"/>
                  <a:pt x="629" y="555"/>
                </a:cubicBezTo>
                <a:cubicBezTo>
                  <a:pt x="631" y="560"/>
                  <a:pt x="631" y="555"/>
                  <a:pt x="632" y="554"/>
                </a:cubicBezTo>
                <a:cubicBezTo>
                  <a:pt x="632" y="555"/>
                  <a:pt x="638" y="557"/>
                  <a:pt x="639" y="557"/>
                </a:cubicBezTo>
                <a:cubicBezTo>
                  <a:pt x="640" y="557"/>
                  <a:pt x="641" y="560"/>
                  <a:pt x="643" y="561"/>
                </a:cubicBezTo>
                <a:cubicBezTo>
                  <a:pt x="643" y="560"/>
                  <a:pt x="643" y="560"/>
                  <a:pt x="642" y="560"/>
                </a:cubicBezTo>
                <a:cubicBezTo>
                  <a:pt x="643" y="560"/>
                  <a:pt x="644" y="560"/>
                  <a:pt x="644" y="561"/>
                </a:cubicBezTo>
                <a:cubicBezTo>
                  <a:pt x="644" y="561"/>
                  <a:pt x="644" y="561"/>
                  <a:pt x="645" y="561"/>
                </a:cubicBezTo>
                <a:cubicBezTo>
                  <a:pt x="644" y="561"/>
                  <a:pt x="644" y="561"/>
                  <a:pt x="644" y="560"/>
                </a:cubicBezTo>
                <a:cubicBezTo>
                  <a:pt x="644" y="560"/>
                  <a:pt x="644" y="560"/>
                  <a:pt x="644" y="559"/>
                </a:cubicBezTo>
                <a:cubicBezTo>
                  <a:pt x="644" y="559"/>
                  <a:pt x="644" y="559"/>
                  <a:pt x="644" y="559"/>
                </a:cubicBezTo>
                <a:cubicBezTo>
                  <a:pt x="644" y="559"/>
                  <a:pt x="644" y="559"/>
                  <a:pt x="644" y="559"/>
                </a:cubicBezTo>
                <a:cubicBezTo>
                  <a:pt x="644" y="557"/>
                  <a:pt x="646" y="551"/>
                  <a:pt x="647" y="548"/>
                </a:cubicBezTo>
                <a:cubicBezTo>
                  <a:pt x="646" y="547"/>
                  <a:pt x="646" y="547"/>
                  <a:pt x="646" y="546"/>
                </a:cubicBezTo>
                <a:cubicBezTo>
                  <a:pt x="646" y="545"/>
                  <a:pt x="647" y="546"/>
                  <a:pt x="648" y="546"/>
                </a:cubicBezTo>
                <a:cubicBezTo>
                  <a:pt x="648" y="546"/>
                  <a:pt x="649" y="545"/>
                  <a:pt x="649" y="546"/>
                </a:cubicBezTo>
                <a:cubicBezTo>
                  <a:pt x="650" y="546"/>
                  <a:pt x="650" y="547"/>
                  <a:pt x="650" y="549"/>
                </a:cubicBezTo>
                <a:cubicBezTo>
                  <a:pt x="650" y="548"/>
                  <a:pt x="651" y="548"/>
                  <a:pt x="651" y="548"/>
                </a:cubicBezTo>
                <a:cubicBezTo>
                  <a:pt x="652" y="548"/>
                  <a:pt x="653" y="550"/>
                  <a:pt x="653" y="551"/>
                </a:cubicBezTo>
                <a:cubicBezTo>
                  <a:pt x="654" y="551"/>
                  <a:pt x="655" y="551"/>
                  <a:pt x="655" y="552"/>
                </a:cubicBezTo>
                <a:cubicBezTo>
                  <a:pt x="656" y="553"/>
                  <a:pt x="655" y="554"/>
                  <a:pt x="655" y="555"/>
                </a:cubicBezTo>
                <a:cubicBezTo>
                  <a:pt x="655" y="555"/>
                  <a:pt x="656" y="554"/>
                  <a:pt x="656" y="552"/>
                </a:cubicBezTo>
                <a:cubicBezTo>
                  <a:pt x="656" y="551"/>
                  <a:pt x="654" y="549"/>
                  <a:pt x="654" y="548"/>
                </a:cubicBezTo>
                <a:cubicBezTo>
                  <a:pt x="654" y="548"/>
                  <a:pt x="653" y="548"/>
                  <a:pt x="653" y="548"/>
                </a:cubicBezTo>
                <a:cubicBezTo>
                  <a:pt x="654" y="544"/>
                  <a:pt x="661" y="548"/>
                  <a:pt x="659" y="550"/>
                </a:cubicBezTo>
                <a:cubicBezTo>
                  <a:pt x="659" y="550"/>
                  <a:pt x="657" y="550"/>
                  <a:pt x="657" y="550"/>
                </a:cubicBezTo>
                <a:cubicBezTo>
                  <a:pt x="657" y="551"/>
                  <a:pt x="659" y="555"/>
                  <a:pt x="659" y="557"/>
                </a:cubicBezTo>
                <a:cubicBezTo>
                  <a:pt x="659" y="558"/>
                  <a:pt x="659" y="559"/>
                  <a:pt x="659" y="559"/>
                </a:cubicBezTo>
                <a:cubicBezTo>
                  <a:pt x="660" y="560"/>
                  <a:pt x="662" y="559"/>
                  <a:pt x="663" y="560"/>
                </a:cubicBezTo>
                <a:cubicBezTo>
                  <a:pt x="663" y="560"/>
                  <a:pt x="663" y="561"/>
                  <a:pt x="663" y="561"/>
                </a:cubicBezTo>
                <a:cubicBezTo>
                  <a:pt x="664" y="562"/>
                  <a:pt x="666" y="564"/>
                  <a:pt x="666" y="564"/>
                </a:cubicBezTo>
                <a:cubicBezTo>
                  <a:pt x="667" y="564"/>
                  <a:pt x="667" y="562"/>
                  <a:pt x="666" y="562"/>
                </a:cubicBezTo>
                <a:cubicBezTo>
                  <a:pt x="666" y="562"/>
                  <a:pt x="669" y="561"/>
                  <a:pt x="669" y="563"/>
                </a:cubicBezTo>
                <a:cubicBezTo>
                  <a:pt x="669" y="563"/>
                  <a:pt x="669" y="563"/>
                  <a:pt x="669" y="564"/>
                </a:cubicBezTo>
                <a:cubicBezTo>
                  <a:pt x="670" y="563"/>
                  <a:pt x="670" y="563"/>
                  <a:pt x="671" y="563"/>
                </a:cubicBezTo>
                <a:cubicBezTo>
                  <a:pt x="670" y="562"/>
                  <a:pt x="669" y="562"/>
                  <a:pt x="669" y="561"/>
                </a:cubicBezTo>
                <a:cubicBezTo>
                  <a:pt x="669" y="561"/>
                  <a:pt x="669" y="562"/>
                  <a:pt x="668" y="562"/>
                </a:cubicBezTo>
                <a:cubicBezTo>
                  <a:pt x="668" y="562"/>
                  <a:pt x="667" y="562"/>
                  <a:pt x="667" y="561"/>
                </a:cubicBezTo>
                <a:cubicBezTo>
                  <a:pt x="667" y="561"/>
                  <a:pt x="666" y="560"/>
                  <a:pt x="667" y="559"/>
                </a:cubicBezTo>
                <a:cubicBezTo>
                  <a:pt x="668" y="559"/>
                  <a:pt x="668" y="560"/>
                  <a:pt x="668" y="560"/>
                </a:cubicBezTo>
                <a:cubicBezTo>
                  <a:pt x="668" y="560"/>
                  <a:pt x="668" y="560"/>
                  <a:pt x="668" y="560"/>
                </a:cubicBezTo>
                <a:cubicBezTo>
                  <a:pt x="668" y="560"/>
                  <a:pt x="668" y="560"/>
                  <a:pt x="668" y="560"/>
                </a:cubicBezTo>
                <a:cubicBezTo>
                  <a:pt x="668" y="560"/>
                  <a:pt x="669" y="560"/>
                  <a:pt x="669" y="560"/>
                </a:cubicBezTo>
                <a:cubicBezTo>
                  <a:pt x="668" y="559"/>
                  <a:pt x="669" y="558"/>
                  <a:pt x="671" y="557"/>
                </a:cubicBezTo>
                <a:cubicBezTo>
                  <a:pt x="672" y="557"/>
                  <a:pt x="673" y="558"/>
                  <a:pt x="674" y="559"/>
                </a:cubicBezTo>
                <a:cubicBezTo>
                  <a:pt x="673" y="559"/>
                  <a:pt x="673" y="559"/>
                  <a:pt x="674" y="559"/>
                </a:cubicBezTo>
                <a:cubicBezTo>
                  <a:pt x="674" y="557"/>
                  <a:pt x="674" y="559"/>
                  <a:pt x="675" y="559"/>
                </a:cubicBezTo>
                <a:cubicBezTo>
                  <a:pt x="675" y="558"/>
                  <a:pt x="675" y="558"/>
                  <a:pt x="675" y="557"/>
                </a:cubicBezTo>
                <a:cubicBezTo>
                  <a:pt x="675" y="557"/>
                  <a:pt x="675" y="557"/>
                  <a:pt x="675" y="557"/>
                </a:cubicBezTo>
                <a:cubicBezTo>
                  <a:pt x="675" y="557"/>
                  <a:pt x="675" y="556"/>
                  <a:pt x="675" y="556"/>
                </a:cubicBezTo>
                <a:cubicBezTo>
                  <a:pt x="677" y="554"/>
                  <a:pt x="678" y="556"/>
                  <a:pt x="679" y="557"/>
                </a:cubicBezTo>
                <a:cubicBezTo>
                  <a:pt x="679" y="553"/>
                  <a:pt x="679" y="553"/>
                  <a:pt x="679" y="553"/>
                </a:cubicBezTo>
                <a:cubicBezTo>
                  <a:pt x="679" y="553"/>
                  <a:pt x="678" y="553"/>
                  <a:pt x="677" y="552"/>
                </a:cubicBezTo>
                <a:cubicBezTo>
                  <a:pt x="673" y="549"/>
                  <a:pt x="676" y="544"/>
                  <a:pt x="679" y="544"/>
                </a:cubicBezTo>
                <a:cubicBezTo>
                  <a:pt x="679" y="543"/>
                  <a:pt x="679" y="543"/>
                  <a:pt x="679" y="543"/>
                </a:cubicBezTo>
                <a:cubicBezTo>
                  <a:pt x="679" y="543"/>
                  <a:pt x="679" y="542"/>
                  <a:pt x="679" y="542"/>
                </a:cubicBezTo>
                <a:cubicBezTo>
                  <a:pt x="679" y="542"/>
                  <a:pt x="679" y="543"/>
                  <a:pt x="679" y="543"/>
                </a:cubicBezTo>
                <a:cubicBezTo>
                  <a:pt x="679" y="511"/>
                  <a:pt x="679" y="511"/>
                  <a:pt x="679" y="511"/>
                </a:cubicBezTo>
                <a:cubicBezTo>
                  <a:pt x="678" y="509"/>
                  <a:pt x="677" y="507"/>
                  <a:pt x="677" y="506"/>
                </a:cubicBezTo>
                <a:cubicBezTo>
                  <a:pt x="678" y="507"/>
                  <a:pt x="679" y="508"/>
                  <a:pt x="679" y="509"/>
                </a:cubicBezTo>
                <a:cubicBezTo>
                  <a:pt x="679" y="508"/>
                  <a:pt x="679" y="508"/>
                  <a:pt x="679" y="508"/>
                </a:cubicBezTo>
                <a:cubicBezTo>
                  <a:pt x="679" y="507"/>
                  <a:pt x="678" y="507"/>
                  <a:pt x="679" y="507"/>
                </a:cubicBezTo>
                <a:cubicBezTo>
                  <a:pt x="679" y="423"/>
                  <a:pt x="679" y="423"/>
                  <a:pt x="679" y="423"/>
                </a:cubicBezTo>
                <a:cubicBezTo>
                  <a:pt x="679" y="423"/>
                  <a:pt x="679" y="422"/>
                  <a:pt x="679" y="422"/>
                </a:cubicBezTo>
                <a:cubicBezTo>
                  <a:pt x="679" y="422"/>
                  <a:pt x="679" y="422"/>
                  <a:pt x="679" y="422"/>
                </a:cubicBezTo>
                <a:cubicBezTo>
                  <a:pt x="679" y="196"/>
                  <a:pt x="679" y="196"/>
                  <a:pt x="679" y="196"/>
                </a:cubicBezTo>
                <a:cubicBezTo>
                  <a:pt x="521" y="105"/>
                  <a:pt x="521" y="105"/>
                  <a:pt x="521" y="105"/>
                </a:cubicBezTo>
                <a:cubicBezTo>
                  <a:pt x="520" y="105"/>
                  <a:pt x="517" y="104"/>
                  <a:pt x="516" y="103"/>
                </a:cubicBezTo>
                <a:cubicBezTo>
                  <a:pt x="516" y="103"/>
                  <a:pt x="517" y="102"/>
                  <a:pt x="517" y="102"/>
                </a:cubicBezTo>
                <a:cubicBezTo>
                  <a:pt x="340" y="0"/>
                  <a:pt x="340" y="0"/>
                  <a:pt x="340" y="0"/>
                </a:cubicBezTo>
                <a:cubicBezTo>
                  <a:pt x="329" y="7"/>
                  <a:pt x="329" y="7"/>
                  <a:pt x="329" y="7"/>
                </a:cubicBezTo>
                <a:cubicBezTo>
                  <a:pt x="330" y="7"/>
                  <a:pt x="330" y="7"/>
                  <a:pt x="328" y="7"/>
                </a:cubicBezTo>
                <a:cubicBezTo>
                  <a:pt x="315" y="15"/>
                  <a:pt x="315" y="15"/>
                  <a:pt x="315" y="15"/>
                </a:cubicBezTo>
                <a:cubicBezTo>
                  <a:pt x="315" y="15"/>
                  <a:pt x="315" y="15"/>
                  <a:pt x="315" y="15"/>
                </a:cubicBezTo>
                <a:cubicBezTo>
                  <a:pt x="315" y="15"/>
                  <a:pt x="314" y="15"/>
                  <a:pt x="314" y="15"/>
                </a:cubicBezTo>
                <a:cubicBezTo>
                  <a:pt x="298" y="25"/>
                  <a:pt x="298" y="25"/>
                  <a:pt x="298" y="25"/>
                </a:cubicBezTo>
                <a:cubicBezTo>
                  <a:pt x="299" y="24"/>
                  <a:pt x="301" y="24"/>
                  <a:pt x="301" y="25"/>
                </a:cubicBezTo>
                <a:cubicBezTo>
                  <a:pt x="302" y="27"/>
                  <a:pt x="300" y="27"/>
                  <a:pt x="301" y="28"/>
                </a:cubicBezTo>
                <a:cubicBezTo>
                  <a:pt x="301" y="30"/>
                  <a:pt x="303" y="30"/>
                  <a:pt x="306" y="31"/>
                </a:cubicBezTo>
                <a:cubicBezTo>
                  <a:pt x="305" y="30"/>
                  <a:pt x="305" y="30"/>
                  <a:pt x="305" y="30"/>
                </a:cubicBezTo>
                <a:cubicBezTo>
                  <a:pt x="306" y="30"/>
                  <a:pt x="306" y="30"/>
                  <a:pt x="306" y="31"/>
                </a:cubicBezTo>
                <a:cubicBezTo>
                  <a:pt x="308" y="31"/>
                  <a:pt x="310" y="31"/>
                  <a:pt x="311" y="32"/>
                </a:cubicBezTo>
                <a:cubicBezTo>
                  <a:pt x="314" y="34"/>
                  <a:pt x="318" y="34"/>
                  <a:pt x="318" y="34"/>
                </a:cubicBezTo>
                <a:cubicBezTo>
                  <a:pt x="318" y="35"/>
                  <a:pt x="316" y="37"/>
                  <a:pt x="317" y="39"/>
                </a:cubicBezTo>
                <a:cubicBezTo>
                  <a:pt x="317" y="41"/>
                  <a:pt x="319" y="40"/>
                  <a:pt x="317" y="41"/>
                </a:cubicBezTo>
                <a:cubicBezTo>
                  <a:pt x="315" y="42"/>
                  <a:pt x="318" y="42"/>
                  <a:pt x="315" y="42"/>
                </a:cubicBezTo>
                <a:cubicBezTo>
                  <a:pt x="313" y="42"/>
                  <a:pt x="307" y="41"/>
                  <a:pt x="309" y="37"/>
                </a:cubicBezTo>
                <a:cubicBezTo>
                  <a:pt x="309" y="36"/>
                  <a:pt x="311" y="35"/>
                  <a:pt x="309" y="34"/>
                </a:cubicBezTo>
                <a:cubicBezTo>
                  <a:pt x="308" y="34"/>
                  <a:pt x="306" y="35"/>
                  <a:pt x="305" y="34"/>
                </a:cubicBezTo>
                <a:cubicBezTo>
                  <a:pt x="302" y="33"/>
                  <a:pt x="298" y="30"/>
                  <a:pt x="295" y="29"/>
                </a:cubicBezTo>
                <a:cubicBezTo>
                  <a:pt x="293" y="29"/>
                  <a:pt x="292" y="29"/>
                  <a:pt x="290" y="29"/>
                </a:cubicBezTo>
                <a:cubicBezTo>
                  <a:pt x="280" y="35"/>
                  <a:pt x="280" y="35"/>
                  <a:pt x="280" y="35"/>
                </a:cubicBezTo>
                <a:cubicBezTo>
                  <a:pt x="284" y="37"/>
                  <a:pt x="288" y="43"/>
                  <a:pt x="285" y="47"/>
                </a:cubicBezTo>
                <a:cubicBezTo>
                  <a:pt x="286" y="47"/>
                  <a:pt x="285" y="47"/>
                  <a:pt x="285" y="47"/>
                </a:cubicBezTo>
                <a:cubicBezTo>
                  <a:pt x="285" y="47"/>
                  <a:pt x="285" y="47"/>
                  <a:pt x="285" y="47"/>
                </a:cubicBezTo>
                <a:cubicBezTo>
                  <a:pt x="286" y="48"/>
                  <a:pt x="285" y="47"/>
                  <a:pt x="285" y="47"/>
                </a:cubicBezTo>
                <a:cubicBezTo>
                  <a:pt x="285" y="47"/>
                  <a:pt x="285" y="48"/>
                  <a:pt x="284" y="48"/>
                </a:cubicBezTo>
                <a:cubicBezTo>
                  <a:pt x="285" y="49"/>
                  <a:pt x="286" y="50"/>
                  <a:pt x="286" y="49"/>
                </a:cubicBezTo>
                <a:cubicBezTo>
                  <a:pt x="285" y="51"/>
                  <a:pt x="288" y="52"/>
                  <a:pt x="289" y="53"/>
                </a:cubicBezTo>
                <a:cubicBezTo>
                  <a:pt x="290" y="54"/>
                  <a:pt x="288" y="56"/>
                  <a:pt x="290" y="56"/>
                </a:cubicBezTo>
                <a:cubicBezTo>
                  <a:pt x="285" y="57"/>
                  <a:pt x="295" y="64"/>
                  <a:pt x="296" y="64"/>
                </a:cubicBezTo>
                <a:cubicBezTo>
                  <a:pt x="296" y="64"/>
                  <a:pt x="296" y="57"/>
                  <a:pt x="296" y="58"/>
                </a:cubicBezTo>
                <a:cubicBezTo>
                  <a:pt x="296" y="58"/>
                  <a:pt x="296" y="58"/>
                  <a:pt x="296" y="58"/>
                </a:cubicBezTo>
                <a:cubicBezTo>
                  <a:pt x="295" y="58"/>
                  <a:pt x="295" y="57"/>
                  <a:pt x="295" y="57"/>
                </a:cubicBezTo>
                <a:cubicBezTo>
                  <a:pt x="295" y="57"/>
                  <a:pt x="294" y="56"/>
                  <a:pt x="294" y="56"/>
                </a:cubicBezTo>
                <a:cubicBezTo>
                  <a:pt x="296" y="54"/>
                  <a:pt x="296" y="57"/>
                  <a:pt x="297" y="57"/>
                </a:cubicBezTo>
                <a:cubicBezTo>
                  <a:pt x="297" y="57"/>
                  <a:pt x="297" y="57"/>
                  <a:pt x="297" y="57"/>
                </a:cubicBezTo>
                <a:cubicBezTo>
                  <a:pt x="297" y="56"/>
                  <a:pt x="298" y="55"/>
                  <a:pt x="299" y="55"/>
                </a:cubicBezTo>
                <a:cubicBezTo>
                  <a:pt x="299" y="55"/>
                  <a:pt x="299" y="55"/>
                  <a:pt x="299" y="55"/>
                </a:cubicBezTo>
                <a:cubicBezTo>
                  <a:pt x="300" y="55"/>
                  <a:pt x="301" y="54"/>
                  <a:pt x="302" y="54"/>
                </a:cubicBezTo>
                <a:cubicBezTo>
                  <a:pt x="302" y="54"/>
                  <a:pt x="305" y="57"/>
                  <a:pt x="306" y="57"/>
                </a:cubicBezTo>
                <a:cubicBezTo>
                  <a:pt x="306" y="58"/>
                  <a:pt x="312" y="59"/>
                  <a:pt x="311" y="60"/>
                </a:cubicBezTo>
                <a:cubicBezTo>
                  <a:pt x="311" y="62"/>
                  <a:pt x="309" y="60"/>
                  <a:pt x="308" y="61"/>
                </a:cubicBezTo>
                <a:cubicBezTo>
                  <a:pt x="307" y="61"/>
                  <a:pt x="309" y="63"/>
                  <a:pt x="309" y="64"/>
                </a:cubicBezTo>
                <a:cubicBezTo>
                  <a:pt x="308" y="65"/>
                  <a:pt x="307" y="65"/>
                  <a:pt x="306" y="66"/>
                </a:cubicBezTo>
                <a:cubicBezTo>
                  <a:pt x="306" y="65"/>
                  <a:pt x="308" y="68"/>
                  <a:pt x="306" y="69"/>
                </a:cubicBezTo>
                <a:cubicBezTo>
                  <a:pt x="304" y="70"/>
                  <a:pt x="305" y="67"/>
                  <a:pt x="304" y="67"/>
                </a:cubicBezTo>
                <a:cubicBezTo>
                  <a:pt x="303" y="66"/>
                  <a:pt x="303" y="68"/>
                  <a:pt x="302" y="68"/>
                </a:cubicBezTo>
                <a:cubicBezTo>
                  <a:pt x="301" y="68"/>
                  <a:pt x="301" y="66"/>
                  <a:pt x="299" y="66"/>
                </a:cubicBezTo>
                <a:cubicBezTo>
                  <a:pt x="298" y="66"/>
                  <a:pt x="298" y="67"/>
                  <a:pt x="297" y="67"/>
                </a:cubicBezTo>
                <a:cubicBezTo>
                  <a:pt x="294" y="65"/>
                  <a:pt x="291" y="60"/>
                  <a:pt x="286" y="62"/>
                </a:cubicBezTo>
                <a:cubicBezTo>
                  <a:pt x="285" y="62"/>
                  <a:pt x="286" y="63"/>
                  <a:pt x="287" y="64"/>
                </a:cubicBezTo>
                <a:cubicBezTo>
                  <a:pt x="283" y="64"/>
                  <a:pt x="275" y="63"/>
                  <a:pt x="273" y="57"/>
                </a:cubicBezTo>
                <a:cubicBezTo>
                  <a:pt x="273" y="57"/>
                  <a:pt x="273" y="54"/>
                  <a:pt x="273" y="53"/>
                </a:cubicBezTo>
                <a:cubicBezTo>
                  <a:pt x="273" y="53"/>
                  <a:pt x="274" y="52"/>
                  <a:pt x="275" y="51"/>
                </a:cubicBezTo>
                <a:cubicBezTo>
                  <a:pt x="275" y="51"/>
                  <a:pt x="275" y="50"/>
                  <a:pt x="276" y="50"/>
                </a:cubicBezTo>
                <a:cubicBezTo>
                  <a:pt x="276" y="50"/>
                  <a:pt x="276" y="50"/>
                  <a:pt x="276" y="50"/>
                </a:cubicBezTo>
                <a:cubicBezTo>
                  <a:pt x="276" y="50"/>
                  <a:pt x="276" y="49"/>
                  <a:pt x="277" y="49"/>
                </a:cubicBezTo>
                <a:cubicBezTo>
                  <a:pt x="275" y="48"/>
                  <a:pt x="274" y="46"/>
                  <a:pt x="273" y="45"/>
                </a:cubicBezTo>
                <a:cubicBezTo>
                  <a:pt x="271" y="47"/>
                  <a:pt x="273" y="48"/>
                  <a:pt x="273" y="49"/>
                </a:cubicBezTo>
                <a:cubicBezTo>
                  <a:pt x="273" y="49"/>
                  <a:pt x="272" y="48"/>
                  <a:pt x="272" y="48"/>
                </a:cubicBezTo>
                <a:cubicBezTo>
                  <a:pt x="272" y="49"/>
                  <a:pt x="272" y="50"/>
                  <a:pt x="271" y="51"/>
                </a:cubicBezTo>
                <a:cubicBezTo>
                  <a:pt x="270" y="51"/>
                  <a:pt x="270" y="50"/>
                  <a:pt x="270" y="50"/>
                </a:cubicBezTo>
                <a:cubicBezTo>
                  <a:pt x="268" y="49"/>
                  <a:pt x="270" y="51"/>
                  <a:pt x="267" y="50"/>
                </a:cubicBezTo>
                <a:cubicBezTo>
                  <a:pt x="266" y="49"/>
                  <a:pt x="266" y="46"/>
                  <a:pt x="265" y="45"/>
                </a:cubicBezTo>
                <a:cubicBezTo>
                  <a:pt x="265" y="45"/>
                  <a:pt x="264" y="45"/>
                  <a:pt x="264" y="45"/>
                </a:cubicBezTo>
                <a:cubicBezTo>
                  <a:pt x="264" y="46"/>
                  <a:pt x="263" y="47"/>
                  <a:pt x="263" y="47"/>
                </a:cubicBezTo>
                <a:cubicBezTo>
                  <a:pt x="263" y="47"/>
                  <a:pt x="261" y="45"/>
                  <a:pt x="260" y="47"/>
                </a:cubicBezTo>
                <a:cubicBezTo>
                  <a:pt x="259" y="47"/>
                  <a:pt x="260" y="48"/>
                  <a:pt x="260" y="48"/>
                </a:cubicBezTo>
                <a:cubicBezTo>
                  <a:pt x="259" y="48"/>
                  <a:pt x="255" y="50"/>
                  <a:pt x="256" y="50"/>
                </a:cubicBezTo>
                <a:cubicBezTo>
                  <a:pt x="255" y="50"/>
                  <a:pt x="255" y="49"/>
                  <a:pt x="255" y="49"/>
                </a:cubicBezTo>
                <a:cubicBezTo>
                  <a:pt x="245" y="55"/>
                  <a:pt x="245" y="55"/>
                  <a:pt x="245" y="55"/>
                </a:cubicBezTo>
                <a:cubicBezTo>
                  <a:pt x="246" y="56"/>
                  <a:pt x="246" y="57"/>
                  <a:pt x="247" y="58"/>
                </a:cubicBezTo>
                <a:cubicBezTo>
                  <a:pt x="245" y="59"/>
                  <a:pt x="243" y="58"/>
                  <a:pt x="241" y="57"/>
                </a:cubicBezTo>
                <a:cubicBezTo>
                  <a:pt x="227" y="66"/>
                  <a:pt x="227" y="66"/>
                  <a:pt x="227" y="66"/>
                </a:cubicBezTo>
                <a:cubicBezTo>
                  <a:pt x="227" y="66"/>
                  <a:pt x="227" y="66"/>
                  <a:pt x="227" y="66"/>
                </a:cubicBezTo>
                <a:cubicBezTo>
                  <a:pt x="227" y="66"/>
                  <a:pt x="227" y="66"/>
                  <a:pt x="227" y="66"/>
                </a:cubicBezTo>
                <a:cubicBezTo>
                  <a:pt x="228" y="65"/>
                  <a:pt x="228" y="66"/>
                  <a:pt x="228" y="66"/>
                </a:cubicBezTo>
                <a:cubicBezTo>
                  <a:pt x="229" y="68"/>
                  <a:pt x="230" y="69"/>
                  <a:pt x="232" y="70"/>
                </a:cubicBezTo>
                <a:cubicBezTo>
                  <a:pt x="229" y="69"/>
                  <a:pt x="231" y="72"/>
                  <a:pt x="230" y="73"/>
                </a:cubicBezTo>
                <a:cubicBezTo>
                  <a:pt x="230" y="73"/>
                  <a:pt x="230" y="73"/>
                  <a:pt x="230" y="73"/>
                </a:cubicBezTo>
                <a:cubicBezTo>
                  <a:pt x="230" y="73"/>
                  <a:pt x="230" y="73"/>
                  <a:pt x="230" y="73"/>
                </a:cubicBezTo>
                <a:cubicBezTo>
                  <a:pt x="231" y="73"/>
                  <a:pt x="231" y="72"/>
                  <a:pt x="231" y="72"/>
                </a:cubicBezTo>
                <a:cubicBezTo>
                  <a:pt x="232" y="70"/>
                  <a:pt x="236" y="71"/>
                  <a:pt x="237" y="71"/>
                </a:cubicBezTo>
                <a:cubicBezTo>
                  <a:pt x="238" y="72"/>
                  <a:pt x="237" y="72"/>
                  <a:pt x="237" y="73"/>
                </a:cubicBezTo>
                <a:cubicBezTo>
                  <a:pt x="237" y="74"/>
                  <a:pt x="241" y="76"/>
                  <a:pt x="240" y="79"/>
                </a:cubicBezTo>
                <a:cubicBezTo>
                  <a:pt x="239" y="78"/>
                  <a:pt x="239" y="76"/>
                  <a:pt x="238" y="76"/>
                </a:cubicBezTo>
                <a:cubicBezTo>
                  <a:pt x="237" y="76"/>
                  <a:pt x="237" y="77"/>
                  <a:pt x="237" y="78"/>
                </a:cubicBezTo>
                <a:cubicBezTo>
                  <a:pt x="236" y="79"/>
                  <a:pt x="231" y="77"/>
                  <a:pt x="230" y="74"/>
                </a:cubicBezTo>
                <a:cubicBezTo>
                  <a:pt x="229" y="74"/>
                  <a:pt x="229" y="74"/>
                  <a:pt x="228" y="74"/>
                </a:cubicBezTo>
                <a:cubicBezTo>
                  <a:pt x="227" y="74"/>
                  <a:pt x="227" y="74"/>
                  <a:pt x="227" y="75"/>
                </a:cubicBezTo>
                <a:cubicBezTo>
                  <a:pt x="229" y="76"/>
                  <a:pt x="230" y="78"/>
                  <a:pt x="232" y="79"/>
                </a:cubicBezTo>
                <a:cubicBezTo>
                  <a:pt x="233" y="79"/>
                  <a:pt x="234" y="79"/>
                  <a:pt x="235" y="79"/>
                </a:cubicBezTo>
                <a:cubicBezTo>
                  <a:pt x="236" y="79"/>
                  <a:pt x="236" y="80"/>
                  <a:pt x="237" y="80"/>
                </a:cubicBezTo>
                <a:cubicBezTo>
                  <a:pt x="239" y="80"/>
                  <a:pt x="237" y="78"/>
                  <a:pt x="239" y="79"/>
                </a:cubicBezTo>
                <a:cubicBezTo>
                  <a:pt x="240" y="79"/>
                  <a:pt x="240" y="80"/>
                  <a:pt x="240" y="81"/>
                </a:cubicBezTo>
                <a:cubicBezTo>
                  <a:pt x="240" y="82"/>
                  <a:pt x="237" y="81"/>
                  <a:pt x="236" y="82"/>
                </a:cubicBezTo>
                <a:cubicBezTo>
                  <a:pt x="236" y="82"/>
                  <a:pt x="236" y="84"/>
                  <a:pt x="236" y="85"/>
                </a:cubicBezTo>
                <a:cubicBezTo>
                  <a:pt x="235" y="87"/>
                  <a:pt x="233" y="86"/>
                  <a:pt x="236" y="89"/>
                </a:cubicBezTo>
                <a:cubicBezTo>
                  <a:pt x="232" y="86"/>
                  <a:pt x="234" y="91"/>
                  <a:pt x="234" y="92"/>
                </a:cubicBezTo>
                <a:cubicBezTo>
                  <a:pt x="234" y="91"/>
                  <a:pt x="227" y="93"/>
                  <a:pt x="227" y="93"/>
                </a:cubicBezTo>
                <a:cubicBezTo>
                  <a:pt x="226" y="93"/>
                  <a:pt x="223" y="92"/>
                  <a:pt x="221" y="92"/>
                </a:cubicBezTo>
                <a:cubicBezTo>
                  <a:pt x="221" y="92"/>
                  <a:pt x="222" y="92"/>
                  <a:pt x="222" y="92"/>
                </a:cubicBezTo>
                <a:cubicBezTo>
                  <a:pt x="221" y="93"/>
                  <a:pt x="221" y="92"/>
                  <a:pt x="220" y="92"/>
                </a:cubicBezTo>
                <a:cubicBezTo>
                  <a:pt x="220" y="92"/>
                  <a:pt x="220" y="92"/>
                  <a:pt x="220" y="92"/>
                </a:cubicBezTo>
                <a:cubicBezTo>
                  <a:pt x="220" y="92"/>
                  <a:pt x="220" y="92"/>
                  <a:pt x="221" y="93"/>
                </a:cubicBezTo>
                <a:cubicBezTo>
                  <a:pt x="221" y="93"/>
                  <a:pt x="221" y="93"/>
                  <a:pt x="221" y="93"/>
                </a:cubicBezTo>
                <a:cubicBezTo>
                  <a:pt x="221" y="93"/>
                  <a:pt x="221" y="93"/>
                  <a:pt x="221" y="93"/>
                </a:cubicBezTo>
                <a:cubicBezTo>
                  <a:pt x="221" y="93"/>
                  <a:pt x="221" y="93"/>
                  <a:pt x="221" y="93"/>
                </a:cubicBezTo>
                <a:cubicBezTo>
                  <a:pt x="223" y="96"/>
                  <a:pt x="224" y="101"/>
                  <a:pt x="224" y="105"/>
                </a:cubicBezTo>
                <a:cubicBezTo>
                  <a:pt x="225" y="105"/>
                  <a:pt x="226" y="105"/>
                  <a:pt x="226" y="106"/>
                </a:cubicBezTo>
                <a:cubicBezTo>
                  <a:pt x="226" y="107"/>
                  <a:pt x="225" y="107"/>
                  <a:pt x="224" y="107"/>
                </a:cubicBezTo>
                <a:cubicBezTo>
                  <a:pt x="224" y="107"/>
                  <a:pt x="224" y="108"/>
                  <a:pt x="224" y="108"/>
                </a:cubicBezTo>
                <a:cubicBezTo>
                  <a:pt x="223" y="108"/>
                  <a:pt x="222" y="107"/>
                  <a:pt x="221" y="106"/>
                </a:cubicBezTo>
                <a:cubicBezTo>
                  <a:pt x="221" y="106"/>
                  <a:pt x="221" y="107"/>
                  <a:pt x="221" y="107"/>
                </a:cubicBezTo>
                <a:cubicBezTo>
                  <a:pt x="219" y="107"/>
                  <a:pt x="218" y="106"/>
                  <a:pt x="218" y="105"/>
                </a:cubicBezTo>
                <a:cubicBezTo>
                  <a:pt x="217" y="106"/>
                  <a:pt x="216" y="106"/>
                  <a:pt x="215" y="105"/>
                </a:cubicBezTo>
                <a:cubicBezTo>
                  <a:pt x="214" y="105"/>
                  <a:pt x="214" y="104"/>
                  <a:pt x="214" y="103"/>
                </a:cubicBezTo>
                <a:cubicBezTo>
                  <a:pt x="214" y="103"/>
                  <a:pt x="213" y="104"/>
                  <a:pt x="214" y="105"/>
                </a:cubicBezTo>
                <a:cubicBezTo>
                  <a:pt x="215" y="106"/>
                  <a:pt x="218" y="108"/>
                  <a:pt x="218" y="108"/>
                </a:cubicBezTo>
                <a:cubicBezTo>
                  <a:pt x="218" y="108"/>
                  <a:pt x="219" y="108"/>
                  <a:pt x="219" y="108"/>
                </a:cubicBezTo>
                <a:cubicBezTo>
                  <a:pt x="220" y="111"/>
                  <a:pt x="212" y="112"/>
                  <a:pt x="213" y="109"/>
                </a:cubicBezTo>
                <a:cubicBezTo>
                  <a:pt x="213" y="109"/>
                  <a:pt x="214" y="108"/>
                  <a:pt x="214" y="108"/>
                </a:cubicBezTo>
                <a:cubicBezTo>
                  <a:pt x="214" y="107"/>
                  <a:pt x="210" y="104"/>
                  <a:pt x="209" y="103"/>
                </a:cubicBezTo>
                <a:cubicBezTo>
                  <a:pt x="209" y="102"/>
                  <a:pt x="208" y="102"/>
                  <a:pt x="208" y="101"/>
                </a:cubicBezTo>
                <a:cubicBezTo>
                  <a:pt x="207" y="101"/>
                  <a:pt x="206" y="103"/>
                  <a:pt x="205" y="103"/>
                </a:cubicBezTo>
                <a:cubicBezTo>
                  <a:pt x="204" y="103"/>
                  <a:pt x="204" y="102"/>
                  <a:pt x="203" y="101"/>
                </a:cubicBezTo>
                <a:cubicBezTo>
                  <a:pt x="203" y="101"/>
                  <a:pt x="200" y="100"/>
                  <a:pt x="199" y="101"/>
                </a:cubicBezTo>
                <a:cubicBezTo>
                  <a:pt x="199" y="101"/>
                  <a:pt x="200" y="103"/>
                  <a:pt x="200" y="102"/>
                </a:cubicBezTo>
                <a:cubicBezTo>
                  <a:pt x="200" y="102"/>
                  <a:pt x="199" y="104"/>
                  <a:pt x="197" y="103"/>
                </a:cubicBezTo>
                <a:cubicBezTo>
                  <a:pt x="197" y="103"/>
                  <a:pt x="197" y="103"/>
                  <a:pt x="197" y="103"/>
                </a:cubicBezTo>
                <a:cubicBezTo>
                  <a:pt x="197" y="103"/>
                  <a:pt x="197" y="103"/>
                  <a:pt x="196" y="104"/>
                </a:cubicBezTo>
                <a:cubicBezTo>
                  <a:pt x="197" y="104"/>
                  <a:pt x="198" y="104"/>
                  <a:pt x="199" y="105"/>
                </a:cubicBezTo>
                <a:cubicBezTo>
                  <a:pt x="198" y="104"/>
                  <a:pt x="198" y="104"/>
                  <a:pt x="199" y="104"/>
                </a:cubicBezTo>
                <a:cubicBezTo>
                  <a:pt x="199" y="103"/>
                  <a:pt x="200" y="103"/>
                  <a:pt x="200" y="104"/>
                </a:cubicBezTo>
                <a:cubicBezTo>
                  <a:pt x="201" y="104"/>
                  <a:pt x="202" y="104"/>
                  <a:pt x="201" y="105"/>
                </a:cubicBezTo>
                <a:cubicBezTo>
                  <a:pt x="201" y="106"/>
                  <a:pt x="200" y="105"/>
                  <a:pt x="200" y="105"/>
                </a:cubicBezTo>
                <a:cubicBezTo>
                  <a:pt x="200" y="105"/>
                  <a:pt x="200" y="105"/>
                  <a:pt x="200" y="105"/>
                </a:cubicBezTo>
                <a:cubicBezTo>
                  <a:pt x="200" y="105"/>
                  <a:pt x="200" y="105"/>
                  <a:pt x="200" y="105"/>
                </a:cubicBezTo>
                <a:cubicBezTo>
                  <a:pt x="200" y="105"/>
                  <a:pt x="199" y="105"/>
                  <a:pt x="199" y="105"/>
                </a:cubicBezTo>
                <a:cubicBezTo>
                  <a:pt x="200" y="106"/>
                  <a:pt x="201" y="107"/>
                  <a:pt x="199" y="109"/>
                </a:cubicBezTo>
                <a:cubicBezTo>
                  <a:pt x="198" y="110"/>
                  <a:pt x="197" y="109"/>
                  <a:pt x="196" y="108"/>
                </a:cubicBezTo>
                <a:cubicBezTo>
                  <a:pt x="196" y="109"/>
                  <a:pt x="196" y="109"/>
                  <a:pt x="196" y="109"/>
                </a:cubicBezTo>
                <a:cubicBezTo>
                  <a:pt x="196" y="111"/>
                  <a:pt x="195" y="109"/>
                  <a:pt x="195" y="110"/>
                </a:cubicBezTo>
                <a:cubicBezTo>
                  <a:pt x="194" y="110"/>
                  <a:pt x="195" y="110"/>
                  <a:pt x="195" y="111"/>
                </a:cubicBezTo>
                <a:cubicBezTo>
                  <a:pt x="196" y="111"/>
                  <a:pt x="196" y="111"/>
                  <a:pt x="195" y="111"/>
                </a:cubicBezTo>
                <a:cubicBezTo>
                  <a:pt x="196" y="111"/>
                  <a:pt x="196" y="112"/>
                  <a:pt x="196" y="112"/>
                </a:cubicBezTo>
                <a:cubicBezTo>
                  <a:pt x="195" y="115"/>
                  <a:pt x="191" y="113"/>
                  <a:pt x="189" y="114"/>
                </a:cubicBezTo>
                <a:cubicBezTo>
                  <a:pt x="190" y="115"/>
                  <a:pt x="190" y="117"/>
                  <a:pt x="190" y="117"/>
                </a:cubicBezTo>
                <a:cubicBezTo>
                  <a:pt x="191" y="118"/>
                  <a:pt x="192" y="118"/>
                  <a:pt x="193" y="118"/>
                </a:cubicBezTo>
                <a:cubicBezTo>
                  <a:pt x="194" y="117"/>
                  <a:pt x="195" y="116"/>
                  <a:pt x="197" y="116"/>
                </a:cubicBezTo>
                <a:cubicBezTo>
                  <a:pt x="201" y="117"/>
                  <a:pt x="201" y="123"/>
                  <a:pt x="198" y="125"/>
                </a:cubicBezTo>
                <a:cubicBezTo>
                  <a:pt x="198" y="125"/>
                  <a:pt x="198" y="126"/>
                  <a:pt x="200" y="126"/>
                </a:cubicBezTo>
                <a:cubicBezTo>
                  <a:pt x="199" y="126"/>
                  <a:pt x="199" y="126"/>
                  <a:pt x="198" y="126"/>
                </a:cubicBezTo>
                <a:cubicBezTo>
                  <a:pt x="200" y="127"/>
                  <a:pt x="201" y="130"/>
                  <a:pt x="200" y="132"/>
                </a:cubicBezTo>
                <a:cubicBezTo>
                  <a:pt x="201" y="133"/>
                  <a:pt x="202" y="134"/>
                  <a:pt x="201" y="135"/>
                </a:cubicBezTo>
                <a:cubicBezTo>
                  <a:pt x="201" y="135"/>
                  <a:pt x="200" y="134"/>
                  <a:pt x="200" y="133"/>
                </a:cubicBezTo>
                <a:cubicBezTo>
                  <a:pt x="200" y="133"/>
                  <a:pt x="200" y="133"/>
                  <a:pt x="199" y="133"/>
                </a:cubicBezTo>
                <a:cubicBezTo>
                  <a:pt x="199" y="134"/>
                  <a:pt x="198" y="134"/>
                  <a:pt x="197" y="134"/>
                </a:cubicBezTo>
                <a:cubicBezTo>
                  <a:pt x="196" y="136"/>
                  <a:pt x="196" y="138"/>
                  <a:pt x="193" y="136"/>
                </a:cubicBezTo>
                <a:cubicBezTo>
                  <a:pt x="191" y="136"/>
                  <a:pt x="190" y="137"/>
                  <a:pt x="189" y="137"/>
                </a:cubicBezTo>
                <a:cubicBezTo>
                  <a:pt x="189" y="137"/>
                  <a:pt x="188" y="136"/>
                  <a:pt x="187" y="136"/>
                </a:cubicBezTo>
                <a:cubicBezTo>
                  <a:pt x="189" y="138"/>
                  <a:pt x="191" y="139"/>
                  <a:pt x="193" y="141"/>
                </a:cubicBezTo>
                <a:cubicBezTo>
                  <a:pt x="195" y="138"/>
                  <a:pt x="197" y="136"/>
                  <a:pt x="199" y="140"/>
                </a:cubicBezTo>
                <a:cubicBezTo>
                  <a:pt x="200" y="140"/>
                  <a:pt x="200" y="141"/>
                  <a:pt x="200" y="142"/>
                </a:cubicBezTo>
                <a:cubicBezTo>
                  <a:pt x="200" y="140"/>
                  <a:pt x="205" y="140"/>
                  <a:pt x="203" y="143"/>
                </a:cubicBezTo>
                <a:cubicBezTo>
                  <a:pt x="203" y="144"/>
                  <a:pt x="202" y="143"/>
                  <a:pt x="201" y="143"/>
                </a:cubicBezTo>
                <a:cubicBezTo>
                  <a:pt x="201" y="143"/>
                  <a:pt x="201" y="142"/>
                  <a:pt x="200" y="142"/>
                </a:cubicBezTo>
                <a:cubicBezTo>
                  <a:pt x="201" y="144"/>
                  <a:pt x="202" y="147"/>
                  <a:pt x="203" y="147"/>
                </a:cubicBezTo>
                <a:cubicBezTo>
                  <a:pt x="205" y="149"/>
                  <a:pt x="205" y="148"/>
                  <a:pt x="204" y="150"/>
                </a:cubicBezTo>
                <a:cubicBezTo>
                  <a:pt x="204" y="151"/>
                  <a:pt x="203" y="152"/>
                  <a:pt x="204" y="153"/>
                </a:cubicBezTo>
                <a:cubicBezTo>
                  <a:pt x="204" y="153"/>
                  <a:pt x="209" y="155"/>
                  <a:pt x="206" y="156"/>
                </a:cubicBezTo>
                <a:cubicBezTo>
                  <a:pt x="205" y="156"/>
                  <a:pt x="205" y="155"/>
                  <a:pt x="204" y="155"/>
                </a:cubicBezTo>
                <a:cubicBezTo>
                  <a:pt x="203" y="156"/>
                  <a:pt x="204" y="159"/>
                  <a:pt x="204" y="160"/>
                </a:cubicBezTo>
                <a:cubicBezTo>
                  <a:pt x="203" y="160"/>
                  <a:pt x="200" y="156"/>
                  <a:pt x="199" y="159"/>
                </a:cubicBezTo>
                <a:cubicBezTo>
                  <a:pt x="198" y="160"/>
                  <a:pt x="198" y="160"/>
                  <a:pt x="198" y="160"/>
                </a:cubicBezTo>
                <a:cubicBezTo>
                  <a:pt x="198" y="160"/>
                  <a:pt x="198" y="160"/>
                  <a:pt x="198" y="160"/>
                </a:cubicBezTo>
                <a:cubicBezTo>
                  <a:pt x="196" y="159"/>
                  <a:pt x="196" y="159"/>
                  <a:pt x="195" y="160"/>
                </a:cubicBezTo>
                <a:cubicBezTo>
                  <a:pt x="196" y="161"/>
                  <a:pt x="196" y="162"/>
                  <a:pt x="195" y="163"/>
                </a:cubicBezTo>
                <a:cubicBezTo>
                  <a:pt x="194" y="163"/>
                  <a:pt x="194" y="162"/>
                  <a:pt x="193" y="162"/>
                </a:cubicBezTo>
                <a:cubicBezTo>
                  <a:pt x="193" y="161"/>
                  <a:pt x="193" y="161"/>
                  <a:pt x="193" y="161"/>
                </a:cubicBezTo>
                <a:cubicBezTo>
                  <a:pt x="192" y="162"/>
                  <a:pt x="192" y="163"/>
                  <a:pt x="192" y="164"/>
                </a:cubicBezTo>
                <a:cubicBezTo>
                  <a:pt x="191" y="165"/>
                  <a:pt x="189" y="163"/>
                  <a:pt x="188" y="163"/>
                </a:cubicBezTo>
                <a:cubicBezTo>
                  <a:pt x="185" y="165"/>
                  <a:pt x="189" y="167"/>
                  <a:pt x="189" y="170"/>
                </a:cubicBezTo>
                <a:cubicBezTo>
                  <a:pt x="189" y="170"/>
                  <a:pt x="187" y="172"/>
                  <a:pt x="189" y="173"/>
                </a:cubicBezTo>
                <a:cubicBezTo>
                  <a:pt x="190" y="174"/>
                  <a:pt x="192" y="172"/>
                  <a:pt x="194" y="176"/>
                </a:cubicBezTo>
                <a:cubicBezTo>
                  <a:pt x="194" y="177"/>
                  <a:pt x="197" y="182"/>
                  <a:pt x="195" y="183"/>
                </a:cubicBezTo>
                <a:cubicBezTo>
                  <a:pt x="194" y="183"/>
                  <a:pt x="194" y="181"/>
                  <a:pt x="194" y="181"/>
                </a:cubicBezTo>
                <a:cubicBezTo>
                  <a:pt x="193" y="180"/>
                  <a:pt x="190" y="182"/>
                  <a:pt x="190" y="182"/>
                </a:cubicBezTo>
                <a:cubicBezTo>
                  <a:pt x="189" y="181"/>
                  <a:pt x="189" y="179"/>
                  <a:pt x="188" y="179"/>
                </a:cubicBezTo>
                <a:cubicBezTo>
                  <a:pt x="188" y="179"/>
                  <a:pt x="188" y="179"/>
                  <a:pt x="187" y="180"/>
                </a:cubicBezTo>
                <a:cubicBezTo>
                  <a:pt x="187" y="180"/>
                  <a:pt x="187" y="179"/>
                  <a:pt x="186" y="179"/>
                </a:cubicBezTo>
                <a:cubicBezTo>
                  <a:pt x="185" y="179"/>
                  <a:pt x="184" y="180"/>
                  <a:pt x="183" y="178"/>
                </a:cubicBezTo>
                <a:cubicBezTo>
                  <a:pt x="182" y="179"/>
                  <a:pt x="182" y="179"/>
                  <a:pt x="182" y="179"/>
                </a:cubicBezTo>
                <a:cubicBezTo>
                  <a:pt x="182" y="179"/>
                  <a:pt x="182" y="179"/>
                  <a:pt x="182" y="179"/>
                </a:cubicBezTo>
                <a:cubicBezTo>
                  <a:pt x="182" y="180"/>
                  <a:pt x="181" y="180"/>
                  <a:pt x="180" y="178"/>
                </a:cubicBezTo>
                <a:cubicBezTo>
                  <a:pt x="179" y="178"/>
                  <a:pt x="179" y="178"/>
                  <a:pt x="179" y="178"/>
                </a:cubicBezTo>
                <a:cubicBezTo>
                  <a:pt x="179" y="178"/>
                  <a:pt x="179" y="179"/>
                  <a:pt x="179" y="179"/>
                </a:cubicBezTo>
                <a:cubicBezTo>
                  <a:pt x="179" y="180"/>
                  <a:pt x="179" y="181"/>
                  <a:pt x="179" y="181"/>
                </a:cubicBezTo>
                <a:cubicBezTo>
                  <a:pt x="179" y="182"/>
                  <a:pt x="179" y="182"/>
                  <a:pt x="178" y="182"/>
                </a:cubicBezTo>
                <a:cubicBezTo>
                  <a:pt x="178" y="182"/>
                  <a:pt x="177" y="182"/>
                  <a:pt x="177" y="181"/>
                </a:cubicBezTo>
                <a:cubicBezTo>
                  <a:pt x="176" y="181"/>
                  <a:pt x="175" y="181"/>
                  <a:pt x="175" y="182"/>
                </a:cubicBezTo>
                <a:cubicBezTo>
                  <a:pt x="174" y="181"/>
                  <a:pt x="175" y="178"/>
                  <a:pt x="173" y="176"/>
                </a:cubicBezTo>
                <a:cubicBezTo>
                  <a:pt x="174" y="177"/>
                  <a:pt x="176" y="176"/>
                  <a:pt x="174" y="174"/>
                </a:cubicBezTo>
                <a:cubicBezTo>
                  <a:pt x="173" y="173"/>
                  <a:pt x="173" y="175"/>
                  <a:pt x="173" y="175"/>
                </a:cubicBezTo>
                <a:cubicBezTo>
                  <a:pt x="173" y="175"/>
                  <a:pt x="172" y="174"/>
                  <a:pt x="171" y="174"/>
                </a:cubicBezTo>
                <a:cubicBezTo>
                  <a:pt x="171" y="175"/>
                  <a:pt x="171" y="175"/>
                  <a:pt x="171" y="175"/>
                </a:cubicBezTo>
                <a:cubicBezTo>
                  <a:pt x="172" y="177"/>
                  <a:pt x="173" y="179"/>
                  <a:pt x="172" y="181"/>
                </a:cubicBezTo>
                <a:cubicBezTo>
                  <a:pt x="172" y="181"/>
                  <a:pt x="172" y="181"/>
                  <a:pt x="173" y="181"/>
                </a:cubicBezTo>
                <a:cubicBezTo>
                  <a:pt x="173" y="181"/>
                  <a:pt x="173" y="180"/>
                  <a:pt x="173" y="180"/>
                </a:cubicBezTo>
                <a:cubicBezTo>
                  <a:pt x="174" y="181"/>
                  <a:pt x="173" y="181"/>
                  <a:pt x="172" y="181"/>
                </a:cubicBezTo>
                <a:cubicBezTo>
                  <a:pt x="172" y="182"/>
                  <a:pt x="171" y="182"/>
                  <a:pt x="170" y="182"/>
                </a:cubicBezTo>
                <a:cubicBezTo>
                  <a:pt x="168" y="182"/>
                  <a:pt x="167" y="180"/>
                  <a:pt x="166" y="177"/>
                </a:cubicBezTo>
                <a:cubicBezTo>
                  <a:pt x="166" y="177"/>
                  <a:pt x="165" y="178"/>
                  <a:pt x="164" y="178"/>
                </a:cubicBezTo>
                <a:cubicBezTo>
                  <a:pt x="162" y="177"/>
                  <a:pt x="161" y="174"/>
                  <a:pt x="160" y="175"/>
                </a:cubicBezTo>
                <a:cubicBezTo>
                  <a:pt x="160" y="173"/>
                  <a:pt x="159" y="171"/>
                  <a:pt x="160" y="170"/>
                </a:cubicBezTo>
                <a:cubicBezTo>
                  <a:pt x="161" y="167"/>
                  <a:pt x="162" y="168"/>
                  <a:pt x="160" y="164"/>
                </a:cubicBezTo>
                <a:cubicBezTo>
                  <a:pt x="160" y="164"/>
                  <a:pt x="160" y="163"/>
                  <a:pt x="160" y="162"/>
                </a:cubicBezTo>
                <a:cubicBezTo>
                  <a:pt x="159" y="159"/>
                  <a:pt x="159" y="160"/>
                  <a:pt x="156" y="161"/>
                </a:cubicBezTo>
                <a:cubicBezTo>
                  <a:pt x="158" y="159"/>
                  <a:pt x="156" y="160"/>
                  <a:pt x="155" y="162"/>
                </a:cubicBezTo>
                <a:cubicBezTo>
                  <a:pt x="155" y="162"/>
                  <a:pt x="156" y="162"/>
                  <a:pt x="156" y="162"/>
                </a:cubicBezTo>
                <a:cubicBezTo>
                  <a:pt x="156" y="162"/>
                  <a:pt x="155" y="162"/>
                  <a:pt x="155" y="162"/>
                </a:cubicBezTo>
                <a:cubicBezTo>
                  <a:pt x="155" y="163"/>
                  <a:pt x="155" y="163"/>
                  <a:pt x="155" y="163"/>
                </a:cubicBezTo>
                <a:cubicBezTo>
                  <a:pt x="155" y="163"/>
                  <a:pt x="158" y="164"/>
                  <a:pt x="156" y="165"/>
                </a:cubicBezTo>
                <a:cubicBezTo>
                  <a:pt x="156" y="166"/>
                  <a:pt x="152" y="162"/>
                  <a:pt x="152" y="166"/>
                </a:cubicBezTo>
                <a:cubicBezTo>
                  <a:pt x="150" y="160"/>
                  <a:pt x="148" y="168"/>
                  <a:pt x="147" y="171"/>
                </a:cubicBezTo>
                <a:cubicBezTo>
                  <a:pt x="146" y="172"/>
                  <a:pt x="144" y="172"/>
                  <a:pt x="143" y="173"/>
                </a:cubicBezTo>
                <a:cubicBezTo>
                  <a:pt x="142" y="174"/>
                  <a:pt x="142" y="174"/>
                  <a:pt x="141" y="174"/>
                </a:cubicBezTo>
                <a:cubicBezTo>
                  <a:pt x="141" y="174"/>
                  <a:pt x="141" y="174"/>
                  <a:pt x="141" y="174"/>
                </a:cubicBezTo>
                <a:cubicBezTo>
                  <a:pt x="140" y="175"/>
                  <a:pt x="140" y="175"/>
                  <a:pt x="139" y="176"/>
                </a:cubicBezTo>
                <a:cubicBezTo>
                  <a:pt x="140" y="176"/>
                  <a:pt x="140" y="177"/>
                  <a:pt x="139" y="177"/>
                </a:cubicBezTo>
                <a:cubicBezTo>
                  <a:pt x="140" y="177"/>
                  <a:pt x="140" y="177"/>
                  <a:pt x="140" y="178"/>
                </a:cubicBezTo>
                <a:cubicBezTo>
                  <a:pt x="141" y="178"/>
                  <a:pt x="142" y="179"/>
                  <a:pt x="142" y="181"/>
                </a:cubicBezTo>
                <a:cubicBezTo>
                  <a:pt x="143" y="182"/>
                  <a:pt x="142" y="183"/>
                  <a:pt x="141" y="183"/>
                </a:cubicBezTo>
                <a:cubicBezTo>
                  <a:pt x="141" y="184"/>
                  <a:pt x="142" y="185"/>
                  <a:pt x="142" y="186"/>
                </a:cubicBezTo>
                <a:cubicBezTo>
                  <a:pt x="141" y="187"/>
                  <a:pt x="141" y="185"/>
                  <a:pt x="140" y="184"/>
                </a:cubicBezTo>
                <a:cubicBezTo>
                  <a:pt x="139" y="184"/>
                  <a:pt x="138" y="184"/>
                  <a:pt x="138" y="183"/>
                </a:cubicBezTo>
                <a:cubicBezTo>
                  <a:pt x="138" y="184"/>
                  <a:pt x="138" y="187"/>
                  <a:pt x="138" y="187"/>
                </a:cubicBezTo>
                <a:cubicBezTo>
                  <a:pt x="138" y="187"/>
                  <a:pt x="138" y="187"/>
                  <a:pt x="138" y="188"/>
                </a:cubicBezTo>
                <a:cubicBezTo>
                  <a:pt x="139" y="186"/>
                  <a:pt x="139" y="185"/>
                  <a:pt x="139" y="185"/>
                </a:cubicBezTo>
                <a:cubicBezTo>
                  <a:pt x="139" y="186"/>
                  <a:pt x="139" y="187"/>
                  <a:pt x="139" y="189"/>
                </a:cubicBezTo>
                <a:cubicBezTo>
                  <a:pt x="140" y="189"/>
                  <a:pt x="140" y="189"/>
                  <a:pt x="140" y="189"/>
                </a:cubicBezTo>
                <a:cubicBezTo>
                  <a:pt x="140" y="188"/>
                  <a:pt x="142" y="189"/>
                  <a:pt x="142" y="191"/>
                </a:cubicBezTo>
                <a:cubicBezTo>
                  <a:pt x="143" y="191"/>
                  <a:pt x="143" y="192"/>
                  <a:pt x="142" y="193"/>
                </a:cubicBezTo>
                <a:cubicBezTo>
                  <a:pt x="142" y="193"/>
                  <a:pt x="141" y="192"/>
                  <a:pt x="141" y="192"/>
                </a:cubicBezTo>
                <a:cubicBezTo>
                  <a:pt x="140" y="192"/>
                  <a:pt x="139" y="193"/>
                  <a:pt x="140" y="192"/>
                </a:cubicBezTo>
                <a:cubicBezTo>
                  <a:pt x="140" y="192"/>
                  <a:pt x="140" y="191"/>
                  <a:pt x="140" y="191"/>
                </a:cubicBezTo>
                <a:cubicBezTo>
                  <a:pt x="140" y="191"/>
                  <a:pt x="140" y="191"/>
                  <a:pt x="140" y="191"/>
                </a:cubicBezTo>
                <a:cubicBezTo>
                  <a:pt x="140" y="191"/>
                  <a:pt x="140" y="190"/>
                  <a:pt x="139" y="190"/>
                </a:cubicBezTo>
                <a:cubicBezTo>
                  <a:pt x="139" y="191"/>
                  <a:pt x="139" y="192"/>
                  <a:pt x="138" y="192"/>
                </a:cubicBezTo>
                <a:cubicBezTo>
                  <a:pt x="138" y="192"/>
                  <a:pt x="138" y="191"/>
                  <a:pt x="138" y="190"/>
                </a:cubicBezTo>
                <a:cubicBezTo>
                  <a:pt x="138" y="190"/>
                  <a:pt x="137" y="190"/>
                  <a:pt x="137" y="191"/>
                </a:cubicBezTo>
                <a:cubicBezTo>
                  <a:pt x="137" y="192"/>
                  <a:pt x="138" y="192"/>
                  <a:pt x="138" y="193"/>
                </a:cubicBezTo>
                <a:cubicBezTo>
                  <a:pt x="138" y="194"/>
                  <a:pt x="134" y="195"/>
                  <a:pt x="137" y="197"/>
                </a:cubicBezTo>
                <a:cubicBezTo>
                  <a:pt x="137" y="197"/>
                  <a:pt x="138" y="196"/>
                  <a:pt x="138" y="196"/>
                </a:cubicBezTo>
                <a:cubicBezTo>
                  <a:pt x="138" y="196"/>
                  <a:pt x="138" y="196"/>
                  <a:pt x="138" y="196"/>
                </a:cubicBezTo>
                <a:cubicBezTo>
                  <a:pt x="138" y="196"/>
                  <a:pt x="138" y="195"/>
                  <a:pt x="138" y="195"/>
                </a:cubicBezTo>
                <a:cubicBezTo>
                  <a:pt x="139" y="194"/>
                  <a:pt x="140" y="195"/>
                  <a:pt x="139" y="196"/>
                </a:cubicBezTo>
                <a:cubicBezTo>
                  <a:pt x="139" y="196"/>
                  <a:pt x="139" y="196"/>
                  <a:pt x="139" y="196"/>
                </a:cubicBezTo>
                <a:cubicBezTo>
                  <a:pt x="140" y="197"/>
                  <a:pt x="138" y="201"/>
                  <a:pt x="139" y="202"/>
                </a:cubicBezTo>
                <a:cubicBezTo>
                  <a:pt x="138" y="200"/>
                  <a:pt x="137" y="202"/>
                  <a:pt x="136" y="203"/>
                </a:cubicBezTo>
                <a:cubicBezTo>
                  <a:pt x="137" y="205"/>
                  <a:pt x="138" y="207"/>
                  <a:pt x="139" y="208"/>
                </a:cubicBezTo>
                <a:cubicBezTo>
                  <a:pt x="138" y="207"/>
                  <a:pt x="136" y="205"/>
                  <a:pt x="136" y="203"/>
                </a:cubicBezTo>
                <a:cubicBezTo>
                  <a:pt x="135" y="204"/>
                  <a:pt x="134" y="205"/>
                  <a:pt x="134" y="204"/>
                </a:cubicBezTo>
                <a:cubicBezTo>
                  <a:pt x="132" y="203"/>
                  <a:pt x="133" y="199"/>
                  <a:pt x="131" y="198"/>
                </a:cubicBezTo>
                <a:cubicBezTo>
                  <a:pt x="130" y="198"/>
                  <a:pt x="131" y="199"/>
                  <a:pt x="131" y="199"/>
                </a:cubicBezTo>
                <a:cubicBezTo>
                  <a:pt x="129" y="199"/>
                  <a:pt x="128" y="197"/>
                  <a:pt x="127" y="200"/>
                </a:cubicBezTo>
                <a:cubicBezTo>
                  <a:pt x="127" y="200"/>
                  <a:pt x="126" y="205"/>
                  <a:pt x="127" y="207"/>
                </a:cubicBezTo>
                <a:cubicBezTo>
                  <a:pt x="127" y="210"/>
                  <a:pt x="127" y="211"/>
                  <a:pt x="126" y="214"/>
                </a:cubicBezTo>
                <a:cubicBezTo>
                  <a:pt x="126" y="211"/>
                  <a:pt x="123" y="210"/>
                  <a:pt x="123" y="207"/>
                </a:cubicBezTo>
                <a:cubicBezTo>
                  <a:pt x="122" y="203"/>
                  <a:pt x="125" y="199"/>
                  <a:pt x="124" y="197"/>
                </a:cubicBezTo>
                <a:cubicBezTo>
                  <a:pt x="124" y="197"/>
                  <a:pt x="120" y="193"/>
                  <a:pt x="120" y="193"/>
                </a:cubicBezTo>
                <a:cubicBezTo>
                  <a:pt x="120" y="192"/>
                  <a:pt x="121" y="191"/>
                  <a:pt x="120" y="190"/>
                </a:cubicBezTo>
                <a:cubicBezTo>
                  <a:pt x="120" y="191"/>
                  <a:pt x="120" y="191"/>
                  <a:pt x="119" y="192"/>
                </a:cubicBezTo>
                <a:cubicBezTo>
                  <a:pt x="120" y="192"/>
                  <a:pt x="120" y="192"/>
                  <a:pt x="120" y="192"/>
                </a:cubicBezTo>
                <a:cubicBezTo>
                  <a:pt x="120" y="193"/>
                  <a:pt x="121" y="194"/>
                  <a:pt x="121" y="195"/>
                </a:cubicBezTo>
                <a:cubicBezTo>
                  <a:pt x="121" y="195"/>
                  <a:pt x="121" y="195"/>
                  <a:pt x="121" y="195"/>
                </a:cubicBezTo>
                <a:cubicBezTo>
                  <a:pt x="121" y="195"/>
                  <a:pt x="121" y="195"/>
                  <a:pt x="121" y="195"/>
                </a:cubicBezTo>
                <a:cubicBezTo>
                  <a:pt x="121" y="197"/>
                  <a:pt x="121" y="198"/>
                  <a:pt x="120" y="198"/>
                </a:cubicBezTo>
                <a:cubicBezTo>
                  <a:pt x="120" y="198"/>
                  <a:pt x="119" y="198"/>
                  <a:pt x="119" y="198"/>
                </a:cubicBezTo>
                <a:cubicBezTo>
                  <a:pt x="118" y="198"/>
                  <a:pt x="117" y="197"/>
                  <a:pt x="117" y="196"/>
                </a:cubicBezTo>
                <a:cubicBezTo>
                  <a:pt x="116" y="195"/>
                  <a:pt x="117" y="192"/>
                  <a:pt x="118" y="192"/>
                </a:cubicBezTo>
                <a:cubicBezTo>
                  <a:pt x="118" y="192"/>
                  <a:pt x="118" y="192"/>
                  <a:pt x="118" y="192"/>
                </a:cubicBezTo>
                <a:cubicBezTo>
                  <a:pt x="117" y="192"/>
                  <a:pt x="117" y="190"/>
                  <a:pt x="117" y="189"/>
                </a:cubicBezTo>
                <a:cubicBezTo>
                  <a:pt x="116" y="189"/>
                  <a:pt x="116" y="189"/>
                  <a:pt x="116" y="190"/>
                </a:cubicBezTo>
                <a:cubicBezTo>
                  <a:pt x="116" y="190"/>
                  <a:pt x="116" y="190"/>
                  <a:pt x="116" y="190"/>
                </a:cubicBezTo>
                <a:cubicBezTo>
                  <a:pt x="116" y="191"/>
                  <a:pt x="116" y="191"/>
                  <a:pt x="115" y="190"/>
                </a:cubicBezTo>
                <a:cubicBezTo>
                  <a:pt x="114" y="192"/>
                  <a:pt x="114" y="194"/>
                  <a:pt x="113" y="196"/>
                </a:cubicBezTo>
                <a:cubicBezTo>
                  <a:pt x="112" y="194"/>
                  <a:pt x="112" y="194"/>
                  <a:pt x="111" y="194"/>
                </a:cubicBezTo>
                <a:cubicBezTo>
                  <a:pt x="112" y="196"/>
                  <a:pt x="112" y="199"/>
                  <a:pt x="110" y="197"/>
                </a:cubicBezTo>
                <a:cubicBezTo>
                  <a:pt x="110" y="197"/>
                  <a:pt x="110" y="196"/>
                  <a:pt x="110" y="196"/>
                </a:cubicBezTo>
                <a:cubicBezTo>
                  <a:pt x="109" y="197"/>
                  <a:pt x="109" y="197"/>
                  <a:pt x="108" y="197"/>
                </a:cubicBezTo>
                <a:cubicBezTo>
                  <a:pt x="110" y="200"/>
                  <a:pt x="111" y="202"/>
                  <a:pt x="112" y="205"/>
                </a:cubicBezTo>
                <a:cubicBezTo>
                  <a:pt x="113" y="208"/>
                  <a:pt x="109" y="203"/>
                  <a:pt x="109" y="202"/>
                </a:cubicBezTo>
                <a:cubicBezTo>
                  <a:pt x="108" y="201"/>
                  <a:pt x="108" y="199"/>
                  <a:pt x="107" y="197"/>
                </a:cubicBezTo>
                <a:cubicBezTo>
                  <a:pt x="107" y="197"/>
                  <a:pt x="106" y="196"/>
                  <a:pt x="106" y="196"/>
                </a:cubicBezTo>
                <a:cubicBezTo>
                  <a:pt x="106" y="196"/>
                  <a:pt x="106" y="195"/>
                  <a:pt x="106" y="194"/>
                </a:cubicBezTo>
                <a:cubicBezTo>
                  <a:pt x="105" y="193"/>
                  <a:pt x="104" y="192"/>
                  <a:pt x="103" y="191"/>
                </a:cubicBezTo>
                <a:cubicBezTo>
                  <a:pt x="102" y="190"/>
                  <a:pt x="101" y="189"/>
                  <a:pt x="100" y="190"/>
                </a:cubicBezTo>
                <a:cubicBezTo>
                  <a:pt x="100" y="190"/>
                  <a:pt x="100" y="191"/>
                  <a:pt x="99" y="191"/>
                </a:cubicBezTo>
                <a:cubicBezTo>
                  <a:pt x="99" y="191"/>
                  <a:pt x="99" y="191"/>
                  <a:pt x="99" y="191"/>
                </a:cubicBezTo>
                <a:cubicBezTo>
                  <a:pt x="99" y="192"/>
                  <a:pt x="99" y="192"/>
                  <a:pt x="99" y="192"/>
                </a:cubicBezTo>
                <a:cubicBezTo>
                  <a:pt x="99" y="193"/>
                  <a:pt x="99" y="195"/>
                  <a:pt x="98" y="194"/>
                </a:cubicBezTo>
                <a:cubicBezTo>
                  <a:pt x="98" y="195"/>
                  <a:pt x="98" y="195"/>
                  <a:pt x="98" y="195"/>
                </a:cubicBezTo>
                <a:cubicBezTo>
                  <a:pt x="96" y="195"/>
                  <a:pt x="96" y="194"/>
                  <a:pt x="95" y="192"/>
                </a:cubicBezTo>
                <a:cubicBezTo>
                  <a:pt x="94" y="192"/>
                  <a:pt x="94" y="192"/>
                  <a:pt x="93" y="192"/>
                </a:cubicBezTo>
                <a:cubicBezTo>
                  <a:pt x="93" y="192"/>
                  <a:pt x="93" y="191"/>
                  <a:pt x="93" y="191"/>
                </a:cubicBezTo>
                <a:cubicBezTo>
                  <a:pt x="92" y="193"/>
                  <a:pt x="92" y="194"/>
                  <a:pt x="92" y="196"/>
                </a:cubicBezTo>
                <a:cubicBezTo>
                  <a:pt x="92" y="197"/>
                  <a:pt x="92" y="199"/>
                  <a:pt x="91" y="199"/>
                </a:cubicBezTo>
                <a:cubicBezTo>
                  <a:pt x="91" y="200"/>
                  <a:pt x="90" y="201"/>
                  <a:pt x="89" y="201"/>
                </a:cubicBezTo>
                <a:cubicBezTo>
                  <a:pt x="90" y="202"/>
                  <a:pt x="90" y="202"/>
                  <a:pt x="89" y="203"/>
                </a:cubicBezTo>
                <a:cubicBezTo>
                  <a:pt x="88" y="204"/>
                  <a:pt x="86" y="205"/>
                  <a:pt x="85" y="203"/>
                </a:cubicBezTo>
                <a:cubicBezTo>
                  <a:pt x="85" y="203"/>
                  <a:pt x="85" y="203"/>
                  <a:pt x="85" y="203"/>
                </a:cubicBezTo>
                <a:cubicBezTo>
                  <a:pt x="85" y="203"/>
                  <a:pt x="84" y="203"/>
                  <a:pt x="84" y="203"/>
                </a:cubicBezTo>
                <a:cubicBezTo>
                  <a:pt x="84" y="204"/>
                  <a:pt x="85" y="205"/>
                  <a:pt x="84" y="206"/>
                </a:cubicBezTo>
                <a:cubicBezTo>
                  <a:pt x="85" y="206"/>
                  <a:pt x="86" y="207"/>
                  <a:pt x="86" y="207"/>
                </a:cubicBezTo>
                <a:cubicBezTo>
                  <a:pt x="87" y="207"/>
                  <a:pt x="87" y="209"/>
                  <a:pt x="88" y="210"/>
                </a:cubicBezTo>
                <a:cubicBezTo>
                  <a:pt x="90" y="211"/>
                  <a:pt x="90" y="212"/>
                  <a:pt x="91" y="213"/>
                </a:cubicBezTo>
                <a:cubicBezTo>
                  <a:pt x="91" y="214"/>
                  <a:pt x="92" y="213"/>
                  <a:pt x="92" y="213"/>
                </a:cubicBezTo>
                <a:cubicBezTo>
                  <a:pt x="92" y="215"/>
                  <a:pt x="91" y="216"/>
                  <a:pt x="92" y="216"/>
                </a:cubicBezTo>
                <a:cubicBezTo>
                  <a:pt x="92" y="216"/>
                  <a:pt x="92" y="217"/>
                  <a:pt x="92" y="217"/>
                </a:cubicBezTo>
                <a:cubicBezTo>
                  <a:pt x="92" y="217"/>
                  <a:pt x="92" y="217"/>
                  <a:pt x="92" y="217"/>
                </a:cubicBezTo>
                <a:cubicBezTo>
                  <a:pt x="92" y="217"/>
                  <a:pt x="92" y="217"/>
                  <a:pt x="92" y="218"/>
                </a:cubicBezTo>
                <a:cubicBezTo>
                  <a:pt x="92" y="219"/>
                  <a:pt x="93" y="219"/>
                  <a:pt x="93" y="220"/>
                </a:cubicBezTo>
                <a:cubicBezTo>
                  <a:pt x="93" y="220"/>
                  <a:pt x="92" y="219"/>
                  <a:pt x="92" y="219"/>
                </a:cubicBezTo>
                <a:cubicBezTo>
                  <a:pt x="90" y="221"/>
                  <a:pt x="87" y="226"/>
                  <a:pt x="86" y="226"/>
                </a:cubicBezTo>
                <a:cubicBezTo>
                  <a:pt x="84" y="226"/>
                  <a:pt x="83" y="222"/>
                  <a:pt x="81" y="220"/>
                </a:cubicBezTo>
                <a:cubicBezTo>
                  <a:pt x="80" y="220"/>
                  <a:pt x="79" y="222"/>
                  <a:pt x="78" y="221"/>
                </a:cubicBezTo>
                <a:cubicBezTo>
                  <a:pt x="77" y="219"/>
                  <a:pt x="79" y="219"/>
                  <a:pt x="80" y="218"/>
                </a:cubicBezTo>
                <a:cubicBezTo>
                  <a:pt x="80" y="217"/>
                  <a:pt x="80" y="213"/>
                  <a:pt x="80" y="210"/>
                </a:cubicBezTo>
                <a:cubicBezTo>
                  <a:pt x="80" y="209"/>
                  <a:pt x="81" y="208"/>
                  <a:pt x="81" y="207"/>
                </a:cubicBezTo>
                <a:cubicBezTo>
                  <a:pt x="80" y="206"/>
                  <a:pt x="79" y="202"/>
                  <a:pt x="79" y="201"/>
                </a:cubicBezTo>
                <a:cubicBezTo>
                  <a:pt x="78" y="201"/>
                  <a:pt x="78" y="203"/>
                  <a:pt x="77" y="203"/>
                </a:cubicBezTo>
                <a:cubicBezTo>
                  <a:pt x="77" y="202"/>
                  <a:pt x="78" y="201"/>
                  <a:pt x="78" y="200"/>
                </a:cubicBezTo>
                <a:cubicBezTo>
                  <a:pt x="77" y="198"/>
                  <a:pt x="76" y="194"/>
                  <a:pt x="76" y="192"/>
                </a:cubicBezTo>
                <a:cubicBezTo>
                  <a:pt x="75" y="192"/>
                  <a:pt x="74" y="192"/>
                  <a:pt x="74" y="193"/>
                </a:cubicBezTo>
                <a:cubicBezTo>
                  <a:pt x="74" y="194"/>
                  <a:pt x="75" y="194"/>
                  <a:pt x="75" y="194"/>
                </a:cubicBezTo>
                <a:cubicBezTo>
                  <a:pt x="75" y="194"/>
                  <a:pt x="74" y="197"/>
                  <a:pt x="73" y="200"/>
                </a:cubicBezTo>
                <a:cubicBezTo>
                  <a:pt x="73" y="201"/>
                  <a:pt x="73" y="201"/>
                  <a:pt x="72" y="202"/>
                </a:cubicBezTo>
                <a:cubicBezTo>
                  <a:pt x="72" y="202"/>
                  <a:pt x="72" y="202"/>
                  <a:pt x="72" y="202"/>
                </a:cubicBezTo>
                <a:cubicBezTo>
                  <a:pt x="72" y="202"/>
                  <a:pt x="72" y="202"/>
                  <a:pt x="72" y="202"/>
                </a:cubicBezTo>
                <a:cubicBezTo>
                  <a:pt x="71" y="202"/>
                  <a:pt x="70" y="202"/>
                  <a:pt x="70" y="202"/>
                </a:cubicBezTo>
                <a:cubicBezTo>
                  <a:pt x="68" y="205"/>
                  <a:pt x="70" y="208"/>
                  <a:pt x="69" y="210"/>
                </a:cubicBezTo>
                <a:cubicBezTo>
                  <a:pt x="69" y="210"/>
                  <a:pt x="69" y="211"/>
                  <a:pt x="69" y="212"/>
                </a:cubicBezTo>
                <a:cubicBezTo>
                  <a:pt x="69" y="212"/>
                  <a:pt x="69" y="212"/>
                  <a:pt x="69" y="212"/>
                </a:cubicBezTo>
                <a:cubicBezTo>
                  <a:pt x="70" y="212"/>
                  <a:pt x="73" y="217"/>
                  <a:pt x="71" y="218"/>
                </a:cubicBezTo>
                <a:cubicBezTo>
                  <a:pt x="70" y="219"/>
                  <a:pt x="68" y="218"/>
                  <a:pt x="67" y="216"/>
                </a:cubicBezTo>
                <a:cubicBezTo>
                  <a:pt x="67" y="216"/>
                  <a:pt x="67" y="216"/>
                  <a:pt x="67" y="216"/>
                </a:cubicBezTo>
                <a:cubicBezTo>
                  <a:pt x="66" y="216"/>
                  <a:pt x="66" y="216"/>
                  <a:pt x="66" y="216"/>
                </a:cubicBezTo>
                <a:cubicBezTo>
                  <a:pt x="66" y="216"/>
                  <a:pt x="66" y="216"/>
                  <a:pt x="66" y="216"/>
                </a:cubicBezTo>
                <a:cubicBezTo>
                  <a:pt x="66" y="216"/>
                  <a:pt x="66" y="216"/>
                  <a:pt x="66" y="216"/>
                </a:cubicBezTo>
                <a:cubicBezTo>
                  <a:pt x="66" y="217"/>
                  <a:pt x="66" y="219"/>
                  <a:pt x="66" y="219"/>
                </a:cubicBezTo>
                <a:cubicBezTo>
                  <a:pt x="66" y="219"/>
                  <a:pt x="66" y="219"/>
                  <a:pt x="66" y="220"/>
                </a:cubicBezTo>
                <a:cubicBezTo>
                  <a:pt x="67" y="220"/>
                  <a:pt x="68" y="220"/>
                  <a:pt x="68" y="220"/>
                </a:cubicBezTo>
                <a:cubicBezTo>
                  <a:pt x="70" y="221"/>
                  <a:pt x="70" y="224"/>
                  <a:pt x="72" y="226"/>
                </a:cubicBezTo>
                <a:cubicBezTo>
                  <a:pt x="73" y="227"/>
                  <a:pt x="76" y="230"/>
                  <a:pt x="76" y="231"/>
                </a:cubicBezTo>
                <a:cubicBezTo>
                  <a:pt x="76" y="232"/>
                  <a:pt x="74" y="233"/>
                  <a:pt x="73" y="233"/>
                </a:cubicBezTo>
                <a:cubicBezTo>
                  <a:pt x="73" y="234"/>
                  <a:pt x="74" y="234"/>
                  <a:pt x="74" y="234"/>
                </a:cubicBezTo>
                <a:cubicBezTo>
                  <a:pt x="75" y="235"/>
                  <a:pt x="74" y="236"/>
                  <a:pt x="73" y="237"/>
                </a:cubicBezTo>
                <a:cubicBezTo>
                  <a:pt x="73" y="238"/>
                  <a:pt x="73" y="239"/>
                  <a:pt x="72" y="239"/>
                </a:cubicBezTo>
                <a:cubicBezTo>
                  <a:pt x="72" y="239"/>
                  <a:pt x="71" y="238"/>
                  <a:pt x="70" y="237"/>
                </a:cubicBezTo>
                <a:cubicBezTo>
                  <a:pt x="69" y="236"/>
                  <a:pt x="68" y="235"/>
                  <a:pt x="70" y="234"/>
                </a:cubicBezTo>
                <a:cubicBezTo>
                  <a:pt x="70" y="233"/>
                  <a:pt x="70" y="233"/>
                  <a:pt x="68" y="234"/>
                </a:cubicBezTo>
                <a:cubicBezTo>
                  <a:pt x="68" y="235"/>
                  <a:pt x="68" y="236"/>
                  <a:pt x="67" y="236"/>
                </a:cubicBezTo>
                <a:cubicBezTo>
                  <a:pt x="66" y="236"/>
                  <a:pt x="65" y="235"/>
                  <a:pt x="65" y="234"/>
                </a:cubicBezTo>
                <a:cubicBezTo>
                  <a:pt x="64" y="235"/>
                  <a:pt x="63" y="237"/>
                  <a:pt x="62" y="237"/>
                </a:cubicBezTo>
                <a:cubicBezTo>
                  <a:pt x="62" y="237"/>
                  <a:pt x="59" y="236"/>
                  <a:pt x="58" y="235"/>
                </a:cubicBezTo>
                <a:cubicBezTo>
                  <a:pt x="58" y="234"/>
                  <a:pt x="57" y="231"/>
                  <a:pt x="57" y="231"/>
                </a:cubicBezTo>
                <a:cubicBezTo>
                  <a:pt x="56" y="231"/>
                  <a:pt x="56" y="232"/>
                  <a:pt x="56" y="233"/>
                </a:cubicBezTo>
                <a:cubicBezTo>
                  <a:pt x="56" y="233"/>
                  <a:pt x="57" y="233"/>
                  <a:pt x="57" y="233"/>
                </a:cubicBezTo>
                <a:cubicBezTo>
                  <a:pt x="57" y="233"/>
                  <a:pt x="57" y="233"/>
                  <a:pt x="57" y="233"/>
                </a:cubicBezTo>
                <a:cubicBezTo>
                  <a:pt x="57" y="233"/>
                  <a:pt x="57" y="233"/>
                  <a:pt x="57" y="233"/>
                </a:cubicBezTo>
                <a:cubicBezTo>
                  <a:pt x="57" y="234"/>
                  <a:pt x="58" y="235"/>
                  <a:pt x="57" y="236"/>
                </a:cubicBezTo>
                <a:cubicBezTo>
                  <a:pt x="57" y="236"/>
                  <a:pt x="57" y="236"/>
                  <a:pt x="56" y="236"/>
                </a:cubicBezTo>
                <a:cubicBezTo>
                  <a:pt x="56" y="236"/>
                  <a:pt x="56" y="237"/>
                  <a:pt x="56" y="237"/>
                </a:cubicBezTo>
                <a:cubicBezTo>
                  <a:pt x="56" y="237"/>
                  <a:pt x="56" y="237"/>
                  <a:pt x="55" y="236"/>
                </a:cubicBezTo>
                <a:cubicBezTo>
                  <a:pt x="55" y="236"/>
                  <a:pt x="55" y="237"/>
                  <a:pt x="55" y="237"/>
                </a:cubicBezTo>
                <a:cubicBezTo>
                  <a:pt x="54" y="236"/>
                  <a:pt x="54" y="233"/>
                  <a:pt x="55" y="233"/>
                </a:cubicBezTo>
                <a:cubicBezTo>
                  <a:pt x="55" y="232"/>
                  <a:pt x="55" y="230"/>
                  <a:pt x="56" y="230"/>
                </a:cubicBezTo>
                <a:cubicBezTo>
                  <a:pt x="56" y="230"/>
                  <a:pt x="57" y="231"/>
                  <a:pt x="57" y="231"/>
                </a:cubicBezTo>
                <a:cubicBezTo>
                  <a:pt x="58" y="230"/>
                  <a:pt x="57" y="229"/>
                  <a:pt x="57" y="229"/>
                </a:cubicBezTo>
                <a:cubicBezTo>
                  <a:pt x="57" y="228"/>
                  <a:pt x="58" y="227"/>
                  <a:pt x="58" y="226"/>
                </a:cubicBezTo>
                <a:cubicBezTo>
                  <a:pt x="58" y="225"/>
                  <a:pt x="58" y="224"/>
                  <a:pt x="59" y="224"/>
                </a:cubicBezTo>
                <a:cubicBezTo>
                  <a:pt x="60" y="223"/>
                  <a:pt x="60" y="224"/>
                  <a:pt x="60" y="225"/>
                </a:cubicBezTo>
                <a:cubicBezTo>
                  <a:pt x="61" y="225"/>
                  <a:pt x="61" y="225"/>
                  <a:pt x="61" y="225"/>
                </a:cubicBezTo>
                <a:cubicBezTo>
                  <a:pt x="61" y="224"/>
                  <a:pt x="61" y="222"/>
                  <a:pt x="62" y="221"/>
                </a:cubicBezTo>
                <a:cubicBezTo>
                  <a:pt x="62" y="221"/>
                  <a:pt x="62" y="222"/>
                  <a:pt x="63" y="222"/>
                </a:cubicBezTo>
                <a:cubicBezTo>
                  <a:pt x="62" y="220"/>
                  <a:pt x="62" y="219"/>
                  <a:pt x="61" y="218"/>
                </a:cubicBezTo>
                <a:cubicBezTo>
                  <a:pt x="61" y="218"/>
                  <a:pt x="61" y="217"/>
                  <a:pt x="61" y="217"/>
                </a:cubicBezTo>
                <a:cubicBezTo>
                  <a:pt x="60" y="218"/>
                  <a:pt x="60" y="218"/>
                  <a:pt x="59" y="218"/>
                </a:cubicBezTo>
                <a:cubicBezTo>
                  <a:pt x="57" y="219"/>
                  <a:pt x="58" y="213"/>
                  <a:pt x="60" y="216"/>
                </a:cubicBezTo>
                <a:cubicBezTo>
                  <a:pt x="60" y="216"/>
                  <a:pt x="60" y="216"/>
                  <a:pt x="60" y="215"/>
                </a:cubicBezTo>
                <a:cubicBezTo>
                  <a:pt x="60" y="214"/>
                  <a:pt x="59" y="212"/>
                  <a:pt x="58" y="213"/>
                </a:cubicBezTo>
                <a:cubicBezTo>
                  <a:pt x="57" y="213"/>
                  <a:pt x="58" y="216"/>
                  <a:pt x="57" y="216"/>
                </a:cubicBezTo>
                <a:cubicBezTo>
                  <a:pt x="56" y="217"/>
                  <a:pt x="54" y="213"/>
                  <a:pt x="54" y="213"/>
                </a:cubicBezTo>
                <a:cubicBezTo>
                  <a:pt x="54" y="213"/>
                  <a:pt x="53" y="213"/>
                  <a:pt x="53" y="213"/>
                </a:cubicBezTo>
                <a:cubicBezTo>
                  <a:pt x="55" y="215"/>
                  <a:pt x="55" y="219"/>
                  <a:pt x="55" y="221"/>
                </a:cubicBezTo>
                <a:cubicBezTo>
                  <a:pt x="54" y="223"/>
                  <a:pt x="51" y="223"/>
                  <a:pt x="51" y="224"/>
                </a:cubicBezTo>
                <a:cubicBezTo>
                  <a:pt x="51" y="226"/>
                  <a:pt x="51" y="228"/>
                  <a:pt x="52" y="230"/>
                </a:cubicBezTo>
                <a:cubicBezTo>
                  <a:pt x="51" y="229"/>
                  <a:pt x="51" y="228"/>
                  <a:pt x="50" y="227"/>
                </a:cubicBezTo>
                <a:cubicBezTo>
                  <a:pt x="49" y="227"/>
                  <a:pt x="50" y="226"/>
                  <a:pt x="49" y="225"/>
                </a:cubicBezTo>
                <a:cubicBezTo>
                  <a:pt x="49" y="225"/>
                  <a:pt x="49" y="225"/>
                  <a:pt x="48" y="225"/>
                </a:cubicBezTo>
                <a:cubicBezTo>
                  <a:pt x="48" y="226"/>
                  <a:pt x="48" y="226"/>
                  <a:pt x="48" y="226"/>
                </a:cubicBezTo>
                <a:cubicBezTo>
                  <a:pt x="47" y="227"/>
                  <a:pt x="47" y="226"/>
                  <a:pt x="47" y="225"/>
                </a:cubicBezTo>
                <a:cubicBezTo>
                  <a:pt x="47" y="225"/>
                  <a:pt x="46" y="225"/>
                  <a:pt x="46" y="225"/>
                </a:cubicBezTo>
                <a:cubicBezTo>
                  <a:pt x="45" y="225"/>
                  <a:pt x="44" y="225"/>
                  <a:pt x="43" y="225"/>
                </a:cubicBezTo>
                <a:cubicBezTo>
                  <a:pt x="43" y="225"/>
                  <a:pt x="43" y="226"/>
                  <a:pt x="42" y="226"/>
                </a:cubicBezTo>
                <a:cubicBezTo>
                  <a:pt x="42" y="226"/>
                  <a:pt x="42" y="226"/>
                  <a:pt x="42" y="226"/>
                </a:cubicBezTo>
                <a:cubicBezTo>
                  <a:pt x="42" y="226"/>
                  <a:pt x="42" y="226"/>
                  <a:pt x="42" y="226"/>
                </a:cubicBezTo>
                <a:cubicBezTo>
                  <a:pt x="41" y="226"/>
                  <a:pt x="41" y="226"/>
                  <a:pt x="40" y="225"/>
                </a:cubicBezTo>
                <a:cubicBezTo>
                  <a:pt x="39" y="225"/>
                  <a:pt x="38" y="225"/>
                  <a:pt x="37" y="225"/>
                </a:cubicBezTo>
                <a:cubicBezTo>
                  <a:pt x="37" y="225"/>
                  <a:pt x="36" y="225"/>
                  <a:pt x="36" y="225"/>
                </a:cubicBezTo>
                <a:cubicBezTo>
                  <a:pt x="36" y="226"/>
                  <a:pt x="36" y="226"/>
                  <a:pt x="35" y="226"/>
                </a:cubicBezTo>
                <a:cubicBezTo>
                  <a:pt x="35" y="226"/>
                  <a:pt x="35" y="226"/>
                  <a:pt x="34" y="225"/>
                </a:cubicBezTo>
                <a:cubicBezTo>
                  <a:pt x="33" y="225"/>
                  <a:pt x="32" y="224"/>
                  <a:pt x="31" y="224"/>
                </a:cubicBezTo>
                <a:cubicBezTo>
                  <a:pt x="31" y="224"/>
                  <a:pt x="31" y="224"/>
                  <a:pt x="31" y="224"/>
                </a:cubicBezTo>
                <a:cubicBezTo>
                  <a:pt x="31" y="226"/>
                  <a:pt x="31" y="228"/>
                  <a:pt x="30" y="228"/>
                </a:cubicBezTo>
                <a:cubicBezTo>
                  <a:pt x="28" y="229"/>
                  <a:pt x="27" y="225"/>
                  <a:pt x="27" y="223"/>
                </a:cubicBezTo>
                <a:cubicBezTo>
                  <a:pt x="28" y="225"/>
                  <a:pt x="28" y="224"/>
                  <a:pt x="29" y="223"/>
                </a:cubicBezTo>
                <a:cubicBezTo>
                  <a:pt x="28" y="223"/>
                  <a:pt x="27" y="223"/>
                  <a:pt x="27" y="223"/>
                </a:cubicBezTo>
                <a:cubicBezTo>
                  <a:pt x="26" y="224"/>
                  <a:pt x="25" y="224"/>
                  <a:pt x="25" y="223"/>
                </a:cubicBezTo>
                <a:cubicBezTo>
                  <a:pt x="24" y="223"/>
                  <a:pt x="25" y="221"/>
                  <a:pt x="26" y="220"/>
                </a:cubicBezTo>
                <a:cubicBezTo>
                  <a:pt x="26" y="220"/>
                  <a:pt x="26" y="220"/>
                  <a:pt x="26" y="220"/>
                </a:cubicBezTo>
                <a:cubicBezTo>
                  <a:pt x="26" y="219"/>
                  <a:pt x="25" y="218"/>
                  <a:pt x="23" y="216"/>
                </a:cubicBezTo>
                <a:cubicBezTo>
                  <a:pt x="23" y="217"/>
                  <a:pt x="22" y="217"/>
                  <a:pt x="22" y="217"/>
                </a:cubicBezTo>
                <a:cubicBezTo>
                  <a:pt x="22" y="216"/>
                  <a:pt x="22" y="216"/>
                  <a:pt x="23" y="215"/>
                </a:cubicBezTo>
                <a:cubicBezTo>
                  <a:pt x="22" y="215"/>
                  <a:pt x="22" y="215"/>
                  <a:pt x="22" y="215"/>
                </a:cubicBezTo>
                <a:cubicBezTo>
                  <a:pt x="22" y="215"/>
                  <a:pt x="21" y="216"/>
                  <a:pt x="21" y="216"/>
                </a:cubicBezTo>
                <a:cubicBezTo>
                  <a:pt x="20" y="217"/>
                  <a:pt x="18" y="217"/>
                  <a:pt x="18" y="219"/>
                </a:cubicBezTo>
                <a:cubicBezTo>
                  <a:pt x="17" y="219"/>
                  <a:pt x="18" y="218"/>
                  <a:pt x="17" y="218"/>
                </a:cubicBezTo>
                <a:cubicBezTo>
                  <a:pt x="18" y="220"/>
                  <a:pt x="16" y="219"/>
                  <a:pt x="16" y="221"/>
                </a:cubicBezTo>
                <a:cubicBezTo>
                  <a:pt x="19" y="219"/>
                  <a:pt x="20" y="220"/>
                  <a:pt x="21" y="223"/>
                </a:cubicBezTo>
                <a:cubicBezTo>
                  <a:pt x="21" y="222"/>
                  <a:pt x="22" y="222"/>
                  <a:pt x="22" y="223"/>
                </a:cubicBezTo>
                <a:cubicBezTo>
                  <a:pt x="22" y="223"/>
                  <a:pt x="22" y="223"/>
                  <a:pt x="23" y="223"/>
                </a:cubicBezTo>
                <a:cubicBezTo>
                  <a:pt x="23" y="223"/>
                  <a:pt x="23" y="223"/>
                  <a:pt x="23" y="223"/>
                </a:cubicBezTo>
                <a:cubicBezTo>
                  <a:pt x="23" y="223"/>
                  <a:pt x="23" y="223"/>
                  <a:pt x="23" y="223"/>
                </a:cubicBezTo>
                <a:cubicBezTo>
                  <a:pt x="24" y="224"/>
                  <a:pt x="25" y="226"/>
                  <a:pt x="25" y="226"/>
                </a:cubicBezTo>
                <a:cubicBezTo>
                  <a:pt x="25" y="226"/>
                  <a:pt x="25" y="228"/>
                  <a:pt x="25" y="228"/>
                </a:cubicBezTo>
                <a:cubicBezTo>
                  <a:pt x="27" y="228"/>
                  <a:pt x="31" y="229"/>
                  <a:pt x="31" y="231"/>
                </a:cubicBezTo>
                <a:cubicBezTo>
                  <a:pt x="32" y="232"/>
                  <a:pt x="31" y="236"/>
                  <a:pt x="31" y="237"/>
                </a:cubicBezTo>
                <a:cubicBezTo>
                  <a:pt x="31" y="237"/>
                  <a:pt x="29" y="237"/>
                  <a:pt x="29" y="238"/>
                </a:cubicBezTo>
                <a:cubicBezTo>
                  <a:pt x="27" y="241"/>
                  <a:pt x="27" y="237"/>
                  <a:pt x="26" y="242"/>
                </a:cubicBezTo>
                <a:cubicBezTo>
                  <a:pt x="25" y="241"/>
                  <a:pt x="24" y="239"/>
                  <a:pt x="23" y="239"/>
                </a:cubicBezTo>
                <a:cubicBezTo>
                  <a:pt x="23" y="239"/>
                  <a:pt x="21" y="239"/>
                  <a:pt x="22" y="239"/>
                </a:cubicBezTo>
                <a:cubicBezTo>
                  <a:pt x="20" y="238"/>
                  <a:pt x="22" y="235"/>
                  <a:pt x="20" y="233"/>
                </a:cubicBezTo>
                <a:cubicBezTo>
                  <a:pt x="20" y="234"/>
                  <a:pt x="20" y="235"/>
                  <a:pt x="19" y="236"/>
                </a:cubicBezTo>
                <a:cubicBezTo>
                  <a:pt x="20" y="237"/>
                  <a:pt x="20" y="238"/>
                  <a:pt x="18" y="238"/>
                </a:cubicBezTo>
                <a:cubicBezTo>
                  <a:pt x="22" y="239"/>
                  <a:pt x="22" y="249"/>
                  <a:pt x="17" y="249"/>
                </a:cubicBezTo>
                <a:cubicBezTo>
                  <a:pt x="17" y="249"/>
                  <a:pt x="17" y="249"/>
                  <a:pt x="17" y="249"/>
                </a:cubicBezTo>
                <a:cubicBezTo>
                  <a:pt x="17" y="249"/>
                  <a:pt x="17" y="249"/>
                  <a:pt x="17" y="250"/>
                </a:cubicBezTo>
                <a:cubicBezTo>
                  <a:pt x="20" y="251"/>
                  <a:pt x="21" y="254"/>
                  <a:pt x="20" y="258"/>
                </a:cubicBezTo>
                <a:cubicBezTo>
                  <a:pt x="20" y="257"/>
                  <a:pt x="20" y="258"/>
                  <a:pt x="20" y="258"/>
                </a:cubicBezTo>
                <a:cubicBezTo>
                  <a:pt x="21" y="261"/>
                  <a:pt x="23" y="263"/>
                  <a:pt x="23" y="265"/>
                </a:cubicBezTo>
                <a:cubicBezTo>
                  <a:pt x="23" y="266"/>
                  <a:pt x="23" y="267"/>
                  <a:pt x="23" y="268"/>
                </a:cubicBezTo>
                <a:cubicBezTo>
                  <a:pt x="23" y="270"/>
                  <a:pt x="27" y="272"/>
                  <a:pt x="26" y="275"/>
                </a:cubicBezTo>
                <a:cubicBezTo>
                  <a:pt x="26" y="276"/>
                  <a:pt x="26" y="275"/>
                  <a:pt x="27" y="277"/>
                </a:cubicBezTo>
                <a:cubicBezTo>
                  <a:pt x="27" y="278"/>
                  <a:pt x="28" y="280"/>
                  <a:pt x="28" y="281"/>
                </a:cubicBezTo>
                <a:cubicBezTo>
                  <a:pt x="29" y="282"/>
                  <a:pt x="30" y="285"/>
                  <a:pt x="30" y="285"/>
                </a:cubicBezTo>
                <a:cubicBezTo>
                  <a:pt x="32" y="287"/>
                  <a:pt x="32" y="285"/>
                  <a:pt x="32" y="287"/>
                </a:cubicBezTo>
                <a:cubicBezTo>
                  <a:pt x="31" y="288"/>
                  <a:pt x="32" y="288"/>
                  <a:pt x="32" y="289"/>
                </a:cubicBezTo>
                <a:cubicBezTo>
                  <a:pt x="32" y="288"/>
                  <a:pt x="32" y="288"/>
                  <a:pt x="32" y="288"/>
                </a:cubicBezTo>
                <a:cubicBezTo>
                  <a:pt x="33" y="287"/>
                  <a:pt x="34" y="290"/>
                  <a:pt x="33" y="290"/>
                </a:cubicBezTo>
                <a:cubicBezTo>
                  <a:pt x="33" y="291"/>
                  <a:pt x="34" y="291"/>
                  <a:pt x="34" y="292"/>
                </a:cubicBezTo>
                <a:cubicBezTo>
                  <a:pt x="34" y="292"/>
                  <a:pt x="35" y="292"/>
                  <a:pt x="35" y="292"/>
                </a:cubicBezTo>
                <a:cubicBezTo>
                  <a:pt x="36" y="288"/>
                  <a:pt x="34" y="286"/>
                  <a:pt x="38" y="288"/>
                </a:cubicBezTo>
                <a:cubicBezTo>
                  <a:pt x="39" y="288"/>
                  <a:pt x="39" y="287"/>
                  <a:pt x="40" y="288"/>
                </a:cubicBezTo>
                <a:cubicBezTo>
                  <a:pt x="42" y="289"/>
                  <a:pt x="39" y="291"/>
                  <a:pt x="38" y="290"/>
                </a:cubicBezTo>
                <a:cubicBezTo>
                  <a:pt x="39" y="291"/>
                  <a:pt x="40" y="291"/>
                  <a:pt x="41" y="289"/>
                </a:cubicBezTo>
                <a:cubicBezTo>
                  <a:pt x="42" y="289"/>
                  <a:pt x="42" y="292"/>
                  <a:pt x="41" y="293"/>
                </a:cubicBezTo>
                <a:cubicBezTo>
                  <a:pt x="41" y="293"/>
                  <a:pt x="38" y="295"/>
                  <a:pt x="37" y="296"/>
                </a:cubicBezTo>
                <a:cubicBezTo>
                  <a:pt x="37" y="297"/>
                  <a:pt x="38" y="298"/>
                  <a:pt x="38" y="299"/>
                </a:cubicBezTo>
                <a:cubicBezTo>
                  <a:pt x="40" y="301"/>
                  <a:pt x="40" y="304"/>
                  <a:pt x="41" y="306"/>
                </a:cubicBezTo>
                <a:cubicBezTo>
                  <a:pt x="42" y="307"/>
                  <a:pt x="42" y="307"/>
                  <a:pt x="42" y="309"/>
                </a:cubicBezTo>
                <a:cubicBezTo>
                  <a:pt x="42" y="310"/>
                  <a:pt x="43" y="310"/>
                  <a:pt x="43" y="311"/>
                </a:cubicBezTo>
                <a:cubicBezTo>
                  <a:pt x="44" y="313"/>
                  <a:pt x="45" y="316"/>
                  <a:pt x="46" y="318"/>
                </a:cubicBezTo>
                <a:cubicBezTo>
                  <a:pt x="46" y="318"/>
                  <a:pt x="46" y="317"/>
                  <a:pt x="46" y="318"/>
                </a:cubicBezTo>
                <a:cubicBezTo>
                  <a:pt x="46" y="318"/>
                  <a:pt x="46" y="318"/>
                  <a:pt x="46" y="318"/>
                </a:cubicBezTo>
                <a:cubicBezTo>
                  <a:pt x="46" y="319"/>
                  <a:pt x="46" y="319"/>
                  <a:pt x="47" y="320"/>
                </a:cubicBezTo>
                <a:cubicBezTo>
                  <a:pt x="47" y="320"/>
                  <a:pt x="47" y="324"/>
                  <a:pt x="48" y="324"/>
                </a:cubicBezTo>
                <a:cubicBezTo>
                  <a:pt x="48" y="324"/>
                  <a:pt x="47" y="317"/>
                  <a:pt x="51" y="319"/>
                </a:cubicBezTo>
                <a:cubicBezTo>
                  <a:pt x="51" y="319"/>
                  <a:pt x="52" y="319"/>
                  <a:pt x="52" y="320"/>
                </a:cubicBezTo>
                <a:cubicBezTo>
                  <a:pt x="51" y="316"/>
                  <a:pt x="51" y="310"/>
                  <a:pt x="53" y="306"/>
                </a:cubicBezTo>
                <a:cubicBezTo>
                  <a:pt x="50" y="306"/>
                  <a:pt x="50" y="314"/>
                  <a:pt x="47" y="314"/>
                </a:cubicBezTo>
                <a:cubicBezTo>
                  <a:pt x="45" y="314"/>
                  <a:pt x="48" y="308"/>
                  <a:pt x="46" y="306"/>
                </a:cubicBezTo>
                <a:cubicBezTo>
                  <a:pt x="45" y="305"/>
                  <a:pt x="45" y="306"/>
                  <a:pt x="44" y="305"/>
                </a:cubicBezTo>
                <a:cubicBezTo>
                  <a:pt x="44" y="304"/>
                  <a:pt x="46" y="301"/>
                  <a:pt x="43" y="301"/>
                </a:cubicBezTo>
                <a:cubicBezTo>
                  <a:pt x="40" y="302"/>
                  <a:pt x="46" y="290"/>
                  <a:pt x="49" y="289"/>
                </a:cubicBezTo>
                <a:cubicBezTo>
                  <a:pt x="51" y="289"/>
                  <a:pt x="55" y="290"/>
                  <a:pt x="55" y="291"/>
                </a:cubicBezTo>
                <a:cubicBezTo>
                  <a:pt x="55" y="291"/>
                  <a:pt x="56" y="298"/>
                  <a:pt x="56" y="298"/>
                </a:cubicBezTo>
                <a:cubicBezTo>
                  <a:pt x="56" y="299"/>
                  <a:pt x="56" y="300"/>
                  <a:pt x="56" y="301"/>
                </a:cubicBezTo>
                <a:cubicBezTo>
                  <a:pt x="56" y="301"/>
                  <a:pt x="56" y="301"/>
                  <a:pt x="57" y="300"/>
                </a:cubicBezTo>
                <a:cubicBezTo>
                  <a:pt x="58" y="300"/>
                  <a:pt x="60" y="299"/>
                  <a:pt x="61" y="300"/>
                </a:cubicBezTo>
                <a:cubicBezTo>
                  <a:pt x="66" y="303"/>
                  <a:pt x="64" y="314"/>
                  <a:pt x="63" y="319"/>
                </a:cubicBezTo>
                <a:cubicBezTo>
                  <a:pt x="63" y="318"/>
                  <a:pt x="64" y="318"/>
                  <a:pt x="65" y="318"/>
                </a:cubicBezTo>
                <a:cubicBezTo>
                  <a:pt x="68" y="319"/>
                  <a:pt x="67" y="328"/>
                  <a:pt x="64" y="328"/>
                </a:cubicBezTo>
                <a:cubicBezTo>
                  <a:pt x="64" y="328"/>
                  <a:pt x="64" y="330"/>
                  <a:pt x="63" y="330"/>
                </a:cubicBezTo>
                <a:cubicBezTo>
                  <a:pt x="63" y="330"/>
                  <a:pt x="62" y="328"/>
                  <a:pt x="63" y="328"/>
                </a:cubicBezTo>
                <a:cubicBezTo>
                  <a:pt x="61" y="327"/>
                  <a:pt x="61" y="324"/>
                  <a:pt x="61" y="322"/>
                </a:cubicBezTo>
                <a:cubicBezTo>
                  <a:pt x="61" y="321"/>
                  <a:pt x="60" y="319"/>
                  <a:pt x="58" y="318"/>
                </a:cubicBezTo>
                <a:cubicBezTo>
                  <a:pt x="58" y="318"/>
                  <a:pt x="56" y="319"/>
                  <a:pt x="56" y="319"/>
                </a:cubicBezTo>
                <a:cubicBezTo>
                  <a:pt x="56" y="318"/>
                  <a:pt x="55" y="316"/>
                  <a:pt x="54" y="316"/>
                </a:cubicBezTo>
                <a:cubicBezTo>
                  <a:pt x="52" y="316"/>
                  <a:pt x="53" y="319"/>
                  <a:pt x="52" y="321"/>
                </a:cubicBezTo>
                <a:cubicBezTo>
                  <a:pt x="53" y="324"/>
                  <a:pt x="52" y="328"/>
                  <a:pt x="51" y="329"/>
                </a:cubicBezTo>
                <a:cubicBezTo>
                  <a:pt x="50" y="329"/>
                  <a:pt x="49" y="329"/>
                  <a:pt x="49" y="329"/>
                </a:cubicBezTo>
                <a:cubicBezTo>
                  <a:pt x="49" y="330"/>
                  <a:pt x="50" y="330"/>
                  <a:pt x="50" y="331"/>
                </a:cubicBezTo>
                <a:cubicBezTo>
                  <a:pt x="51" y="332"/>
                  <a:pt x="52" y="333"/>
                  <a:pt x="53" y="334"/>
                </a:cubicBezTo>
                <a:cubicBezTo>
                  <a:pt x="53" y="335"/>
                  <a:pt x="53" y="335"/>
                  <a:pt x="53" y="336"/>
                </a:cubicBezTo>
                <a:cubicBezTo>
                  <a:pt x="56" y="333"/>
                  <a:pt x="57" y="335"/>
                  <a:pt x="56" y="337"/>
                </a:cubicBezTo>
                <a:cubicBezTo>
                  <a:pt x="57" y="338"/>
                  <a:pt x="57" y="339"/>
                  <a:pt x="57" y="339"/>
                </a:cubicBezTo>
                <a:cubicBezTo>
                  <a:pt x="57" y="340"/>
                  <a:pt x="56" y="340"/>
                  <a:pt x="56" y="339"/>
                </a:cubicBezTo>
                <a:cubicBezTo>
                  <a:pt x="56" y="340"/>
                  <a:pt x="56" y="341"/>
                  <a:pt x="55" y="341"/>
                </a:cubicBezTo>
                <a:cubicBezTo>
                  <a:pt x="55" y="341"/>
                  <a:pt x="56" y="342"/>
                  <a:pt x="56" y="342"/>
                </a:cubicBezTo>
                <a:cubicBezTo>
                  <a:pt x="56" y="343"/>
                  <a:pt x="57" y="343"/>
                  <a:pt x="57" y="343"/>
                </a:cubicBezTo>
                <a:cubicBezTo>
                  <a:pt x="58" y="344"/>
                  <a:pt x="57" y="345"/>
                  <a:pt x="57" y="345"/>
                </a:cubicBezTo>
                <a:cubicBezTo>
                  <a:pt x="58" y="346"/>
                  <a:pt x="59" y="347"/>
                  <a:pt x="60" y="348"/>
                </a:cubicBezTo>
                <a:cubicBezTo>
                  <a:pt x="60" y="348"/>
                  <a:pt x="61" y="348"/>
                  <a:pt x="61" y="350"/>
                </a:cubicBezTo>
                <a:cubicBezTo>
                  <a:pt x="62" y="351"/>
                  <a:pt x="62" y="351"/>
                  <a:pt x="63" y="352"/>
                </a:cubicBezTo>
                <a:cubicBezTo>
                  <a:pt x="65" y="356"/>
                  <a:pt x="66" y="361"/>
                  <a:pt x="68" y="365"/>
                </a:cubicBezTo>
                <a:cubicBezTo>
                  <a:pt x="68" y="366"/>
                  <a:pt x="68" y="366"/>
                  <a:pt x="68" y="366"/>
                </a:cubicBezTo>
                <a:cubicBezTo>
                  <a:pt x="68" y="366"/>
                  <a:pt x="69" y="365"/>
                  <a:pt x="68" y="365"/>
                </a:cubicBezTo>
                <a:cubicBezTo>
                  <a:pt x="68" y="364"/>
                  <a:pt x="69" y="362"/>
                  <a:pt x="71" y="361"/>
                </a:cubicBezTo>
                <a:cubicBezTo>
                  <a:pt x="71" y="360"/>
                  <a:pt x="71" y="360"/>
                  <a:pt x="71" y="360"/>
                </a:cubicBezTo>
                <a:cubicBezTo>
                  <a:pt x="72" y="360"/>
                  <a:pt x="74" y="359"/>
                  <a:pt x="75" y="359"/>
                </a:cubicBezTo>
                <a:cubicBezTo>
                  <a:pt x="82" y="360"/>
                  <a:pt x="82" y="374"/>
                  <a:pt x="79" y="380"/>
                </a:cubicBezTo>
                <a:cubicBezTo>
                  <a:pt x="79" y="381"/>
                  <a:pt x="77" y="383"/>
                  <a:pt x="75" y="384"/>
                </a:cubicBezTo>
                <a:cubicBezTo>
                  <a:pt x="76" y="386"/>
                  <a:pt x="77" y="388"/>
                  <a:pt x="76" y="388"/>
                </a:cubicBezTo>
                <a:cubicBezTo>
                  <a:pt x="75" y="389"/>
                  <a:pt x="75" y="387"/>
                  <a:pt x="74" y="385"/>
                </a:cubicBezTo>
                <a:cubicBezTo>
                  <a:pt x="74" y="385"/>
                  <a:pt x="74" y="385"/>
                  <a:pt x="74" y="385"/>
                </a:cubicBezTo>
                <a:cubicBezTo>
                  <a:pt x="73" y="386"/>
                  <a:pt x="73" y="388"/>
                  <a:pt x="72" y="388"/>
                </a:cubicBezTo>
                <a:cubicBezTo>
                  <a:pt x="71" y="388"/>
                  <a:pt x="69" y="384"/>
                  <a:pt x="67" y="380"/>
                </a:cubicBezTo>
                <a:cubicBezTo>
                  <a:pt x="68" y="385"/>
                  <a:pt x="68" y="392"/>
                  <a:pt x="69" y="397"/>
                </a:cubicBezTo>
                <a:cubicBezTo>
                  <a:pt x="69" y="397"/>
                  <a:pt x="71" y="404"/>
                  <a:pt x="70" y="404"/>
                </a:cubicBezTo>
                <a:cubicBezTo>
                  <a:pt x="69" y="405"/>
                  <a:pt x="69" y="398"/>
                  <a:pt x="69" y="397"/>
                </a:cubicBezTo>
                <a:cubicBezTo>
                  <a:pt x="68" y="391"/>
                  <a:pt x="66" y="381"/>
                  <a:pt x="65" y="375"/>
                </a:cubicBezTo>
                <a:cubicBezTo>
                  <a:pt x="65" y="375"/>
                  <a:pt x="65" y="374"/>
                  <a:pt x="65" y="374"/>
                </a:cubicBezTo>
                <a:cubicBezTo>
                  <a:pt x="65" y="374"/>
                  <a:pt x="65" y="374"/>
                  <a:pt x="66" y="374"/>
                </a:cubicBezTo>
                <a:cubicBezTo>
                  <a:pt x="66" y="374"/>
                  <a:pt x="66" y="375"/>
                  <a:pt x="66" y="375"/>
                </a:cubicBezTo>
                <a:cubicBezTo>
                  <a:pt x="66" y="374"/>
                  <a:pt x="66" y="373"/>
                  <a:pt x="66" y="371"/>
                </a:cubicBezTo>
                <a:cubicBezTo>
                  <a:pt x="65" y="371"/>
                  <a:pt x="64" y="370"/>
                  <a:pt x="64" y="370"/>
                </a:cubicBezTo>
                <a:cubicBezTo>
                  <a:pt x="64" y="369"/>
                  <a:pt x="65" y="369"/>
                  <a:pt x="65" y="369"/>
                </a:cubicBezTo>
                <a:cubicBezTo>
                  <a:pt x="64" y="368"/>
                  <a:pt x="64" y="368"/>
                  <a:pt x="63" y="367"/>
                </a:cubicBezTo>
                <a:cubicBezTo>
                  <a:pt x="62" y="366"/>
                  <a:pt x="62" y="364"/>
                  <a:pt x="62" y="362"/>
                </a:cubicBezTo>
                <a:cubicBezTo>
                  <a:pt x="61" y="361"/>
                  <a:pt x="60" y="359"/>
                  <a:pt x="58" y="357"/>
                </a:cubicBezTo>
                <a:cubicBezTo>
                  <a:pt x="58" y="357"/>
                  <a:pt x="59" y="357"/>
                  <a:pt x="59" y="356"/>
                </a:cubicBezTo>
                <a:cubicBezTo>
                  <a:pt x="58" y="355"/>
                  <a:pt x="55" y="353"/>
                  <a:pt x="55" y="352"/>
                </a:cubicBezTo>
                <a:cubicBezTo>
                  <a:pt x="55" y="352"/>
                  <a:pt x="55" y="351"/>
                  <a:pt x="55" y="350"/>
                </a:cubicBezTo>
                <a:cubicBezTo>
                  <a:pt x="55" y="348"/>
                  <a:pt x="53" y="347"/>
                  <a:pt x="53" y="345"/>
                </a:cubicBezTo>
                <a:cubicBezTo>
                  <a:pt x="52" y="343"/>
                  <a:pt x="51" y="341"/>
                  <a:pt x="51" y="340"/>
                </a:cubicBezTo>
                <a:cubicBezTo>
                  <a:pt x="51" y="340"/>
                  <a:pt x="51" y="340"/>
                  <a:pt x="51" y="340"/>
                </a:cubicBezTo>
                <a:cubicBezTo>
                  <a:pt x="51" y="339"/>
                  <a:pt x="50" y="339"/>
                  <a:pt x="50" y="338"/>
                </a:cubicBezTo>
                <a:cubicBezTo>
                  <a:pt x="50" y="338"/>
                  <a:pt x="50" y="337"/>
                  <a:pt x="50" y="337"/>
                </a:cubicBezTo>
                <a:cubicBezTo>
                  <a:pt x="50" y="336"/>
                  <a:pt x="49" y="336"/>
                  <a:pt x="49" y="336"/>
                </a:cubicBezTo>
                <a:cubicBezTo>
                  <a:pt x="49" y="335"/>
                  <a:pt x="50" y="335"/>
                  <a:pt x="49" y="334"/>
                </a:cubicBezTo>
                <a:cubicBezTo>
                  <a:pt x="49" y="334"/>
                  <a:pt x="48" y="334"/>
                  <a:pt x="48" y="333"/>
                </a:cubicBezTo>
                <a:cubicBezTo>
                  <a:pt x="48" y="333"/>
                  <a:pt x="48" y="332"/>
                  <a:pt x="48" y="332"/>
                </a:cubicBezTo>
                <a:cubicBezTo>
                  <a:pt x="48" y="331"/>
                  <a:pt x="47" y="331"/>
                  <a:pt x="46" y="330"/>
                </a:cubicBezTo>
                <a:cubicBezTo>
                  <a:pt x="45" y="329"/>
                  <a:pt x="46" y="327"/>
                  <a:pt x="45" y="326"/>
                </a:cubicBezTo>
                <a:cubicBezTo>
                  <a:pt x="42" y="323"/>
                  <a:pt x="41" y="319"/>
                  <a:pt x="38" y="315"/>
                </a:cubicBezTo>
                <a:cubicBezTo>
                  <a:pt x="37" y="312"/>
                  <a:pt x="35" y="309"/>
                  <a:pt x="34" y="306"/>
                </a:cubicBezTo>
                <a:cubicBezTo>
                  <a:pt x="34" y="306"/>
                  <a:pt x="34" y="307"/>
                  <a:pt x="33" y="307"/>
                </a:cubicBezTo>
                <a:cubicBezTo>
                  <a:pt x="33" y="310"/>
                  <a:pt x="29" y="311"/>
                  <a:pt x="29" y="312"/>
                </a:cubicBezTo>
                <a:cubicBezTo>
                  <a:pt x="29" y="313"/>
                  <a:pt x="30" y="314"/>
                  <a:pt x="30" y="314"/>
                </a:cubicBezTo>
                <a:cubicBezTo>
                  <a:pt x="30" y="314"/>
                  <a:pt x="30" y="314"/>
                  <a:pt x="30" y="314"/>
                </a:cubicBezTo>
                <a:cubicBezTo>
                  <a:pt x="30" y="314"/>
                  <a:pt x="30" y="314"/>
                  <a:pt x="30" y="315"/>
                </a:cubicBezTo>
                <a:cubicBezTo>
                  <a:pt x="31" y="316"/>
                  <a:pt x="32" y="316"/>
                  <a:pt x="32" y="317"/>
                </a:cubicBezTo>
                <a:cubicBezTo>
                  <a:pt x="33" y="319"/>
                  <a:pt x="32" y="319"/>
                  <a:pt x="32" y="320"/>
                </a:cubicBezTo>
                <a:cubicBezTo>
                  <a:pt x="32" y="320"/>
                  <a:pt x="32" y="320"/>
                  <a:pt x="32" y="320"/>
                </a:cubicBezTo>
                <a:cubicBezTo>
                  <a:pt x="32" y="321"/>
                  <a:pt x="33" y="321"/>
                  <a:pt x="33" y="321"/>
                </a:cubicBezTo>
                <a:cubicBezTo>
                  <a:pt x="34" y="322"/>
                  <a:pt x="34" y="326"/>
                  <a:pt x="33" y="327"/>
                </a:cubicBezTo>
                <a:cubicBezTo>
                  <a:pt x="33" y="327"/>
                  <a:pt x="32" y="326"/>
                  <a:pt x="31" y="325"/>
                </a:cubicBezTo>
                <a:cubicBezTo>
                  <a:pt x="31" y="325"/>
                  <a:pt x="31" y="326"/>
                  <a:pt x="31" y="326"/>
                </a:cubicBezTo>
                <a:cubicBezTo>
                  <a:pt x="31" y="327"/>
                  <a:pt x="31" y="328"/>
                  <a:pt x="31" y="328"/>
                </a:cubicBezTo>
                <a:cubicBezTo>
                  <a:pt x="30" y="334"/>
                  <a:pt x="27" y="336"/>
                  <a:pt x="24" y="332"/>
                </a:cubicBezTo>
                <a:cubicBezTo>
                  <a:pt x="22" y="330"/>
                  <a:pt x="23" y="321"/>
                  <a:pt x="28" y="321"/>
                </a:cubicBezTo>
                <a:cubicBezTo>
                  <a:pt x="30" y="322"/>
                  <a:pt x="29" y="322"/>
                  <a:pt x="28" y="320"/>
                </a:cubicBezTo>
                <a:cubicBezTo>
                  <a:pt x="27" y="317"/>
                  <a:pt x="29" y="315"/>
                  <a:pt x="27" y="314"/>
                </a:cubicBezTo>
                <a:cubicBezTo>
                  <a:pt x="22" y="311"/>
                  <a:pt x="22" y="308"/>
                  <a:pt x="24" y="304"/>
                </a:cubicBezTo>
                <a:cubicBezTo>
                  <a:pt x="22" y="304"/>
                  <a:pt x="23" y="301"/>
                  <a:pt x="23" y="300"/>
                </a:cubicBezTo>
                <a:cubicBezTo>
                  <a:pt x="23" y="300"/>
                  <a:pt x="22" y="299"/>
                  <a:pt x="23" y="299"/>
                </a:cubicBezTo>
                <a:cubicBezTo>
                  <a:pt x="24" y="298"/>
                  <a:pt x="25" y="298"/>
                  <a:pt x="25" y="299"/>
                </a:cubicBezTo>
                <a:cubicBezTo>
                  <a:pt x="26" y="298"/>
                  <a:pt x="27" y="298"/>
                  <a:pt x="29" y="298"/>
                </a:cubicBezTo>
                <a:cubicBezTo>
                  <a:pt x="30" y="298"/>
                  <a:pt x="31" y="298"/>
                  <a:pt x="31" y="299"/>
                </a:cubicBezTo>
                <a:cubicBezTo>
                  <a:pt x="31" y="298"/>
                  <a:pt x="31" y="298"/>
                  <a:pt x="31" y="298"/>
                </a:cubicBezTo>
                <a:cubicBezTo>
                  <a:pt x="30" y="296"/>
                  <a:pt x="31" y="294"/>
                  <a:pt x="30" y="293"/>
                </a:cubicBezTo>
                <a:cubicBezTo>
                  <a:pt x="30" y="291"/>
                  <a:pt x="29" y="291"/>
                  <a:pt x="28" y="289"/>
                </a:cubicBezTo>
                <a:cubicBezTo>
                  <a:pt x="28" y="288"/>
                  <a:pt x="28" y="286"/>
                  <a:pt x="27" y="284"/>
                </a:cubicBezTo>
                <a:cubicBezTo>
                  <a:pt x="27" y="285"/>
                  <a:pt x="26" y="287"/>
                  <a:pt x="26" y="289"/>
                </a:cubicBezTo>
                <a:cubicBezTo>
                  <a:pt x="27" y="286"/>
                  <a:pt x="24" y="287"/>
                  <a:pt x="25" y="288"/>
                </a:cubicBezTo>
                <a:cubicBezTo>
                  <a:pt x="24" y="287"/>
                  <a:pt x="22" y="287"/>
                  <a:pt x="21" y="286"/>
                </a:cubicBezTo>
                <a:cubicBezTo>
                  <a:pt x="21" y="285"/>
                  <a:pt x="21" y="284"/>
                  <a:pt x="22" y="283"/>
                </a:cubicBezTo>
                <a:cubicBezTo>
                  <a:pt x="21" y="283"/>
                  <a:pt x="21" y="281"/>
                  <a:pt x="21" y="281"/>
                </a:cubicBezTo>
                <a:cubicBezTo>
                  <a:pt x="22" y="281"/>
                  <a:pt x="22" y="281"/>
                  <a:pt x="22" y="282"/>
                </a:cubicBezTo>
                <a:cubicBezTo>
                  <a:pt x="23" y="281"/>
                  <a:pt x="24" y="280"/>
                  <a:pt x="25" y="280"/>
                </a:cubicBezTo>
                <a:cubicBezTo>
                  <a:pt x="25" y="279"/>
                  <a:pt x="24" y="278"/>
                  <a:pt x="24" y="277"/>
                </a:cubicBezTo>
                <a:cubicBezTo>
                  <a:pt x="24" y="278"/>
                  <a:pt x="23" y="278"/>
                  <a:pt x="23" y="279"/>
                </a:cubicBezTo>
                <a:cubicBezTo>
                  <a:pt x="22" y="279"/>
                  <a:pt x="20" y="277"/>
                  <a:pt x="21" y="275"/>
                </a:cubicBezTo>
                <a:cubicBezTo>
                  <a:pt x="19" y="275"/>
                  <a:pt x="19" y="273"/>
                  <a:pt x="19" y="271"/>
                </a:cubicBezTo>
                <a:cubicBezTo>
                  <a:pt x="18" y="271"/>
                  <a:pt x="17" y="271"/>
                  <a:pt x="16" y="272"/>
                </a:cubicBezTo>
                <a:cubicBezTo>
                  <a:pt x="16" y="272"/>
                  <a:pt x="17" y="273"/>
                  <a:pt x="17" y="273"/>
                </a:cubicBezTo>
                <a:cubicBezTo>
                  <a:pt x="18" y="275"/>
                  <a:pt x="16" y="278"/>
                  <a:pt x="17" y="279"/>
                </a:cubicBezTo>
                <a:cubicBezTo>
                  <a:pt x="17" y="282"/>
                  <a:pt x="15" y="284"/>
                  <a:pt x="14" y="284"/>
                </a:cubicBezTo>
                <a:cubicBezTo>
                  <a:pt x="14" y="285"/>
                  <a:pt x="13" y="285"/>
                  <a:pt x="13" y="285"/>
                </a:cubicBezTo>
                <a:cubicBezTo>
                  <a:pt x="13" y="285"/>
                  <a:pt x="13" y="285"/>
                  <a:pt x="12" y="284"/>
                </a:cubicBezTo>
                <a:cubicBezTo>
                  <a:pt x="12" y="284"/>
                  <a:pt x="12" y="284"/>
                  <a:pt x="12" y="284"/>
                </a:cubicBezTo>
                <a:cubicBezTo>
                  <a:pt x="12" y="284"/>
                  <a:pt x="11" y="284"/>
                  <a:pt x="12" y="283"/>
                </a:cubicBezTo>
                <a:cubicBezTo>
                  <a:pt x="12" y="283"/>
                  <a:pt x="12" y="283"/>
                  <a:pt x="12" y="283"/>
                </a:cubicBezTo>
                <a:cubicBezTo>
                  <a:pt x="12" y="283"/>
                  <a:pt x="12" y="283"/>
                  <a:pt x="12" y="283"/>
                </a:cubicBezTo>
                <a:cubicBezTo>
                  <a:pt x="12" y="282"/>
                  <a:pt x="12" y="280"/>
                  <a:pt x="12" y="278"/>
                </a:cubicBezTo>
                <a:cubicBezTo>
                  <a:pt x="12" y="278"/>
                  <a:pt x="12" y="277"/>
                  <a:pt x="12" y="277"/>
                </a:cubicBezTo>
                <a:cubicBezTo>
                  <a:pt x="12" y="278"/>
                  <a:pt x="12" y="278"/>
                  <a:pt x="11" y="279"/>
                </a:cubicBezTo>
                <a:cubicBezTo>
                  <a:pt x="9" y="282"/>
                  <a:pt x="7" y="277"/>
                  <a:pt x="8" y="276"/>
                </a:cubicBezTo>
                <a:cubicBezTo>
                  <a:pt x="8" y="275"/>
                  <a:pt x="9" y="274"/>
                  <a:pt x="9" y="274"/>
                </a:cubicBezTo>
                <a:cubicBezTo>
                  <a:pt x="10" y="274"/>
                  <a:pt x="10" y="275"/>
                  <a:pt x="10" y="275"/>
                </a:cubicBezTo>
                <a:cubicBezTo>
                  <a:pt x="11" y="275"/>
                  <a:pt x="11" y="275"/>
                  <a:pt x="11" y="276"/>
                </a:cubicBezTo>
                <a:cubicBezTo>
                  <a:pt x="11" y="275"/>
                  <a:pt x="11" y="275"/>
                  <a:pt x="11" y="275"/>
                </a:cubicBezTo>
                <a:cubicBezTo>
                  <a:pt x="11" y="275"/>
                  <a:pt x="10" y="274"/>
                  <a:pt x="10" y="274"/>
                </a:cubicBezTo>
                <a:cubicBezTo>
                  <a:pt x="10" y="274"/>
                  <a:pt x="10" y="273"/>
                  <a:pt x="10" y="272"/>
                </a:cubicBezTo>
                <a:cubicBezTo>
                  <a:pt x="10" y="273"/>
                  <a:pt x="10" y="273"/>
                  <a:pt x="10" y="273"/>
                </a:cubicBezTo>
                <a:cubicBezTo>
                  <a:pt x="10" y="273"/>
                  <a:pt x="9" y="272"/>
                  <a:pt x="9" y="272"/>
                </a:cubicBezTo>
                <a:cubicBezTo>
                  <a:pt x="10" y="271"/>
                  <a:pt x="11" y="271"/>
                  <a:pt x="11" y="272"/>
                </a:cubicBezTo>
                <a:cubicBezTo>
                  <a:pt x="11" y="271"/>
                  <a:pt x="12" y="270"/>
                  <a:pt x="13" y="269"/>
                </a:cubicBezTo>
                <a:cubicBezTo>
                  <a:pt x="12" y="266"/>
                  <a:pt x="11" y="263"/>
                  <a:pt x="9" y="262"/>
                </a:cubicBezTo>
                <a:cubicBezTo>
                  <a:pt x="9" y="262"/>
                  <a:pt x="8" y="262"/>
                  <a:pt x="7" y="263"/>
                </a:cubicBezTo>
                <a:cubicBezTo>
                  <a:pt x="7" y="263"/>
                  <a:pt x="7" y="263"/>
                  <a:pt x="7" y="263"/>
                </a:cubicBezTo>
                <a:cubicBezTo>
                  <a:pt x="6" y="263"/>
                  <a:pt x="6" y="263"/>
                  <a:pt x="6" y="262"/>
                </a:cubicBezTo>
                <a:cubicBezTo>
                  <a:pt x="6" y="262"/>
                  <a:pt x="7" y="257"/>
                  <a:pt x="9" y="260"/>
                </a:cubicBezTo>
                <a:cubicBezTo>
                  <a:pt x="9" y="260"/>
                  <a:pt x="8" y="261"/>
                  <a:pt x="8" y="261"/>
                </a:cubicBezTo>
                <a:cubicBezTo>
                  <a:pt x="11" y="263"/>
                  <a:pt x="10" y="259"/>
                  <a:pt x="10" y="256"/>
                </a:cubicBezTo>
                <a:cubicBezTo>
                  <a:pt x="11" y="254"/>
                  <a:pt x="12" y="252"/>
                  <a:pt x="13" y="250"/>
                </a:cubicBezTo>
                <a:cubicBezTo>
                  <a:pt x="13" y="250"/>
                  <a:pt x="11" y="245"/>
                  <a:pt x="10" y="243"/>
                </a:cubicBezTo>
                <a:cubicBezTo>
                  <a:pt x="10" y="242"/>
                  <a:pt x="9" y="241"/>
                  <a:pt x="9" y="240"/>
                </a:cubicBezTo>
                <a:cubicBezTo>
                  <a:pt x="9" y="240"/>
                  <a:pt x="9" y="240"/>
                  <a:pt x="9" y="240"/>
                </a:cubicBezTo>
                <a:cubicBezTo>
                  <a:pt x="8" y="239"/>
                  <a:pt x="8" y="239"/>
                  <a:pt x="8" y="239"/>
                </a:cubicBezTo>
                <a:cubicBezTo>
                  <a:pt x="8" y="239"/>
                  <a:pt x="8" y="239"/>
                  <a:pt x="8" y="239"/>
                </a:cubicBezTo>
                <a:cubicBezTo>
                  <a:pt x="8" y="240"/>
                  <a:pt x="8" y="240"/>
                  <a:pt x="7" y="240"/>
                </a:cubicBezTo>
                <a:cubicBezTo>
                  <a:pt x="8" y="240"/>
                  <a:pt x="8" y="238"/>
                  <a:pt x="8" y="237"/>
                </a:cubicBezTo>
                <a:cubicBezTo>
                  <a:pt x="7" y="237"/>
                  <a:pt x="7" y="237"/>
                  <a:pt x="7" y="236"/>
                </a:cubicBezTo>
                <a:cubicBezTo>
                  <a:pt x="7" y="236"/>
                  <a:pt x="7" y="236"/>
                  <a:pt x="7" y="236"/>
                </a:cubicBezTo>
                <a:cubicBezTo>
                  <a:pt x="7" y="236"/>
                  <a:pt x="7" y="236"/>
                  <a:pt x="7" y="235"/>
                </a:cubicBezTo>
                <a:cubicBezTo>
                  <a:pt x="7" y="234"/>
                  <a:pt x="6" y="234"/>
                  <a:pt x="5" y="235"/>
                </a:cubicBezTo>
                <a:cubicBezTo>
                  <a:pt x="6" y="234"/>
                  <a:pt x="5" y="239"/>
                  <a:pt x="4" y="238"/>
                </a:cubicBezTo>
                <a:cubicBezTo>
                  <a:pt x="4" y="238"/>
                  <a:pt x="4" y="235"/>
                  <a:pt x="4" y="233"/>
                </a:cubicBezTo>
                <a:cubicBezTo>
                  <a:pt x="4" y="233"/>
                  <a:pt x="3" y="233"/>
                  <a:pt x="3" y="233"/>
                </a:cubicBezTo>
                <a:cubicBezTo>
                  <a:pt x="3" y="236"/>
                  <a:pt x="3" y="234"/>
                  <a:pt x="2" y="233"/>
                </a:cubicBezTo>
                <a:cubicBezTo>
                  <a:pt x="2" y="233"/>
                  <a:pt x="2" y="233"/>
                  <a:pt x="1" y="233"/>
                </a:cubicBezTo>
                <a:cubicBezTo>
                  <a:pt x="1" y="233"/>
                  <a:pt x="1" y="234"/>
                  <a:pt x="1" y="234"/>
                </a:cubicBezTo>
                <a:cubicBezTo>
                  <a:pt x="1" y="272"/>
                  <a:pt x="1" y="272"/>
                  <a:pt x="1" y="272"/>
                </a:cubicBezTo>
                <a:cubicBezTo>
                  <a:pt x="1" y="273"/>
                  <a:pt x="2" y="274"/>
                  <a:pt x="1" y="275"/>
                </a:cubicBezTo>
                <a:cubicBezTo>
                  <a:pt x="1" y="275"/>
                  <a:pt x="1" y="275"/>
                  <a:pt x="1" y="275"/>
                </a:cubicBezTo>
                <a:cubicBezTo>
                  <a:pt x="1" y="359"/>
                  <a:pt x="1" y="359"/>
                  <a:pt x="1" y="359"/>
                </a:cubicBezTo>
                <a:cubicBezTo>
                  <a:pt x="1" y="359"/>
                  <a:pt x="1" y="359"/>
                  <a:pt x="1" y="359"/>
                </a:cubicBezTo>
                <a:cubicBezTo>
                  <a:pt x="7" y="360"/>
                  <a:pt x="4" y="368"/>
                  <a:pt x="1" y="371"/>
                </a:cubicBezTo>
                <a:cubicBezTo>
                  <a:pt x="1" y="448"/>
                  <a:pt x="1" y="448"/>
                  <a:pt x="1" y="448"/>
                </a:cubicBezTo>
                <a:cubicBezTo>
                  <a:pt x="1" y="448"/>
                  <a:pt x="1" y="449"/>
                  <a:pt x="1" y="451"/>
                </a:cubicBezTo>
                <a:cubicBezTo>
                  <a:pt x="1" y="588"/>
                  <a:pt x="1" y="588"/>
                  <a:pt x="1" y="588"/>
                </a:cubicBezTo>
                <a:cubicBezTo>
                  <a:pt x="302" y="762"/>
                  <a:pt x="302" y="762"/>
                  <a:pt x="302" y="762"/>
                </a:cubicBezTo>
                <a:cubicBezTo>
                  <a:pt x="305" y="760"/>
                  <a:pt x="299" y="759"/>
                  <a:pt x="298" y="758"/>
                </a:cubicBezTo>
                <a:close/>
                <a:moveTo>
                  <a:pt x="435" y="727"/>
                </a:moveTo>
                <a:cubicBezTo>
                  <a:pt x="435" y="728"/>
                  <a:pt x="433" y="728"/>
                  <a:pt x="432" y="727"/>
                </a:cubicBezTo>
                <a:cubicBezTo>
                  <a:pt x="432" y="726"/>
                  <a:pt x="434" y="725"/>
                  <a:pt x="435" y="727"/>
                </a:cubicBezTo>
                <a:close/>
                <a:moveTo>
                  <a:pt x="442" y="708"/>
                </a:moveTo>
                <a:cubicBezTo>
                  <a:pt x="440" y="708"/>
                  <a:pt x="440" y="706"/>
                  <a:pt x="442" y="708"/>
                </a:cubicBezTo>
                <a:close/>
                <a:moveTo>
                  <a:pt x="440" y="704"/>
                </a:moveTo>
                <a:cubicBezTo>
                  <a:pt x="439" y="704"/>
                  <a:pt x="439" y="702"/>
                  <a:pt x="440" y="704"/>
                </a:cubicBezTo>
                <a:close/>
                <a:moveTo>
                  <a:pt x="507" y="674"/>
                </a:moveTo>
                <a:cubicBezTo>
                  <a:pt x="509" y="673"/>
                  <a:pt x="509" y="676"/>
                  <a:pt x="507" y="674"/>
                </a:cubicBezTo>
                <a:close/>
                <a:moveTo>
                  <a:pt x="501" y="668"/>
                </a:moveTo>
                <a:cubicBezTo>
                  <a:pt x="502" y="670"/>
                  <a:pt x="499" y="669"/>
                  <a:pt x="499" y="668"/>
                </a:cubicBezTo>
                <a:cubicBezTo>
                  <a:pt x="499" y="667"/>
                  <a:pt x="501" y="667"/>
                  <a:pt x="501" y="668"/>
                </a:cubicBezTo>
                <a:close/>
                <a:moveTo>
                  <a:pt x="500" y="675"/>
                </a:moveTo>
                <a:cubicBezTo>
                  <a:pt x="499" y="676"/>
                  <a:pt x="498" y="674"/>
                  <a:pt x="498" y="674"/>
                </a:cubicBezTo>
                <a:cubicBezTo>
                  <a:pt x="499" y="674"/>
                  <a:pt x="499" y="675"/>
                  <a:pt x="500" y="675"/>
                </a:cubicBezTo>
                <a:close/>
                <a:moveTo>
                  <a:pt x="510" y="641"/>
                </a:moveTo>
                <a:cubicBezTo>
                  <a:pt x="510" y="641"/>
                  <a:pt x="511" y="641"/>
                  <a:pt x="511" y="641"/>
                </a:cubicBezTo>
                <a:cubicBezTo>
                  <a:pt x="513" y="643"/>
                  <a:pt x="509" y="642"/>
                  <a:pt x="510" y="641"/>
                </a:cubicBezTo>
                <a:close/>
                <a:moveTo>
                  <a:pt x="509" y="646"/>
                </a:moveTo>
                <a:cubicBezTo>
                  <a:pt x="510" y="648"/>
                  <a:pt x="507" y="646"/>
                  <a:pt x="508" y="645"/>
                </a:cubicBezTo>
                <a:cubicBezTo>
                  <a:pt x="509" y="645"/>
                  <a:pt x="509" y="646"/>
                  <a:pt x="509" y="646"/>
                </a:cubicBezTo>
                <a:close/>
                <a:moveTo>
                  <a:pt x="508" y="643"/>
                </a:moveTo>
                <a:cubicBezTo>
                  <a:pt x="509" y="642"/>
                  <a:pt x="509" y="643"/>
                  <a:pt x="509" y="644"/>
                </a:cubicBezTo>
                <a:cubicBezTo>
                  <a:pt x="510" y="645"/>
                  <a:pt x="507" y="644"/>
                  <a:pt x="508" y="643"/>
                </a:cubicBezTo>
                <a:close/>
                <a:moveTo>
                  <a:pt x="500" y="642"/>
                </a:moveTo>
                <a:cubicBezTo>
                  <a:pt x="500" y="642"/>
                  <a:pt x="502" y="645"/>
                  <a:pt x="502" y="646"/>
                </a:cubicBezTo>
                <a:cubicBezTo>
                  <a:pt x="501" y="651"/>
                  <a:pt x="497" y="643"/>
                  <a:pt x="500" y="642"/>
                </a:cubicBezTo>
                <a:close/>
                <a:moveTo>
                  <a:pt x="498" y="644"/>
                </a:moveTo>
                <a:cubicBezTo>
                  <a:pt x="498" y="644"/>
                  <a:pt x="498" y="644"/>
                  <a:pt x="498" y="644"/>
                </a:cubicBezTo>
                <a:cubicBezTo>
                  <a:pt x="498" y="644"/>
                  <a:pt x="496" y="644"/>
                  <a:pt x="498" y="644"/>
                </a:cubicBezTo>
                <a:close/>
                <a:moveTo>
                  <a:pt x="495" y="636"/>
                </a:moveTo>
                <a:cubicBezTo>
                  <a:pt x="496" y="635"/>
                  <a:pt x="497" y="638"/>
                  <a:pt x="495" y="636"/>
                </a:cubicBezTo>
                <a:close/>
                <a:moveTo>
                  <a:pt x="495" y="637"/>
                </a:moveTo>
                <a:cubicBezTo>
                  <a:pt x="496" y="637"/>
                  <a:pt x="496" y="638"/>
                  <a:pt x="496" y="638"/>
                </a:cubicBezTo>
                <a:cubicBezTo>
                  <a:pt x="496" y="639"/>
                  <a:pt x="494" y="638"/>
                  <a:pt x="495" y="637"/>
                </a:cubicBezTo>
                <a:close/>
                <a:moveTo>
                  <a:pt x="493" y="642"/>
                </a:moveTo>
                <a:cubicBezTo>
                  <a:pt x="493" y="642"/>
                  <a:pt x="494" y="643"/>
                  <a:pt x="494" y="643"/>
                </a:cubicBezTo>
                <a:cubicBezTo>
                  <a:pt x="494" y="645"/>
                  <a:pt x="492" y="643"/>
                  <a:pt x="493" y="642"/>
                </a:cubicBezTo>
                <a:close/>
                <a:moveTo>
                  <a:pt x="494" y="650"/>
                </a:moveTo>
                <a:cubicBezTo>
                  <a:pt x="494" y="650"/>
                  <a:pt x="493" y="653"/>
                  <a:pt x="492" y="651"/>
                </a:cubicBezTo>
                <a:cubicBezTo>
                  <a:pt x="492" y="650"/>
                  <a:pt x="494" y="648"/>
                  <a:pt x="494" y="650"/>
                </a:cubicBezTo>
                <a:close/>
                <a:moveTo>
                  <a:pt x="498" y="620"/>
                </a:moveTo>
                <a:cubicBezTo>
                  <a:pt x="498" y="620"/>
                  <a:pt x="498" y="620"/>
                  <a:pt x="498" y="620"/>
                </a:cubicBezTo>
                <a:cubicBezTo>
                  <a:pt x="498" y="620"/>
                  <a:pt x="498" y="620"/>
                  <a:pt x="498" y="620"/>
                </a:cubicBezTo>
                <a:cubicBezTo>
                  <a:pt x="498" y="620"/>
                  <a:pt x="498" y="620"/>
                  <a:pt x="498" y="620"/>
                </a:cubicBezTo>
                <a:close/>
                <a:moveTo>
                  <a:pt x="492" y="624"/>
                </a:moveTo>
                <a:cubicBezTo>
                  <a:pt x="493" y="624"/>
                  <a:pt x="493" y="625"/>
                  <a:pt x="492" y="624"/>
                </a:cubicBezTo>
                <a:close/>
                <a:moveTo>
                  <a:pt x="490" y="621"/>
                </a:moveTo>
                <a:cubicBezTo>
                  <a:pt x="491" y="622"/>
                  <a:pt x="490" y="624"/>
                  <a:pt x="489" y="624"/>
                </a:cubicBezTo>
                <a:cubicBezTo>
                  <a:pt x="489" y="623"/>
                  <a:pt x="490" y="621"/>
                  <a:pt x="490" y="621"/>
                </a:cubicBezTo>
                <a:close/>
                <a:moveTo>
                  <a:pt x="489" y="620"/>
                </a:moveTo>
                <a:cubicBezTo>
                  <a:pt x="490" y="620"/>
                  <a:pt x="487" y="619"/>
                  <a:pt x="489" y="620"/>
                </a:cubicBezTo>
                <a:close/>
                <a:moveTo>
                  <a:pt x="485" y="657"/>
                </a:moveTo>
                <a:cubicBezTo>
                  <a:pt x="486" y="656"/>
                  <a:pt x="487" y="657"/>
                  <a:pt x="487" y="657"/>
                </a:cubicBezTo>
                <a:cubicBezTo>
                  <a:pt x="488" y="659"/>
                  <a:pt x="484" y="658"/>
                  <a:pt x="485" y="657"/>
                </a:cubicBezTo>
                <a:close/>
                <a:moveTo>
                  <a:pt x="485" y="644"/>
                </a:moveTo>
                <a:cubicBezTo>
                  <a:pt x="489" y="644"/>
                  <a:pt x="487" y="647"/>
                  <a:pt x="485" y="644"/>
                </a:cubicBezTo>
                <a:close/>
                <a:moveTo>
                  <a:pt x="484" y="637"/>
                </a:moveTo>
                <a:cubicBezTo>
                  <a:pt x="485" y="636"/>
                  <a:pt x="486" y="637"/>
                  <a:pt x="486" y="637"/>
                </a:cubicBezTo>
                <a:cubicBezTo>
                  <a:pt x="486" y="639"/>
                  <a:pt x="484" y="637"/>
                  <a:pt x="484" y="637"/>
                </a:cubicBezTo>
                <a:close/>
                <a:moveTo>
                  <a:pt x="536" y="658"/>
                </a:moveTo>
                <a:cubicBezTo>
                  <a:pt x="533" y="660"/>
                  <a:pt x="529" y="656"/>
                  <a:pt x="530" y="654"/>
                </a:cubicBezTo>
                <a:cubicBezTo>
                  <a:pt x="531" y="652"/>
                  <a:pt x="537" y="654"/>
                  <a:pt x="538" y="655"/>
                </a:cubicBezTo>
                <a:cubicBezTo>
                  <a:pt x="538" y="655"/>
                  <a:pt x="536" y="658"/>
                  <a:pt x="536" y="658"/>
                </a:cubicBezTo>
                <a:close/>
                <a:moveTo>
                  <a:pt x="555" y="657"/>
                </a:moveTo>
                <a:cubicBezTo>
                  <a:pt x="553" y="657"/>
                  <a:pt x="556" y="658"/>
                  <a:pt x="555" y="657"/>
                </a:cubicBezTo>
                <a:close/>
                <a:moveTo>
                  <a:pt x="551" y="654"/>
                </a:moveTo>
                <a:cubicBezTo>
                  <a:pt x="551" y="654"/>
                  <a:pt x="552" y="654"/>
                  <a:pt x="552" y="654"/>
                </a:cubicBezTo>
                <a:cubicBezTo>
                  <a:pt x="553" y="656"/>
                  <a:pt x="549" y="655"/>
                  <a:pt x="551" y="654"/>
                </a:cubicBezTo>
                <a:close/>
                <a:moveTo>
                  <a:pt x="550" y="653"/>
                </a:moveTo>
                <a:cubicBezTo>
                  <a:pt x="550" y="653"/>
                  <a:pt x="550" y="654"/>
                  <a:pt x="549" y="654"/>
                </a:cubicBezTo>
                <a:cubicBezTo>
                  <a:pt x="549" y="653"/>
                  <a:pt x="550" y="653"/>
                  <a:pt x="550" y="653"/>
                </a:cubicBezTo>
                <a:close/>
                <a:moveTo>
                  <a:pt x="546" y="654"/>
                </a:moveTo>
                <a:cubicBezTo>
                  <a:pt x="547" y="654"/>
                  <a:pt x="548" y="655"/>
                  <a:pt x="547" y="656"/>
                </a:cubicBezTo>
                <a:cubicBezTo>
                  <a:pt x="546" y="656"/>
                  <a:pt x="546" y="654"/>
                  <a:pt x="546" y="654"/>
                </a:cubicBezTo>
                <a:close/>
                <a:moveTo>
                  <a:pt x="543" y="650"/>
                </a:moveTo>
                <a:cubicBezTo>
                  <a:pt x="544" y="649"/>
                  <a:pt x="545" y="650"/>
                  <a:pt x="545" y="650"/>
                </a:cubicBezTo>
                <a:cubicBezTo>
                  <a:pt x="546" y="653"/>
                  <a:pt x="542" y="651"/>
                  <a:pt x="543" y="650"/>
                </a:cubicBezTo>
                <a:close/>
                <a:moveTo>
                  <a:pt x="542" y="658"/>
                </a:moveTo>
                <a:cubicBezTo>
                  <a:pt x="544" y="657"/>
                  <a:pt x="543" y="659"/>
                  <a:pt x="542" y="658"/>
                </a:cubicBezTo>
                <a:close/>
                <a:moveTo>
                  <a:pt x="564" y="640"/>
                </a:moveTo>
                <a:cubicBezTo>
                  <a:pt x="565" y="640"/>
                  <a:pt x="564" y="641"/>
                  <a:pt x="564" y="641"/>
                </a:cubicBezTo>
                <a:cubicBezTo>
                  <a:pt x="564" y="643"/>
                  <a:pt x="562" y="640"/>
                  <a:pt x="564" y="640"/>
                </a:cubicBezTo>
                <a:close/>
                <a:moveTo>
                  <a:pt x="549" y="622"/>
                </a:moveTo>
                <a:cubicBezTo>
                  <a:pt x="549" y="622"/>
                  <a:pt x="549" y="622"/>
                  <a:pt x="549" y="622"/>
                </a:cubicBezTo>
                <a:cubicBezTo>
                  <a:pt x="548" y="621"/>
                  <a:pt x="549" y="622"/>
                  <a:pt x="549" y="622"/>
                </a:cubicBezTo>
                <a:close/>
                <a:moveTo>
                  <a:pt x="541" y="636"/>
                </a:moveTo>
                <a:cubicBezTo>
                  <a:pt x="543" y="634"/>
                  <a:pt x="547" y="636"/>
                  <a:pt x="547" y="638"/>
                </a:cubicBezTo>
                <a:cubicBezTo>
                  <a:pt x="547" y="643"/>
                  <a:pt x="539" y="639"/>
                  <a:pt x="541" y="636"/>
                </a:cubicBezTo>
                <a:close/>
                <a:moveTo>
                  <a:pt x="547" y="620"/>
                </a:moveTo>
                <a:cubicBezTo>
                  <a:pt x="547" y="620"/>
                  <a:pt x="547" y="620"/>
                  <a:pt x="547" y="619"/>
                </a:cubicBezTo>
                <a:cubicBezTo>
                  <a:pt x="546" y="619"/>
                  <a:pt x="546" y="619"/>
                  <a:pt x="546" y="619"/>
                </a:cubicBezTo>
                <a:cubicBezTo>
                  <a:pt x="546" y="619"/>
                  <a:pt x="547" y="620"/>
                  <a:pt x="547" y="620"/>
                </a:cubicBezTo>
                <a:close/>
                <a:moveTo>
                  <a:pt x="546" y="630"/>
                </a:moveTo>
                <a:cubicBezTo>
                  <a:pt x="547" y="633"/>
                  <a:pt x="544" y="631"/>
                  <a:pt x="543" y="630"/>
                </a:cubicBezTo>
                <a:cubicBezTo>
                  <a:pt x="543" y="629"/>
                  <a:pt x="546" y="629"/>
                  <a:pt x="546" y="630"/>
                </a:cubicBezTo>
                <a:close/>
                <a:moveTo>
                  <a:pt x="541" y="625"/>
                </a:moveTo>
                <a:cubicBezTo>
                  <a:pt x="542" y="625"/>
                  <a:pt x="542" y="626"/>
                  <a:pt x="542" y="626"/>
                </a:cubicBezTo>
                <a:cubicBezTo>
                  <a:pt x="543" y="628"/>
                  <a:pt x="540" y="626"/>
                  <a:pt x="541" y="625"/>
                </a:cubicBezTo>
                <a:close/>
                <a:moveTo>
                  <a:pt x="537" y="624"/>
                </a:moveTo>
                <a:cubicBezTo>
                  <a:pt x="537" y="624"/>
                  <a:pt x="538" y="625"/>
                  <a:pt x="538" y="625"/>
                </a:cubicBezTo>
                <a:cubicBezTo>
                  <a:pt x="539" y="626"/>
                  <a:pt x="535" y="625"/>
                  <a:pt x="537" y="624"/>
                </a:cubicBezTo>
                <a:close/>
                <a:moveTo>
                  <a:pt x="546" y="599"/>
                </a:moveTo>
                <a:cubicBezTo>
                  <a:pt x="547" y="598"/>
                  <a:pt x="547" y="601"/>
                  <a:pt x="546" y="599"/>
                </a:cubicBezTo>
                <a:close/>
                <a:moveTo>
                  <a:pt x="541" y="575"/>
                </a:moveTo>
                <a:cubicBezTo>
                  <a:pt x="542" y="576"/>
                  <a:pt x="541" y="573"/>
                  <a:pt x="541" y="575"/>
                </a:cubicBezTo>
                <a:close/>
                <a:moveTo>
                  <a:pt x="537" y="591"/>
                </a:moveTo>
                <a:cubicBezTo>
                  <a:pt x="537" y="591"/>
                  <a:pt x="537" y="591"/>
                  <a:pt x="537" y="591"/>
                </a:cubicBezTo>
                <a:cubicBezTo>
                  <a:pt x="535" y="590"/>
                  <a:pt x="539" y="590"/>
                  <a:pt x="537" y="591"/>
                </a:cubicBezTo>
                <a:close/>
                <a:moveTo>
                  <a:pt x="539" y="565"/>
                </a:moveTo>
                <a:cubicBezTo>
                  <a:pt x="539" y="565"/>
                  <a:pt x="539" y="565"/>
                  <a:pt x="539" y="565"/>
                </a:cubicBezTo>
                <a:cubicBezTo>
                  <a:pt x="539" y="564"/>
                  <a:pt x="539" y="563"/>
                  <a:pt x="539" y="565"/>
                </a:cubicBezTo>
                <a:close/>
                <a:moveTo>
                  <a:pt x="565" y="556"/>
                </a:moveTo>
                <a:cubicBezTo>
                  <a:pt x="564" y="557"/>
                  <a:pt x="564" y="555"/>
                  <a:pt x="565" y="556"/>
                </a:cubicBezTo>
                <a:close/>
                <a:moveTo>
                  <a:pt x="562" y="554"/>
                </a:moveTo>
                <a:cubicBezTo>
                  <a:pt x="564" y="554"/>
                  <a:pt x="562" y="555"/>
                  <a:pt x="562" y="554"/>
                </a:cubicBezTo>
                <a:close/>
                <a:moveTo>
                  <a:pt x="559" y="574"/>
                </a:moveTo>
                <a:cubicBezTo>
                  <a:pt x="559" y="574"/>
                  <a:pt x="559" y="574"/>
                  <a:pt x="560" y="574"/>
                </a:cubicBezTo>
                <a:cubicBezTo>
                  <a:pt x="560" y="574"/>
                  <a:pt x="560" y="574"/>
                  <a:pt x="560" y="574"/>
                </a:cubicBezTo>
                <a:cubicBezTo>
                  <a:pt x="560" y="574"/>
                  <a:pt x="560" y="574"/>
                  <a:pt x="560" y="574"/>
                </a:cubicBezTo>
                <a:cubicBezTo>
                  <a:pt x="559" y="574"/>
                  <a:pt x="559" y="574"/>
                  <a:pt x="559" y="573"/>
                </a:cubicBezTo>
                <a:cubicBezTo>
                  <a:pt x="559" y="573"/>
                  <a:pt x="559" y="574"/>
                  <a:pt x="559" y="574"/>
                </a:cubicBezTo>
                <a:close/>
                <a:moveTo>
                  <a:pt x="554" y="557"/>
                </a:moveTo>
                <a:cubicBezTo>
                  <a:pt x="554" y="558"/>
                  <a:pt x="553" y="554"/>
                  <a:pt x="554" y="557"/>
                </a:cubicBezTo>
                <a:close/>
                <a:moveTo>
                  <a:pt x="551" y="572"/>
                </a:moveTo>
                <a:cubicBezTo>
                  <a:pt x="552" y="572"/>
                  <a:pt x="552" y="574"/>
                  <a:pt x="552" y="574"/>
                </a:cubicBezTo>
                <a:cubicBezTo>
                  <a:pt x="552" y="575"/>
                  <a:pt x="551" y="573"/>
                  <a:pt x="551" y="572"/>
                </a:cubicBezTo>
                <a:close/>
                <a:moveTo>
                  <a:pt x="551" y="559"/>
                </a:moveTo>
                <a:cubicBezTo>
                  <a:pt x="551" y="559"/>
                  <a:pt x="552" y="560"/>
                  <a:pt x="551" y="559"/>
                </a:cubicBezTo>
                <a:cubicBezTo>
                  <a:pt x="551" y="559"/>
                  <a:pt x="551" y="559"/>
                  <a:pt x="551" y="559"/>
                </a:cubicBezTo>
                <a:close/>
                <a:moveTo>
                  <a:pt x="552" y="557"/>
                </a:moveTo>
                <a:cubicBezTo>
                  <a:pt x="552" y="558"/>
                  <a:pt x="553" y="559"/>
                  <a:pt x="552" y="559"/>
                </a:cubicBezTo>
                <a:cubicBezTo>
                  <a:pt x="550" y="560"/>
                  <a:pt x="551" y="555"/>
                  <a:pt x="552" y="557"/>
                </a:cubicBezTo>
                <a:close/>
                <a:moveTo>
                  <a:pt x="551" y="551"/>
                </a:moveTo>
                <a:cubicBezTo>
                  <a:pt x="551" y="552"/>
                  <a:pt x="551" y="550"/>
                  <a:pt x="550" y="550"/>
                </a:cubicBezTo>
                <a:cubicBezTo>
                  <a:pt x="551" y="549"/>
                  <a:pt x="551" y="551"/>
                  <a:pt x="551" y="551"/>
                </a:cubicBezTo>
                <a:close/>
                <a:moveTo>
                  <a:pt x="592" y="604"/>
                </a:moveTo>
                <a:cubicBezTo>
                  <a:pt x="592" y="605"/>
                  <a:pt x="593" y="606"/>
                  <a:pt x="593" y="608"/>
                </a:cubicBezTo>
                <a:cubicBezTo>
                  <a:pt x="592" y="607"/>
                  <a:pt x="591" y="606"/>
                  <a:pt x="592" y="604"/>
                </a:cubicBezTo>
                <a:close/>
                <a:moveTo>
                  <a:pt x="595" y="604"/>
                </a:moveTo>
                <a:cubicBezTo>
                  <a:pt x="596" y="606"/>
                  <a:pt x="594" y="603"/>
                  <a:pt x="595" y="604"/>
                </a:cubicBezTo>
                <a:close/>
                <a:moveTo>
                  <a:pt x="606" y="616"/>
                </a:moveTo>
                <a:cubicBezTo>
                  <a:pt x="606" y="616"/>
                  <a:pt x="606" y="617"/>
                  <a:pt x="606" y="617"/>
                </a:cubicBezTo>
                <a:cubicBezTo>
                  <a:pt x="605" y="618"/>
                  <a:pt x="605" y="616"/>
                  <a:pt x="606" y="616"/>
                </a:cubicBezTo>
                <a:close/>
                <a:moveTo>
                  <a:pt x="679" y="480"/>
                </a:moveTo>
                <a:cubicBezTo>
                  <a:pt x="678" y="480"/>
                  <a:pt x="678" y="480"/>
                  <a:pt x="678" y="479"/>
                </a:cubicBezTo>
                <a:cubicBezTo>
                  <a:pt x="678" y="478"/>
                  <a:pt x="680" y="480"/>
                  <a:pt x="679" y="480"/>
                </a:cubicBezTo>
                <a:close/>
                <a:moveTo>
                  <a:pt x="663" y="546"/>
                </a:moveTo>
                <a:cubicBezTo>
                  <a:pt x="664" y="544"/>
                  <a:pt x="665" y="546"/>
                  <a:pt x="666" y="547"/>
                </a:cubicBezTo>
                <a:cubicBezTo>
                  <a:pt x="666" y="550"/>
                  <a:pt x="661" y="548"/>
                  <a:pt x="663" y="546"/>
                </a:cubicBezTo>
                <a:close/>
                <a:moveTo>
                  <a:pt x="668" y="558"/>
                </a:moveTo>
                <a:cubicBezTo>
                  <a:pt x="668" y="558"/>
                  <a:pt x="668" y="558"/>
                  <a:pt x="667" y="558"/>
                </a:cubicBezTo>
                <a:cubicBezTo>
                  <a:pt x="664" y="557"/>
                  <a:pt x="669" y="555"/>
                  <a:pt x="668" y="558"/>
                </a:cubicBezTo>
                <a:close/>
                <a:moveTo>
                  <a:pt x="668" y="529"/>
                </a:moveTo>
                <a:cubicBezTo>
                  <a:pt x="669" y="528"/>
                  <a:pt x="669" y="529"/>
                  <a:pt x="670" y="529"/>
                </a:cubicBezTo>
                <a:cubicBezTo>
                  <a:pt x="670" y="531"/>
                  <a:pt x="667" y="530"/>
                  <a:pt x="668" y="529"/>
                </a:cubicBezTo>
                <a:close/>
                <a:moveTo>
                  <a:pt x="671" y="547"/>
                </a:moveTo>
                <a:cubicBezTo>
                  <a:pt x="670" y="546"/>
                  <a:pt x="670" y="545"/>
                  <a:pt x="671" y="545"/>
                </a:cubicBezTo>
                <a:cubicBezTo>
                  <a:pt x="671" y="545"/>
                  <a:pt x="673" y="547"/>
                  <a:pt x="671" y="547"/>
                </a:cubicBezTo>
                <a:close/>
                <a:moveTo>
                  <a:pt x="674" y="539"/>
                </a:moveTo>
                <a:cubicBezTo>
                  <a:pt x="674" y="540"/>
                  <a:pt x="675" y="541"/>
                  <a:pt x="674" y="541"/>
                </a:cubicBezTo>
                <a:cubicBezTo>
                  <a:pt x="672" y="541"/>
                  <a:pt x="674" y="537"/>
                  <a:pt x="674" y="539"/>
                </a:cubicBezTo>
                <a:close/>
                <a:moveTo>
                  <a:pt x="674" y="500"/>
                </a:moveTo>
                <a:cubicBezTo>
                  <a:pt x="675" y="501"/>
                  <a:pt x="673" y="501"/>
                  <a:pt x="674" y="500"/>
                </a:cubicBezTo>
                <a:close/>
                <a:moveTo>
                  <a:pt x="674" y="542"/>
                </a:moveTo>
                <a:cubicBezTo>
                  <a:pt x="674" y="542"/>
                  <a:pt x="674" y="543"/>
                  <a:pt x="674" y="544"/>
                </a:cubicBezTo>
                <a:cubicBezTo>
                  <a:pt x="674" y="544"/>
                  <a:pt x="675" y="544"/>
                  <a:pt x="674" y="545"/>
                </a:cubicBezTo>
                <a:cubicBezTo>
                  <a:pt x="674" y="545"/>
                  <a:pt x="674" y="545"/>
                  <a:pt x="674" y="545"/>
                </a:cubicBezTo>
                <a:cubicBezTo>
                  <a:pt x="674" y="546"/>
                  <a:pt x="674" y="547"/>
                  <a:pt x="674" y="549"/>
                </a:cubicBezTo>
                <a:cubicBezTo>
                  <a:pt x="673" y="547"/>
                  <a:pt x="673" y="544"/>
                  <a:pt x="674" y="542"/>
                </a:cubicBezTo>
                <a:close/>
                <a:moveTo>
                  <a:pt x="676" y="552"/>
                </a:moveTo>
                <a:cubicBezTo>
                  <a:pt x="676" y="553"/>
                  <a:pt x="676" y="553"/>
                  <a:pt x="676" y="553"/>
                </a:cubicBezTo>
                <a:cubicBezTo>
                  <a:pt x="675" y="554"/>
                  <a:pt x="675" y="551"/>
                  <a:pt x="676" y="552"/>
                </a:cubicBezTo>
                <a:close/>
                <a:moveTo>
                  <a:pt x="675" y="516"/>
                </a:moveTo>
                <a:cubicBezTo>
                  <a:pt x="676" y="516"/>
                  <a:pt x="676" y="517"/>
                  <a:pt x="676" y="517"/>
                </a:cubicBezTo>
                <a:cubicBezTo>
                  <a:pt x="677" y="519"/>
                  <a:pt x="674" y="517"/>
                  <a:pt x="675" y="516"/>
                </a:cubicBezTo>
                <a:close/>
                <a:moveTo>
                  <a:pt x="674" y="502"/>
                </a:moveTo>
                <a:cubicBezTo>
                  <a:pt x="675" y="502"/>
                  <a:pt x="676" y="504"/>
                  <a:pt x="676" y="505"/>
                </a:cubicBezTo>
                <a:cubicBezTo>
                  <a:pt x="675" y="505"/>
                  <a:pt x="675" y="503"/>
                  <a:pt x="674" y="502"/>
                </a:cubicBezTo>
                <a:close/>
                <a:moveTo>
                  <a:pt x="675" y="481"/>
                </a:moveTo>
                <a:cubicBezTo>
                  <a:pt x="674" y="481"/>
                  <a:pt x="674" y="480"/>
                  <a:pt x="674" y="480"/>
                </a:cubicBezTo>
                <a:cubicBezTo>
                  <a:pt x="675" y="479"/>
                  <a:pt x="675" y="480"/>
                  <a:pt x="675" y="481"/>
                </a:cubicBezTo>
                <a:close/>
                <a:moveTo>
                  <a:pt x="672" y="412"/>
                </a:moveTo>
                <a:cubicBezTo>
                  <a:pt x="675" y="413"/>
                  <a:pt x="672" y="417"/>
                  <a:pt x="670" y="416"/>
                </a:cubicBezTo>
                <a:cubicBezTo>
                  <a:pt x="670" y="416"/>
                  <a:pt x="670" y="411"/>
                  <a:pt x="672" y="412"/>
                </a:cubicBezTo>
                <a:close/>
                <a:moveTo>
                  <a:pt x="668" y="453"/>
                </a:moveTo>
                <a:cubicBezTo>
                  <a:pt x="669" y="453"/>
                  <a:pt x="668" y="454"/>
                  <a:pt x="667" y="453"/>
                </a:cubicBezTo>
                <a:cubicBezTo>
                  <a:pt x="667" y="453"/>
                  <a:pt x="668" y="452"/>
                  <a:pt x="668" y="453"/>
                </a:cubicBezTo>
                <a:close/>
                <a:moveTo>
                  <a:pt x="667" y="446"/>
                </a:moveTo>
                <a:cubicBezTo>
                  <a:pt x="665" y="447"/>
                  <a:pt x="668" y="444"/>
                  <a:pt x="667" y="446"/>
                </a:cubicBezTo>
                <a:close/>
                <a:moveTo>
                  <a:pt x="673" y="492"/>
                </a:moveTo>
                <a:cubicBezTo>
                  <a:pt x="672" y="498"/>
                  <a:pt x="665" y="495"/>
                  <a:pt x="665" y="490"/>
                </a:cubicBezTo>
                <a:cubicBezTo>
                  <a:pt x="665" y="482"/>
                  <a:pt x="674" y="486"/>
                  <a:pt x="673" y="492"/>
                </a:cubicBezTo>
                <a:close/>
                <a:moveTo>
                  <a:pt x="664" y="429"/>
                </a:moveTo>
                <a:cubicBezTo>
                  <a:pt x="665" y="429"/>
                  <a:pt x="665" y="430"/>
                  <a:pt x="664" y="430"/>
                </a:cubicBezTo>
                <a:cubicBezTo>
                  <a:pt x="662" y="430"/>
                  <a:pt x="663" y="427"/>
                  <a:pt x="664" y="429"/>
                </a:cubicBezTo>
                <a:close/>
                <a:moveTo>
                  <a:pt x="663" y="455"/>
                </a:moveTo>
                <a:cubicBezTo>
                  <a:pt x="663" y="455"/>
                  <a:pt x="662" y="456"/>
                  <a:pt x="662" y="456"/>
                </a:cubicBezTo>
                <a:cubicBezTo>
                  <a:pt x="662" y="456"/>
                  <a:pt x="662" y="455"/>
                  <a:pt x="663" y="455"/>
                </a:cubicBezTo>
                <a:close/>
                <a:moveTo>
                  <a:pt x="661" y="411"/>
                </a:moveTo>
                <a:cubicBezTo>
                  <a:pt x="661" y="411"/>
                  <a:pt x="661" y="411"/>
                  <a:pt x="661" y="410"/>
                </a:cubicBezTo>
                <a:cubicBezTo>
                  <a:pt x="661" y="410"/>
                  <a:pt x="661" y="410"/>
                  <a:pt x="661" y="410"/>
                </a:cubicBezTo>
                <a:cubicBezTo>
                  <a:pt x="661" y="410"/>
                  <a:pt x="661" y="411"/>
                  <a:pt x="661" y="411"/>
                </a:cubicBezTo>
                <a:close/>
                <a:moveTo>
                  <a:pt x="633" y="545"/>
                </a:moveTo>
                <a:cubicBezTo>
                  <a:pt x="633" y="545"/>
                  <a:pt x="633" y="545"/>
                  <a:pt x="633" y="545"/>
                </a:cubicBezTo>
                <a:cubicBezTo>
                  <a:pt x="633" y="545"/>
                  <a:pt x="632" y="544"/>
                  <a:pt x="633" y="545"/>
                </a:cubicBezTo>
                <a:close/>
                <a:moveTo>
                  <a:pt x="633" y="509"/>
                </a:moveTo>
                <a:cubicBezTo>
                  <a:pt x="632" y="508"/>
                  <a:pt x="633" y="507"/>
                  <a:pt x="634" y="507"/>
                </a:cubicBezTo>
                <a:cubicBezTo>
                  <a:pt x="635" y="507"/>
                  <a:pt x="635" y="510"/>
                  <a:pt x="633" y="509"/>
                </a:cubicBezTo>
                <a:close/>
                <a:moveTo>
                  <a:pt x="635" y="516"/>
                </a:moveTo>
                <a:cubicBezTo>
                  <a:pt x="634" y="517"/>
                  <a:pt x="634" y="516"/>
                  <a:pt x="634" y="516"/>
                </a:cubicBezTo>
                <a:cubicBezTo>
                  <a:pt x="634" y="515"/>
                  <a:pt x="635" y="516"/>
                  <a:pt x="635" y="516"/>
                </a:cubicBezTo>
                <a:close/>
                <a:moveTo>
                  <a:pt x="637" y="522"/>
                </a:moveTo>
                <a:cubicBezTo>
                  <a:pt x="638" y="522"/>
                  <a:pt x="639" y="528"/>
                  <a:pt x="639" y="529"/>
                </a:cubicBezTo>
                <a:cubicBezTo>
                  <a:pt x="638" y="534"/>
                  <a:pt x="636" y="523"/>
                  <a:pt x="637" y="522"/>
                </a:cubicBezTo>
                <a:close/>
                <a:moveTo>
                  <a:pt x="639" y="541"/>
                </a:moveTo>
                <a:cubicBezTo>
                  <a:pt x="639" y="541"/>
                  <a:pt x="640" y="539"/>
                  <a:pt x="640" y="541"/>
                </a:cubicBezTo>
                <a:cubicBezTo>
                  <a:pt x="640" y="540"/>
                  <a:pt x="640" y="542"/>
                  <a:pt x="639" y="541"/>
                </a:cubicBezTo>
                <a:close/>
                <a:moveTo>
                  <a:pt x="641" y="545"/>
                </a:moveTo>
                <a:cubicBezTo>
                  <a:pt x="638" y="545"/>
                  <a:pt x="640" y="542"/>
                  <a:pt x="642" y="543"/>
                </a:cubicBezTo>
                <a:cubicBezTo>
                  <a:pt x="643" y="543"/>
                  <a:pt x="642" y="546"/>
                  <a:pt x="641" y="545"/>
                </a:cubicBezTo>
                <a:close/>
                <a:moveTo>
                  <a:pt x="652" y="501"/>
                </a:moveTo>
                <a:cubicBezTo>
                  <a:pt x="652" y="501"/>
                  <a:pt x="651" y="499"/>
                  <a:pt x="652" y="500"/>
                </a:cubicBezTo>
                <a:cubicBezTo>
                  <a:pt x="652" y="500"/>
                  <a:pt x="653" y="501"/>
                  <a:pt x="652" y="501"/>
                </a:cubicBezTo>
                <a:close/>
                <a:moveTo>
                  <a:pt x="655" y="533"/>
                </a:moveTo>
                <a:cubicBezTo>
                  <a:pt x="654" y="529"/>
                  <a:pt x="654" y="522"/>
                  <a:pt x="654" y="518"/>
                </a:cubicBezTo>
                <a:cubicBezTo>
                  <a:pt x="654" y="520"/>
                  <a:pt x="654" y="517"/>
                  <a:pt x="654" y="517"/>
                </a:cubicBezTo>
                <a:cubicBezTo>
                  <a:pt x="656" y="517"/>
                  <a:pt x="655" y="519"/>
                  <a:pt x="655" y="521"/>
                </a:cubicBezTo>
                <a:cubicBezTo>
                  <a:pt x="655" y="523"/>
                  <a:pt x="656" y="529"/>
                  <a:pt x="655" y="533"/>
                </a:cubicBezTo>
                <a:close/>
                <a:moveTo>
                  <a:pt x="659" y="476"/>
                </a:moveTo>
                <a:cubicBezTo>
                  <a:pt x="659" y="479"/>
                  <a:pt x="659" y="474"/>
                  <a:pt x="659" y="476"/>
                </a:cubicBezTo>
                <a:close/>
                <a:moveTo>
                  <a:pt x="659" y="479"/>
                </a:moveTo>
                <a:cubicBezTo>
                  <a:pt x="660" y="482"/>
                  <a:pt x="659" y="477"/>
                  <a:pt x="659" y="479"/>
                </a:cubicBezTo>
                <a:close/>
                <a:moveTo>
                  <a:pt x="659" y="492"/>
                </a:moveTo>
                <a:cubicBezTo>
                  <a:pt x="659" y="492"/>
                  <a:pt x="659" y="493"/>
                  <a:pt x="659" y="493"/>
                </a:cubicBezTo>
                <a:cubicBezTo>
                  <a:pt x="660" y="495"/>
                  <a:pt x="658" y="493"/>
                  <a:pt x="659" y="492"/>
                </a:cubicBezTo>
                <a:close/>
                <a:moveTo>
                  <a:pt x="658" y="525"/>
                </a:moveTo>
                <a:cubicBezTo>
                  <a:pt x="659" y="525"/>
                  <a:pt x="659" y="526"/>
                  <a:pt x="658" y="526"/>
                </a:cubicBezTo>
                <a:cubicBezTo>
                  <a:pt x="657" y="526"/>
                  <a:pt x="658" y="525"/>
                  <a:pt x="658" y="525"/>
                </a:cubicBezTo>
                <a:close/>
                <a:moveTo>
                  <a:pt x="655" y="464"/>
                </a:moveTo>
                <a:cubicBezTo>
                  <a:pt x="654" y="464"/>
                  <a:pt x="654" y="461"/>
                  <a:pt x="655" y="461"/>
                </a:cubicBezTo>
                <a:cubicBezTo>
                  <a:pt x="656" y="461"/>
                  <a:pt x="656" y="464"/>
                  <a:pt x="655" y="464"/>
                </a:cubicBezTo>
                <a:close/>
                <a:moveTo>
                  <a:pt x="654" y="423"/>
                </a:moveTo>
                <a:cubicBezTo>
                  <a:pt x="654" y="423"/>
                  <a:pt x="654" y="423"/>
                  <a:pt x="653" y="423"/>
                </a:cubicBezTo>
                <a:cubicBezTo>
                  <a:pt x="653" y="422"/>
                  <a:pt x="653" y="422"/>
                  <a:pt x="653" y="422"/>
                </a:cubicBezTo>
                <a:cubicBezTo>
                  <a:pt x="653" y="422"/>
                  <a:pt x="653" y="423"/>
                  <a:pt x="654" y="423"/>
                </a:cubicBezTo>
                <a:close/>
                <a:moveTo>
                  <a:pt x="655" y="454"/>
                </a:moveTo>
                <a:cubicBezTo>
                  <a:pt x="653" y="452"/>
                  <a:pt x="649" y="448"/>
                  <a:pt x="649" y="445"/>
                </a:cubicBezTo>
                <a:cubicBezTo>
                  <a:pt x="651" y="449"/>
                  <a:pt x="654" y="450"/>
                  <a:pt x="655" y="454"/>
                </a:cubicBezTo>
                <a:close/>
                <a:moveTo>
                  <a:pt x="648" y="439"/>
                </a:moveTo>
                <a:cubicBezTo>
                  <a:pt x="648" y="439"/>
                  <a:pt x="648" y="440"/>
                  <a:pt x="648" y="440"/>
                </a:cubicBezTo>
                <a:cubicBezTo>
                  <a:pt x="647" y="440"/>
                  <a:pt x="647" y="438"/>
                  <a:pt x="648" y="439"/>
                </a:cubicBezTo>
                <a:close/>
                <a:moveTo>
                  <a:pt x="647" y="500"/>
                </a:moveTo>
                <a:cubicBezTo>
                  <a:pt x="648" y="501"/>
                  <a:pt x="648" y="502"/>
                  <a:pt x="647" y="502"/>
                </a:cubicBezTo>
                <a:cubicBezTo>
                  <a:pt x="643" y="503"/>
                  <a:pt x="646" y="496"/>
                  <a:pt x="647" y="500"/>
                </a:cubicBezTo>
                <a:close/>
                <a:moveTo>
                  <a:pt x="646" y="457"/>
                </a:moveTo>
                <a:cubicBezTo>
                  <a:pt x="646" y="457"/>
                  <a:pt x="646" y="458"/>
                  <a:pt x="646" y="458"/>
                </a:cubicBezTo>
                <a:cubicBezTo>
                  <a:pt x="644" y="459"/>
                  <a:pt x="645" y="456"/>
                  <a:pt x="646" y="457"/>
                </a:cubicBezTo>
                <a:close/>
                <a:moveTo>
                  <a:pt x="642" y="405"/>
                </a:moveTo>
                <a:cubicBezTo>
                  <a:pt x="642" y="406"/>
                  <a:pt x="643" y="406"/>
                  <a:pt x="642" y="406"/>
                </a:cubicBezTo>
                <a:cubicBezTo>
                  <a:pt x="642" y="407"/>
                  <a:pt x="642" y="405"/>
                  <a:pt x="642" y="405"/>
                </a:cubicBezTo>
                <a:close/>
                <a:moveTo>
                  <a:pt x="642" y="528"/>
                </a:moveTo>
                <a:cubicBezTo>
                  <a:pt x="645" y="524"/>
                  <a:pt x="650" y="530"/>
                  <a:pt x="651" y="533"/>
                </a:cubicBezTo>
                <a:cubicBezTo>
                  <a:pt x="651" y="543"/>
                  <a:pt x="638" y="533"/>
                  <a:pt x="642" y="528"/>
                </a:cubicBezTo>
                <a:close/>
                <a:moveTo>
                  <a:pt x="641" y="494"/>
                </a:moveTo>
                <a:cubicBezTo>
                  <a:pt x="640" y="493"/>
                  <a:pt x="640" y="491"/>
                  <a:pt x="641" y="490"/>
                </a:cubicBezTo>
                <a:cubicBezTo>
                  <a:pt x="641" y="491"/>
                  <a:pt x="641" y="492"/>
                  <a:pt x="641" y="494"/>
                </a:cubicBezTo>
                <a:close/>
                <a:moveTo>
                  <a:pt x="641" y="488"/>
                </a:moveTo>
                <a:cubicBezTo>
                  <a:pt x="641" y="488"/>
                  <a:pt x="641" y="488"/>
                  <a:pt x="641" y="488"/>
                </a:cubicBezTo>
                <a:cubicBezTo>
                  <a:pt x="641" y="488"/>
                  <a:pt x="641" y="488"/>
                  <a:pt x="641" y="488"/>
                </a:cubicBezTo>
                <a:cubicBezTo>
                  <a:pt x="641" y="488"/>
                  <a:pt x="641" y="488"/>
                  <a:pt x="641" y="488"/>
                </a:cubicBezTo>
                <a:close/>
                <a:moveTo>
                  <a:pt x="641" y="452"/>
                </a:moveTo>
                <a:cubicBezTo>
                  <a:pt x="641" y="452"/>
                  <a:pt x="641" y="452"/>
                  <a:pt x="641" y="452"/>
                </a:cubicBezTo>
                <a:cubicBezTo>
                  <a:pt x="641" y="454"/>
                  <a:pt x="640" y="450"/>
                  <a:pt x="641" y="452"/>
                </a:cubicBezTo>
                <a:close/>
                <a:moveTo>
                  <a:pt x="641" y="478"/>
                </a:moveTo>
                <a:cubicBezTo>
                  <a:pt x="641" y="478"/>
                  <a:pt x="641" y="479"/>
                  <a:pt x="641" y="479"/>
                </a:cubicBezTo>
                <a:cubicBezTo>
                  <a:pt x="641" y="479"/>
                  <a:pt x="641" y="479"/>
                  <a:pt x="641" y="480"/>
                </a:cubicBezTo>
                <a:cubicBezTo>
                  <a:pt x="641" y="480"/>
                  <a:pt x="641" y="481"/>
                  <a:pt x="641" y="480"/>
                </a:cubicBezTo>
                <a:cubicBezTo>
                  <a:pt x="641" y="480"/>
                  <a:pt x="641" y="479"/>
                  <a:pt x="641" y="479"/>
                </a:cubicBezTo>
                <a:cubicBezTo>
                  <a:pt x="641" y="479"/>
                  <a:pt x="641" y="479"/>
                  <a:pt x="641" y="479"/>
                </a:cubicBezTo>
                <a:cubicBezTo>
                  <a:pt x="641" y="479"/>
                  <a:pt x="641" y="478"/>
                  <a:pt x="641" y="478"/>
                </a:cubicBezTo>
                <a:close/>
                <a:moveTo>
                  <a:pt x="641" y="482"/>
                </a:moveTo>
                <a:cubicBezTo>
                  <a:pt x="641" y="483"/>
                  <a:pt x="641" y="485"/>
                  <a:pt x="641" y="487"/>
                </a:cubicBezTo>
                <a:cubicBezTo>
                  <a:pt x="640" y="486"/>
                  <a:pt x="640" y="484"/>
                  <a:pt x="641" y="482"/>
                </a:cubicBezTo>
                <a:close/>
                <a:moveTo>
                  <a:pt x="640" y="442"/>
                </a:moveTo>
                <a:cubicBezTo>
                  <a:pt x="639" y="440"/>
                  <a:pt x="634" y="435"/>
                  <a:pt x="634" y="432"/>
                </a:cubicBezTo>
                <a:cubicBezTo>
                  <a:pt x="636" y="435"/>
                  <a:pt x="639" y="439"/>
                  <a:pt x="640" y="442"/>
                </a:cubicBezTo>
                <a:close/>
                <a:moveTo>
                  <a:pt x="633" y="488"/>
                </a:moveTo>
                <a:cubicBezTo>
                  <a:pt x="634" y="488"/>
                  <a:pt x="634" y="489"/>
                  <a:pt x="634" y="489"/>
                </a:cubicBezTo>
                <a:cubicBezTo>
                  <a:pt x="634" y="492"/>
                  <a:pt x="630" y="488"/>
                  <a:pt x="633" y="488"/>
                </a:cubicBezTo>
                <a:close/>
                <a:moveTo>
                  <a:pt x="633" y="524"/>
                </a:moveTo>
                <a:cubicBezTo>
                  <a:pt x="634" y="524"/>
                  <a:pt x="634" y="526"/>
                  <a:pt x="632" y="526"/>
                </a:cubicBezTo>
                <a:cubicBezTo>
                  <a:pt x="631" y="526"/>
                  <a:pt x="631" y="524"/>
                  <a:pt x="633" y="524"/>
                </a:cubicBezTo>
                <a:close/>
                <a:moveTo>
                  <a:pt x="582" y="488"/>
                </a:moveTo>
                <a:cubicBezTo>
                  <a:pt x="583" y="489"/>
                  <a:pt x="581" y="487"/>
                  <a:pt x="582" y="488"/>
                </a:cubicBezTo>
                <a:close/>
                <a:moveTo>
                  <a:pt x="583" y="573"/>
                </a:moveTo>
                <a:cubicBezTo>
                  <a:pt x="585" y="572"/>
                  <a:pt x="587" y="574"/>
                  <a:pt x="589" y="575"/>
                </a:cubicBezTo>
                <a:cubicBezTo>
                  <a:pt x="587" y="575"/>
                  <a:pt x="585" y="574"/>
                  <a:pt x="583" y="573"/>
                </a:cubicBezTo>
                <a:close/>
                <a:moveTo>
                  <a:pt x="590" y="563"/>
                </a:moveTo>
                <a:cubicBezTo>
                  <a:pt x="591" y="564"/>
                  <a:pt x="590" y="565"/>
                  <a:pt x="590" y="563"/>
                </a:cubicBezTo>
                <a:close/>
                <a:moveTo>
                  <a:pt x="590" y="549"/>
                </a:moveTo>
                <a:cubicBezTo>
                  <a:pt x="588" y="548"/>
                  <a:pt x="590" y="547"/>
                  <a:pt x="590" y="549"/>
                </a:cubicBezTo>
                <a:close/>
                <a:moveTo>
                  <a:pt x="595" y="560"/>
                </a:moveTo>
                <a:cubicBezTo>
                  <a:pt x="594" y="559"/>
                  <a:pt x="594" y="557"/>
                  <a:pt x="595" y="555"/>
                </a:cubicBezTo>
                <a:cubicBezTo>
                  <a:pt x="596" y="556"/>
                  <a:pt x="595" y="558"/>
                  <a:pt x="595" y="560"/>
                </a:cubicBezTo>
                <a:close/>
                <a:moveTo>
                  <a:pt x="603" y="595"/>
                </a:moveTo>
                <a:cubicBezTo>
                  <a:pt x="600" y="596"/>
                  <a:pt x="600" y="592"/>
                  <a:pt x="603" y="595"/>
                </a:cubicBezTo>
                <a:close/>
                <a:moveTo>
                  <a:pt x="607" y="583"/>
                </a:moveTo>
                <a:cubicBezTo>
                  <a:pt x="603" y="584"/>
                  <a:pt x="604" y="579"/>
                  <a:pt x="604" y="577"/>
                </a:cubicBezTo>
                <a:cubicBezTo>
                  <a:pt x="607" y="576"/>
                  <a:pt x="611" y="582"/>
                  <a:pt x="607" y="583"/>
                </a:cubicBezTo>
                <a:close/>
                <a:moveTo>
                  <a:pt x="606" y="564"/>
                </a:moveTo>
                <a:cubicBezTo>
                  <a:pt x="608" y="564"/>
                  <a:pt x="609" y="565"/>
                  <a:pt x="610" y="567"/>
                </a:cubicBezTo>
                <a:cubicBezTo>
                  <a:pt x="610" y="567"/>
                  <a:pt x="610" y="567"/>
                  <a:pt x="610" y="567"/>
                </a:cubicBezTo>
                <a:cubicBezTo>
                  <a:pt x="610" y="567"/>
                  <a:pt x="610" y="567"/>
                  <a:pt x="610" y="567"/>
                </a:cubicBezTo>
                <a:cubicBezTo>
                  <a:pt x="611" y="568"/>
                  <a:pt x="612" y="569"/>
                  <a:pt x="612" y="569"/>
                </a:cubicBezTo>
                <a:cubicBezTo>
                  <a:pt x="613" y="569"/>
                  <a:pt x="613" y="569"/>
                  <a:pt x="613" y="570"/>
                </a:cubicBezTo>
                <a:cubicBezTo>
                  <a:pt x="613" y="570"/>
                  <a:pt x="613" y="570"/>
                  <a:pt x="613" y="570"/>
                </a:cubicBezTo>
                <a:cubicBezTo>
                  <a:pt x="613" y="570"/>
                  <a:pt x="613" y="570"/>
                  <a:pt x="613" y="570"/>
                </a:cubicBezTo>
                <a:cubicBezTo>
                  <a:pt x="613" y="570"/>
                  <a:pt x="613" y="570"/>
                  <a:pt x="613" y="571"/>
                </a:cubicBezTo>
                <a:cubicBezTo>
                  <a:pt x="613" y="570"/>
                  <a:pt x="612" y="570"/>
                  <a:pt x="612" y="570"/>
                </a:cubicBezTo>
                <a:cubicBezTo>
                  <a:pt x="610" y="568"/>
                  <a:pt x="608" y="565"/>
                  <a:pt x="606" y="564"/>
                </a:cubicBezTo>
                <a:close/>
                <a:moveTo>
                  <a:pt x="613" y="568"/>
                </a:moveTo>
                <a:cubicBezTo>
                  <a:pt x="611" y="567"/>
                  <a:pt x="613" y="565"/>
                  <a:pt x="613" y="568"/>
                </a:cubicBezTo>
                <a:close/>
                <a:moveTo>
                  <a:pt x="616" y="579"/>
                </a:moveTo>
                <a:cubicBezTo>
                  <a:pt x="612" y="580"/>
                  <a:pt x="611" y="573"/>
                  <a:pt x="613" y="572"/>
                </a:cubicBezTo>
                <a:cubicBezTo>
                  <a:pt x="616" y="570"/>
                  <a:pt x="618" y="575"/>
                  <a:pt x="618" y="576"/>
                </a:cubicBezTo>
                <a:cubicBezTo>
                  <a:pt x="618" y="578"/>
                  <a:pt x="617" y="579"/>
                  <a:pt x="616" y="579"/>
                </a:cubicBezTo>
                <a:close/>
                <a:moveTo>
                  <a:pt x="615" y="543"/>
                </a:moveTo>
                <a:cubicBezTo>
                  <a:pt x="616" y="543"/>
                  <a:pt x="617" y="543"/>
                  <a:pt x="617" y="544"/>
                </a:cubicBezTo>
                <a:cubicBezTo>
                  <a:pt x="618" y="547"/>
                  <a:pt x="613" y="545"/>
                  <a:pt x="615" y="543"/>
                </a:cubicBezTo>
                <a:close/>
                <a:moveTo>
                  <a:pt x="615" y="515"/>
                </a:moveTo>
                <a:cubicBezTo>
                  <a:pt x="616" y="515"/>
                  <a:pt x="616" y="516"/>
                  <a:pt x="616" y="516"/>
                </a:cubicBezTo>
                <a:cubicBezTo>
                  <a:pt x="617" y="518"/>
                  <a:pt x="614" y="516"/>
                  <a:pt x="615" y="515"/>
                </a:cubicBezTo>
                <a:close/>
                <a:moveTo>
                  <a:pt x="617" y="556"/>
                </a:moveTo>
                <a:cubicBezTo>
                  <a:pt x="617" y="556"/>
                  <a:pt x="617" y="556"/>
                  <a:pt x="617" y="556"/>
                </a:cubicBezTo>
                <a:cubicBezTo>
                  <a:pt x="615" y="555"/>
                  <a:pt x="618" y="555"/>
                  <a:pt x="617" y="556"/>
                </a:cubicBezTo>
                <a:close/>
                <a:moveTo>
                  <a:pt x="618" y="554"/>
                </a:moveTo>
                <a:cubicBezTo>
                  <a:pt x="618" y="553"/>
                  <a:pt x="618" y="555"/>
                  <a:pt x="618" y="555"/>
                </a:cubicBezTo>
                <a:cubicBezTo>
                  <a:pt x="618" y="556"/>
                  <a:pt x="616" y="555"/>
                  <a:pt x="618" y="554"/>
                </a:cubicBezTo>
                <a:close/>
                <a:moveTo>
                  <a:pt x="618" y="537"/>
                </a:moveTo>
                <a:cubicBezTo>
                  <a:pt x="617" y="536"/>
                  <a:pt x="617" y="533"/>
                  <a:pt x="619" y="534"/>
                </a:cubicBezTo>
                <a:cubicBezTo>
                  <a:pt x="620" y="534"/>
                  <a:pt x="620" y="538"/>
                  <a:pt x="618" y="537"/>
                </a:cubicBezTo>
                <a:close/>
                <a:moveTo>
                  <a:pt x="621" y="553"/>
                </a:moveTo>
                <a:cubicBezTo>
                  <a:pt x="619" y="554"/>
                  <a:pt x="620" y="549"/>
                  <a:pt x="621" y="552"/>
                </a:cubicBezTo>
                <a:cubicBezTo>
                  <a:pt x="622" y="552"/>
                  <a:pt x="622" y="553"/>
                  <a:pt x="621" y="553"/>
                </a:cubicBezTo>
                <a:close/>
                <a:moveTo>
                  <a:pt x="623" y="544"/>
                </a:moveTo>
                <a:cubicBezTo>
                  <a:pt x="622" y="543"/>
                  <a:pt x="624" y="543"/>
                  <a:pt x="623" y="544"/>
                </a:cubicBezTo>
                <a:close/>
                <a:moveTo>
                  <a:pt x="624" y="553"/>
                </a:moveTo>
                <a:cubicBezTo>
                  <a:pt x="625" y="554"/>
                  <a:pt x="623" y="551"/>
                  <a:pt x="624" y="553"/>
                </a:cubicBezTo>
                <a:close/>
                <a:moveTo>
                  <a:pt x="624" y="503"/>
                </a:moveTo>
                <a:cubicBezTo>
                  <a:pt x="622" y="502"/>
                  <a:pt x="623" y="497"/>
                  <a:pt x="626" y="497"/>
                </a:cubicBezTo>
                <a:cubicBezTo>
                  <a:pt x="629" y="498"/>
                  <a:pt x="627" y="505"/>
                  <a:pt x="624" y="503"/>
                </a:cubicBezTo>
                <a:close/>
                <a:moveTo>
                  <a:pt x="628" y="419"/>
                </a:moveTo>
                <a:cubicBezTo>
                  <a:pt x="629" y="420"/>
                  <a:pt x="628" y="421"/>
                  <a:pt x="627" y="420"/>
                </a:cubicBezTo>
                <a:cubicBezTo>
                  <a:pt x="627" y="419"/>
                  <a:pt x="628" y="419"/>
                  <a:pt x="628" y="419"/>
                </a:cubicBezTo>
                <a:close/>
                <a:moveTo>
                  <a:pt x="628" y="466"/>
                </a:moveTo>
                <a:cubicBezTo>
                  <a:pt x="629" y="467"/>
                  <a:pt x="627" y="472"/>
                  <a:pt x="624" y="469"/>
                </a:cubicBezTo>
                <a:cubicBezTo>
                  <a:pt x="623" y="468"/>
                  <a:pt x="626" y="465"/>
                  <a:pt x="628" y="466"/>
                </a:cubicBezTo>
                <a:close/>
                <a:moveTo>
                  <a:pt x="624" y="448"/>
                </a:moveTo>
                <a:cubicBezTo>
                  <a:pt x="627" y="450"/>
                  <a:pt x="625" y="451"/>
                  <a:pt x="624" y="448"/>
                </a:cubicBezTo>
                <a:close/>
                <a:moveTo>
                  <a:pt x="624" y="438"/>
                </a:moveTo>
                <a:cubicBezTo>
                  <a:pt x="625" y="439"/>
                  <a:pt x="623" y="437"/>
                  <a:pt x="624" y="438"/>
                </a:cubicBezTo>
                <a:close/>
                <a:moveTo>
                  <a:pt x="625" y="439"/>
                </a:moveTo>
                <a:cubicBezTo>
                  <a:pt x="628" y="439"/>
                  <a:pt x="628" y="444"/>
                  <a:pt x="625" y="444"/>
                </a:cubicBezTo>
                <a:cubicBezTo>
                  <a:pt x="623" y="444"/>
                  <a:pt x="623" y="439"/>
                  <a:pt x="625" y="439"/>
                </a:cubicBezTo>
                <a:close/>
                <a:moveTo>
                  <a:pt x="623" y="483"/>
                </a:moveTo>
                <a:cubicBezTo>
                  <a:pt x="624" y="484"/>
                  <a:pt x="622" y="484"/>
                  <a:pt x="623" y="483"/>
                </a:cubicBezTo>
                <a:close/>
                <a:moveTo>
                  <a:pt x="621" y="454"/>
                </a:moveTo>
                <a:cubicBezTo>
                  <a:pt x="622" y="454"/>
                  <a:pt x="621" y="455"/>
                  <a:pt x="621" y="455"/>
                </a:cubicBezTo>
                <a:cubicBezTo>
                  <a:pt x="620" y="454"/>
                  <a:pt x="621" y="454"/>
                  <a:pt x="621" y="454"/>
                </a:cubicBezTo>
                <a:close/>
                <a:moveTo>
                  <a:pt x="618" y="462"/>
                </a:moveTo>
                <a:cubicBezTo>
                  <a:pt x="618" y="462"/>
                  <a:pt x="619" y="463"/>
                  <a:pt x="619" y="463"/>
                </a:cubicBezTo>
                <a:cubicBezTo>
                  <a:pt x="618" y="464"/>
                  <a:pt x="618" y="461"/>
                  <a:pt x="618" y="462"/>
                </a:cubicBezTo>
                <a:close/>
                <a:moveTo>
                  <a:pt x="615" y="421"/>
                </a:moveTo>
                <a:cubicBezTo>
                  <a:pt x="616" y="421"/>
                  <a:pt x="616" y="422"/>
                  <a:pt x="616" y="422"/>
                </a:cubicBezTo>
                <a:cubicBezTo>
                  <a:pt x="615" y="423"/>
                  <a:pt x="615" y="421"/>
                  <a:pt x="615" y="421"/>
                </a:cubicBezTo>
                <a:close/>
                <a:moveTo>
                  <a:pt x="625" y="495"/>
                </a:moveTo>
                <a:cubicBezTo>
                  <a:pt x="624" y="495"/>
                  <a:pt x="622" y="497"/>
                  <a:pt x="621" y="496"/>
                </a:cubicBezTo>
                <a:cubicBezTo>
                  <a:pt x="620" y="495"/>
                  <a:pt x="622" y="494"/>
                  <a:pt x="621" y="493"/>
                </a:cubicBezTo>
                <a:cubicBezTo>
                  <a:pt x="620" y="490"/>
                  <a:pt x="616" y="488"/>
                  <a:pt x="615" y="485"/>
                </a:cubicBezTo>
                <a:cubicBezTo>
                  <a:pt x="618" y="487"/>
                  <a:pt x="621" y="491"/>
                  <a:pt x="625" y="495"/>
                </a:cubicBezTo>
                <a:close/>
                <a:moveTo>
                  <a:pt x="612" y="402"/>
                </a:moveTo>
                <a:cubicBezTo>
                  <a:pt x="613" y="401"/>
                  <a:pt x="614" y="403"/>
                  <a:pt x="614" y="403"/>
                </a:cubicBezTo>
                <a:cubicBezTo>
                  <a:pt x="614" y="406"/>
                  <a:pt x="610" y="403"/>
                  <a:pt x="612" y="402"/>
                </a:cubicBezTo>
                <a:close/>
                <a:moveTo>
                  <a:pt x="612" y="522"/>
                </a:moveTo>
                <a:cubicBezTo>
                  <a:pt x="613" y="522"/>
                  <a:pt x="613" y="524"/>
                  <a:pt x="612" y="524"/>
                </a:cubicBezTo>
                <a:cubicBezTo>
                  <a:pt x="611" y="523"/>
                  <a:pt x="611" y="522"/>
                  <a:pt x="612" y="522"/>
                </a:cubicBezTo>
                <a:close/>
                <a:moveTo>
                  <a:pt x="612" y="517"/>
                </a:moveTo>
                <a:cubicBezTo>
                  <a:pt x="613" y="519"/>
                  <a:pt x="612" y="516"/>
                  <a:pt x="612" y="517"/>
                </a:cubicBezTo>
                <a:close/>
                <a:moveTo>
                  <a:pt x="613" y="502"/>
                </a:moveTo>
                <a:cubicBezTo>
                  <a:pt x="613" y="503"/>
                  <a:pt x="614" y="504"/>
                  <a:pt x="613" y="505"/>
                </a:cubicBezTo>
                <a:cubicBezTo>
                  <a:pt x="613" y="504"/>
                  <a:pt x="612" y="503"/>
                  <a:pt x="613" y="502"/>
                </a:cubicBezTo>
                <a:close/>
                <a:moveTo>
                  <a:pt x="612" y="484"/>
                </a:moveTo>
                <a:cubicBezTo>
                  <a:pt x="613" y="484"/>
                  <a:pt x="614" y="487"/>
                  <a:pt x="612" y="487"/>
                </a:cubicBezTo>
                <a:cubicBezTo>
                  <a:pt x="610" y="486"/>
                  <a:pt x="611" y="484"/>
                  <a:pt x="612" y="484"/>
                </a:cubicBezTo>
                <a:close/>
                <a:moveTo>
                  <a:pt x="611" y="489"/>
                </a:moveTo>
                <a:cubicBezTo>
                  <a:pt x="612" y="488"/>
                  <a:pt x="612" y="490"/>
                  <a:pt x="612" y="490"/>
                </a:cubicBezTo>
                <a:cubicBezTo>
                  <a:pt x="613" y="493"/>
                  <a:pt x="609" y="489"/>
                  <a:pt x="611" y="489"/>
                </a:cubicBezTo>
                <a:close/>
                <a:moveTo>
                  <a:pt x="609" y="556"/>
                </a:moveTo>
                <a:cubicBezTo>
                  <a:pt x="612" y="553"/>
                  <a:pt x="618" y="559"/>
                  <a:pt x="614" y="562"/>
                </a:cubicBezTo>
                <a:cubicBezTo>
                  <a:pt x="615" y="561"/>
                  <a:pt x="617" y="563"/>
                  <a:pt x="616" y="564"/>
                </a:cubicBezTo>
                <a:cubicBezTo>
                  <a:pt x="615" y="566"/>
                  <a:pt x="612" y="563"/>
                  <a:pt x="614" y="562"/>
                </a:cubicBezTo>
                <a:cubicBezTo>
                  <a:pt x="611" y="563"/>
                  <a:pt x="607" y="558"/>
                  <a:pt x="609" y="556"/>
                </a:cubicBezTo>
                <a:close/>
                <a:moveTo>
                  <a:pt x="607" y="532"/>
                </a:moveTo>
                <a:cubicBezTo>
                  <a:pt x="607" y="532"/>
                  <a:pt x="608" y="533"/>
                  <a:pt x="608" y="533"/>
                </a:cubicBezTo>
                <a:cubicBezTo>
                  <a:pt x="607" y="534"/>
                  <a:pt x="607" y="532"/>
                  <a:pt x="607" y="532"/>
                </a:cubicBezTo>
                <a:close/>
                <a:moveTo>
                  <a:pt x="607" y="517"/>
                </a:moveTo>
                <a:cubicBezTo>
                  <a:pt x="607" y="517"/>
                  <a:pt x="606" y="517"/>
                  <a:pt x="606" y="517"/>
                </a:cubicBezTo>
                <a:cubicBezTo>
                  <a:pt x="606" y="517"/>
                  <a:pt x="606" y="517"/>
                  <a:pt x="606" y="517"/>
                </a:cubicBezTo>
                <a:cubicBezTo>
                  <a:pt x="606" y="517"/>
                  <a:pt x="607" y="517"/>
                  <a:pt x="607" y="517"/>
                </a:cubicBezTo>
                <a:close/>
                <a:moveTo>
                  <a:pt x="606" y="571"/>
                </a:moveTo>
                <a:cubicBezTo>
                  <a:pt x="606" y="570"/>
                  <a:pt x="606" y="570"/>
                  <a:pt x="606" y="570"/>
                </a:cubicBezTo>
                <a:cubicBezTo>
                  <a:pt x="606" y="571"/>
                  <a:pt x="607" y="572"/>
                  <a:pt x="606" y="571"/>
                </a:cubicBezTo>
                <a:close/>
                <a:moveTo>
                  <a:pt x="605" y="461"/>
                </a:moveTo>
                <a:cubicBezTo>
                  <a:pt x="605" y="461"/>
                  <a:pt x="606" y="462"/>
                  <a:pt x="605" y="462"/>
                </a:cubicBezTo>
                <a:cubicBezTo>
                  <a:pt x="605" y="463"/>
                  <a:pt x="605" y="461"/>
                  <a:pt x="605" y="461"/>
                </a:cubicBezTo>
                <a:close/>
                <a:moveTo>
                  <a:pt x="602" y="525"/>
                </a:moveTo>
                <a:cubicBezTo>
                  <a:pt x="603" y="527"/>
                  <a:pt x="604" y="530"/>
                  <a:pt x="604" y="534"/>
                </a:cubicBezTo>
                <a:cubicBezTo>
                  <a:pt x="603" y="531"/>
                  <a:pt x="602" y="528"/>
                  <a:pt x="602" y="525"/>
                </a:cubicBezTo>
                <a:close/>
                <a:moveTo>
                  <a:pt x="604" y="450"/>
                </a:moveTo>
                <a:cubicBezTo>
                  <a:pt x="604" y="450"/>
                  <a:pt x="604" y="450"/>
                  <a:pt x="604" y="450"/>
                </a:cubicBezTo>
                <a:cubicBezTo>
                  <a:pt x="603" y="450"/>
                  <a:pt x="604" y="450"/>
                  <a:pt x="604" y="450"/>
                </a:cubicBezTo>
                <a:close/>
                <a:moveTo>
                  <a:pt x="604" y="477"/>
                </a:moveTo>
                <a:cubicBezTo>
                  <a:pt x="603" y="476"/>
                  <a:pt x="604" y="475"/>
                  <a:pt x="604" y="477"/>
                </a:cubicBezTo>
                <a:close/>
                <a:moveTo>
                  <a:pt x="602" y="450"/>
                </a:moveTo>
                <a:cubicBezTo>
                  <a:pt x="602" y="450"/>
                  <a:pt x="601" y="450"/>
                  <a:pt x="601" y="450"/>
                </a:cubicBezTo>
                <a:cubicBezTo>
                  <a:pt x="599" y="450"/>
                  <a:pt x="603" y="448"/>
                  <a:pt x="602" y="450"/>
                </a:cubicBezTo>
                <a:close/>
                <a:moveTo>
                  <a:pt x="601" y="516"/>
                </a:moveTo>
                <a:cubicBezTo>
                  <a:pt x="602" y="518"/>
                  <a:pt x="602" y="521"/>
                  <a:pt x="602" y="522"/>
                </a:cubicBezTo>
                <a:cubicBezTo>
                  <a:pt x="602" y="522"/>
                  <a:pt x="600" y="518"/>
                  <a:pt x="601" y="516"/>
                </a:cubicBezTo>
                <a:close/>
                <a:moveTo>
                  <a:pt x="597" y="521"/>
                </a:moveTo>
                <a:cubicBezTo>
                  <a:pt x="598" y="521"/>
                  <a:pt x="598" y="522"/>
                  <a:pt x="599" y="522"/>
                </a:cubicBezTo>
                <a:cubicBezTo>
                  <a:pt x="599" y="523"/>
                  <a:pt x="597" y="522"/>
                  <a:pt x="597" y="521"/>
                </a:cubicBezTo>
                <a:close/>
                <a:moveTo>
                  <a:pt x="597" y="542"/>
                </a:moveTo>
                <a:cubicBezTo>
                  <a:pt x="598" y="545"/>
                  <a:pt x="593" y="542"/>
                  <a:pt x="595" y="540"/>
                </a:cubicBezTo>
                <a:cubicBezTo>
                  <a:pt x="596" y="539"/>
                  <a:pt x="597" y="541"/>
                  <a:pt x="597" y="542"/>
                </a:cubicBezTo>
                <a:close/>
                <a:moveTo>
                  <a:pt x="594" y="433"/>
                </a:moveTo>
                <a:cubicBezTo>
                  <a:pt x="593" y="434"/>
                  <a:pt x="594" y="431"/>
                  <a:pt x="594" y="433"/>
                </a:cubicBezTo>
                <a:close/>
                <a:moveTo>
                  <a:pt x="595" y="451"/>
                </a:moveTo>
                <a:cubicBezTo>
                  <a:pt x="595" y="451"/>
                  <a:pt x="595" y="452"/>
                  <a:pt x="596" y="453"/>
                </a:cubicBezTo>
                <a:cubicBezTo>
                  <a:pt x="596" y="455"/>
                  <a:pt x="592" y="452"/>
                  <a:pt x="595" y="451"/>
                </a:cubicBezTo>
                <a:close/>
                <a:moveTo>
                  <a:pt x="595" y="520"/>
                </a:moveTo>
                <a:cubicBezTo>
                  <a:pt x="595" y="520"/>
                  <a:pt x="595" y="520"/>
                  <a:pt x="594" y="519"/>
                </a:cubicBezTo>
                <a:cubicBezTo>
                  <a:pt x="594" y="519"/>
                  <a:pt x="594" y="519"/>
                  <a:pt x="594" y="519"/>
                </a:cubicBezTo>
                <a:cubicBezTo>
                  <a:pt x="594" y="519"/>
                  <a:pt x="595" y="520"/>
                  <a:pt x="595" y="520"/>
                </a:cubicBezTo>
                <a:close/>
                <a:moveTo>
                  <a:pt x="595" y="538"/>
                </a:moveTo>
                <a:cubicBezTo>
                  <a:pt x="595" y="543"/>
                  <a:pt x="590" y="531"/>
                  <a:pt x="590" y="529"/>
                </a:cubicBezTo>
                <a:cubicBezTo>
                  <a:pt x="591" y="532"/>
                  <a:pt x="589" y="528"/>
                  <a:pt x="589" y="527"/>
                </a:cubicBezTo>
                <a:cubicBezTo>
                  <a:pt x="591" y="527"/>
                  <a:pt x="592" y="531"/>
                  <a:pt x="592" y="531"/>
                </a:cubicBezTo>
                <a:cubicBezTo>
                  <a:pt x="593" y="533"/>
                  <a:pt x="595" y="536"/>
                  <a:pt x="595" y="538"/>
                </a:cubicBezTo>
                <a:close/>
                <a:moveTo>
                  <a:pt x="590" y="422"/>
                </a:moveTo>
                <a:cubicBezTo>
                  <a:pt x="589" y="421"/>
                  <a:pt x="591" y="423"/>
                  <a:pt x="590" y="422"/>
                </a:cubicBezTo>
                <a:close/>
                <a:moveTo>
                  <a:pt x="591" y="452"/>
                </a:moveTo>
                <a:cubicBezTo>
                  <a:pt x="591" y="452"/>
                  <a:pt x="591" y="454"/>
                  <a:pt x="590" y="454"/>
                </a:cubicBezTo>
                <a:cubicBezTo>
                  <a:pt x="589" y="454"/>
                  <a:pt x="590" y="452"/>
                  <a:pt x="591" y="452"/>
                </a:cubicBezTo>
                <a:close/>
                <a:moveTo>
                  <a:pt x="588" y="505"/>
                </a:moveTo>
                <a:cubicBezTo>
                  <a:pt x="590" y="505"/>
                  <a:pt x="591" y="509"/>
                  <a:pt x="590" y="510"/>
                </a:cubicBezTo>
                <a:cubicBezTo>
                  <a:pt x="588" y="511"/>
                  <a:pt x="587" y="507"/>
                  <a:pt x="588" y="505"/>
                </a:cubicBezTo>
                <a:close/>
                <a:moveTo>
                  <a:pt x="589" y="546"/>
                </a:moveTo>
                <a:cubicBezTo>
                  <a:pt x="589" y="545"/>
                  <a:pt x="589" y="545"/>
                  <a:pt x="589" y="545"/>
                </a:cubicBezTo>
                <a:cubicBezTo>
                  <a:pt x="589" y="545"/>
                  <a:pt x="589" y="545"/>
                  <a:pt x="589" y="546"/>
                </a:cubicBezTo>
                <a:cubicBezTo>
                  <a:pt x="589" y="546"/>
                  <a:pt x="589" y="546"/>
                  <a:pt x="589" y="546"/>
                </a:cubicBezTo>
                <a:cubicBezTo>
                  <a:pt x="589" y="546"/>
                  <a:pt x="589" y="546"/>
                  <a:pt x="589" y="546"/>
                </a:cubicBezTo>
                <a:close/>
                <a:moveTo>
                  <a:pt x="590" y="552"/>
                </a:moveTo>
                <a:cubicBezTo>
                  <a:pt x="589" y="552"/>
                  <a:pt x="587" y="550"/>
                  <a:pt x="587" y="549"/>
                </a:cubicBezTo>
                <a:cubicBezTo>
                  <a:pt x="589" y="549"/>
                  <a:pt x="588" y="551"/>
                  <a:pt x="590" y="552"/>
                </a:cubicBezTo>
                <a:close/>
                <a:moveTo>
                  <a:pt x="587" y="548"/>
                </a:moveTo>
                <a:cubicBezTo>
                  <a:pt x="586" y="545"/>
                  <a:pt x="587" y="549"/>
                  <a:pt x="587" y="548"/>
                </a:cubicBezTo>
                <a:close/>
                <a:moveTo>
                  <a:pt x="586" y="410"/>
                </a:moveTo>
                <a:cubicBezTo>
                  <a:pt x="586" y="410"/>
                  <a:pt x="586" y="410"/>
                  <a:pt x="586" y="410"/>
                </a:cubicBezTo>
                <a:cubicBezTo>
                  <a:pt x="586" y="410"/>
                  <a:pt x="586" y="410"/>
                  <a:pt x="586" y="410"/>
                </a:cubicBezTo>
                <a:close/>
                <a:moveTo>
                  <a:pt x="586" y="566"/>
                </a:moveTo>
                <a:cubicBezTo>
                  <a:pt x="585" y="565"/>
                  <a:pt x="587" y="568"/>
                  <a:pt x="586" y="566"/>
                </a:cubicBezTo>
                <a:close/>
                <a:moveTo>
                  <a:pt x="585" y="530"/>
                </a:moveTo>
                <a:cubicBezTo>
                  <a:pt x="586" y="530"/>
                  <a:pt x="586" y="532"/>
                  <a:pt x="585" y="531"/>
                </a:cubicBezTo>
                <a:cubicBezTo>
                  <a:pt x="584" y="531"/>
                  <a:pt x="585" y="530"/>
                  <a:pt x="585" y="530"/>
                </a:cubicBezTo>
                <a:close/>
                <a:moveTo>
                  <a:pt x="583" y="469"/>
                </a:moveTo>
                <a:cubicBezTo>
                  <a:pt x="583" y="469"/>
                  <a:pt x="584" y="470"/>
                  <a:pt x="583" y="470"/>
                </a:cubicBezTo>
                <a:cubicBezTo>
                  <a:pt x="583" y="471"/>
                  <a:pt x="583" y="468"/>
                  <a:pt x="583" y="469"/>
                </a:cubicBezTo>
                <a:close/>
                <a:moveTo>
                  <a:pt x="582" y="481"/>
                </a:moveTo>
                <a:cubicBezTo>
                  <a:pt x="582" y="481"/>
                  <a:pt x="582" y="482"/>
                  <a:pt x="582" y="482"/>
                </a:cubicBezTo>
                <a:cubicBezTo>
                  <a:pt x="584" y="484"/>
                  <a:pt x="580" y="480"/>
                  <a:pt x="582" y="481"/>
                </a:cubicBezTo>
                <a:close/>
                <a:moveTo>
                  <a:pt x="574" y="537"/>
                </a:moveTo>
                <a:cubicBezTo>
                  <a:pt x="573" y="535"/>
                  <a:pt x="575" y="538"/>
                  <a:pt x="574" y="537"/>
                </a:cubicBezTo>
                <a:close/>
                <a:moveTo>
                  <a:pt x="577" y="514"/>
                </a:moveTo>
                <a:cubicBezTo>
                  <a:pt x="576" y="514"/>
                  <a:pt x="576" y="510"/>
                  <a:pt x="575" y="509"/>
                </a:cubicBezTo>
                <a:cubicBezTo>
                  <a:pt x="578" y="509"/>
                  <a:pt x="576" y="512"/>
                  <a:pt x="577" y="514"/>
                </a:cubicBezTo>
                <a:close/>
                <a:moveTo>
                  <a:pt x="579" y="552"/>
                </a:moveTo>
                <a:cubicBezTo>
                  <a:pt x="577" y="553"/>
                  <a:pt x="576" y="548"/>
                  <a:pt x="576" y="546"/>
                </a:cubicBezTo>
                <a:cubicBezTo>
                  <a:pt x="578" y="547"/>
                  <a:pt x="581" y="552"/>
                  <a:pt x="579" y="552"/>
                </a:cubicBezTo>
                <a:close/>
                <a:moveTo>
                  <a:pt x="577" y="515"/>
                </a:moveTo>
                <a:cubicBezTo>
                  <a:pt x="578" y="522"/>
                  <a:pt x="580" y="527"/>
                  <a:pt x="581" y="534"/>
                </a:cubicBezTo>
                <a:cubicBezTo>
                  <a:pt x="579" y="528"/>
                  <a:pt x="577" y="522"/>
                  <a:pt x="577" y="515"/>
                </a:cubicBezTo>
                <a:close/>
                <a:moveTo>
                  <a:pt x="580" y="426"/>
                </a:moveTo>
                <a:cubicBezTo>
                  <a:pt x="581" y="426"/>
                  <a:pt x="581" y="427"/>
                  <a:pt x="581" y="427"/>
                </a:cubicBezTo>
                <a:cubicBezTo>
                  <a:pt x="582" y="429"/>
                  <a:pt x="579" y="427"/>
                  <a:pt x="580" y="426"/>
                </a:cubicBezTo>
                <a:close/>
                <a:moveTo>
                  <a:pt x="578" y="464"/>
                </a:moveTo>
                <a:cubicBezTo>
                  <a:pt x="577" y="465"/>
                  <a:pt x="577" y="464"/>
                  <a:pt x="577" y="464"/>
                </a:cubicBezTo>
                <a:cubicBezTo>
                  <a:pt x="578" y="463"/>
                  <a:pt x="578" y="464"/>
                  <a:pt x="578" y="464"/>
                </a:cubicBezTo>
                <a:close/>
                <a:moveTo>
                  <a:pt x="576" y="475"/>
                </a:moveTo>
                <a:cubicBezTo>
                  <a:pt x="576" y="474"/>
                  <a:pt x="577" y="477"/>
                  <a:pt x="576" y="475"/>
                </a:cubicBezTo>
                <a:close/>
                <a:moveTo>
                  <a:pt x="576" y="497"/>
                </a:moveTo>
                <a:cubicBezTo>
                  <a:pt x="576" y="497"/>
                  <a:pt x="576" y="498"/>
                  <a:pt x="576" y="498"/>
                </a:cubicBezTo>
                <a:cubicBezTo>
                  <a:pt x="576" y="499"/>
                  <a:pt x="576" y="497"/>
                  <a:pt x="576" y="497"/>
                </a:cubicBezTo>
                <a:close/>
                <a:moveTo>
                  <a:pt x="576" y="507"/>
                </a:moveTo>
                <a:cubicBezTo>
                  <a:pt x="577" y="507"/>
                  <a:pt x="577" y="508"/>
                  <a:pt x="576" y="508"/>
                </a:cubicBezTo>
                <a:cubicBezTo>
                  <a:pt x="574" y="509"/>
                  <a:pt x="575" y="505"/>
                  <a:pt x="576" y="507"/>
                </a:cubicBezTo>
                <a:close/>
                <a:moveTo>
                  <a:pt x="575" y="486"/>
                </a:moveTo>
                <a:cubicBezTo>
                  <a:pt x="575" y="485"/>
                  <a:pt x="576" y="488"/>
                  <a:pt x="575" y="486"/>
                </a:cubicBezTo>
                <a:close/>
                <a:moveTo>
                  <a:pt x="573" y="519"/>
                </a:moveTo>
                <a:cubicBezTo>
                  <a:pt x="574" y="524"/>
                  <a:pt x="577" y="528"/>
                  <a:pt x="576" y="533"/>
                </a:cubicBezTo>
                <a:cubicBezTo>
                  <a:pt x="573" y="530"/>
                  <a:pt x="572" y="524"/>
                  <a:pt x="573" y="519"/>
                </a:cubicBezTo>
                <a:close/>
                <a:moveTo>
                  <a:pt x="556" y="517"/>
                </a:moveTo>
                <a:cubicBezTo>
                  <a:pt x="556" y="517"/>
                  <a:pt x="556" y="516"/>
                  <a:pt x="556" y="516"/>
                </a:cubicBezTo>
                <a:cubicBezTo>
                  <a:pt x="554" y="516"/>
                  <a:pt x="557" y="515"/>
                  <a:pt x="556" y="517"/>
                </a:cubicBezTo>
                <a:close/>
                <a:moveTo>
                  <a:pt x="559" y="486"/>
                </a:moveTo>
                <a:cubicBezTo>
                  <a:pt x="558" y="486"/>
                  <a:pt x="559" y="485"/>
                  <a:pt x="559" y="485"/>
                </a:cubicBezTo>
                <a:cubicBezTo>
                  <a:pt x="559" y="485"/>
                  <a:pt x="559" y="486"/>
                  <a:pt x="559" y="486"/>
                </a:cubicBezTo>
                <a:close/>
                <a:moveTo>
                  <a:pt x="561" y="516"/>
                </a:moveTo>
                <a:cubicBezTo>
                  <a:pt x="560" y="516"/>
                  <a:pt x="560" y="515"/>
                  <a:pt x="560" y="515"/>
                </a:cubicBezTo>
                <a:cubicBezTo>
                  <a:pt x="562" y="514"/>
                  <a:pt x="563" y="517"/>
                  <a:pt x="561" y="516"/>
                </a:cubicBezTo>
                <a:close/>
                <a:moveTo>
                  <a:pt x="572" y="517"/>
                </a:moveTo>
                <a:cubicBezTo>
                  <a:pt x="572" y="517"/>
                  <a:pt x="567" y="506"/>
                  <a:pt x="569" y="506"/>
                </a:cubicBezTo>
                <a:cubicBezTo>
                  <a:pt x="569" y="505"/>
                  <a:pt x="572" y="514"/>
                  <a:pt x="572" y="515"/>
                </a:cubicBezTo>
                <a:cubicBezTo>
                  <a:pt x="572" y="515"/>
                  <a:pt x="572" y="516"/>
                  <a:pt x="572" y="517"/>
                </a:cubicBezTo>
                <a:close/>
                <a:moveTo>
                  <a:pt x="569" y="480"/>
                </a:moveTo>
                <a:cubicBezTo>
                  <a:pt x="570" y="480"/>
                  <a:pt x="570" y="480"/>
                  <a:pt x="570" y="480"/>
                </a:cubicBezTo>
                <a:cubicBezTo>
                  <a:pt x="571" y="482"/>
                  <a:pt x="567" y="479"/>
                  <a:pt x="569" y="480"/>
                </a:cubicBezTo>
                <a:close/>
                <a:moveTo>
                  <a:pt x="570" y="451"/>
                </a:moveTo>
                <a:cubicBezTo>
                  <a:pt x="570" y="451"/>
                  <a:pt x="570" y="452"/>
                  <a:pt x="570" y="453"/>
                </a:cubicBezTo>
                <a:cubicBezTo>
                  <a:pt x="568" y="454"/>
                  <a:pt x="568" y="449"/>
                  <a:pt x="570" y="451"/>
                </a:cubicBezTo>
                <a:close/>
                <a:moveTo>
                  <a:pt x="569" y="528"/>
                </a:moveTo>
                <a:cubicBezTo>
                  <a:pt x="569" y="528"/>
                  <a:pt x="569" y="529"/>
                  <a:pt x="569" y="529"/>
                </a:cubicBezTo>
                <a:cubicBezTo>
                  <a:pt x="567" y="529"/>
                  <a:pt x="569" y="526"/>
                  <a:pt x="569" y="528"/>
                </a:cubicBezTo>
                <a:close/>
                <a:moveTo>
                  <a:pt x="567" y="520"/>
                </a:moveTo>
                <a:cubicBezTo>
                  <a:pt x="567" y="520"/>
                  <a:pt x="567" y="519"/>
                  <a:pt x="567" y="519"/>
                </a:cubicBezTo>
                <a:cubicBezTo>
                  <a:pt x="568" y="519"/>
                  <a:pt x="567" y="521"/>
                  <a:pt x="567" y="520"/>
                </a:cubicBezTo>
                <a:close/>
                <a:moveTo>
                  <a:pt x="567" y="511"/>
                </a:moveTo>
                <a:cubicBezTo>
                  <a:pt x="566" y="511"/>
                  <a:pt x="566" y="509"/>
                  <a:pt x="566" y="508"/>
                </a:cubicBezTo>
                <a:cubicBezTo>
                  <a:pt x="567" y="509"/>
                  <a:pt x="567" y="510"/>
                  <a:pt x="567" y="511"/>
                </a:cubicBezTo>
                <a:close/>
                <a:moveTo>
                  <a:pt x="566" y="507"/>
                </a:moveTo>
                <a:cubicBezTo>
                  <a:pt x="565" y="506"/>
                  <a:pt x="567" y="504"/>
                  <a:pt x="566" y="507"/>
                </a:cubicBezTo>
                <a:close/>
                <a:moveTo>
                  <a:pt x="565" y="501"/>
                </a:moveTo>
                <a:cubicBezTo>
                  <a:pt x="565" y="501"/>
                  <a:pt x="565" y="501"/>
                  <a:pt x="565" y="501"/>
                </a:cubicBezTo>
                <a:cubicBezTo>
                  <a:pt x="565" y="501"/>
                  <a:pt x="565" y="501"/>
                  <a:pt x="565" y="500"/>
                </a:cubicBezTo>
                <a:cubicBezTo>
                  <a:pt x="565" y="501"/>
                  <a:pt x="565" y="501"/>
                  <a:pt x="565" y="501"/>
                </a:cubicBezTo>
                <a:close/>
                <a:moveTo>
                  <a:pt x="565" y="508"/>
                </a:moveTo>
                <a:cubicBezTo>
                  <a:pt x="566" y="510"/>
                  <a:pt x="562" y="508"/>
                  <a:pt x="564" y="507"/>
                </a:cubicBezTo>
                <a:cubicBezTo>
                  <a:pt x="564" y="507"/>
                  <a:pt x="565" y="507"/>
                  <a:pt x="565" y="508"/>
                </a:cubicBezTo>
                <a:close/>
                <a:moveTo>
                  <a:pt x="564" y="502"/>
                </a:moveTo>
                <a:cubicBezTo>
                  <a:pt x="564" y="502"/>
                  <a:pt x="564" y="503"/>
                  <a:pt x="564" y="503"/>
                </a:cubicBezTo>
                <a:cubicBezTo>
                  <a:pt x="565" y="505"/>
                  <a:pt x="561" y="503"/>
                  <a:pt x="564" y="502"/>
                </a:cubicBezTo>
                <a:close/>
                <a:moveTo>
                  <a:pt x="560" y="494"/>
                </a:moveTo>
                <a:cubicBezTo>
                  <a:pt x="562" y="492"/>
                  <a:pt x="564" y="496"/>
                  <a:pt x="564" y="496"/>
                </a:cubicBezTo>
                <a:cubicBezTo>
                  <a:pt x="565" y="501"/>
                  <a:pt x="557" y="496"/>
                  <a:pt x="560" y="494"/>
                </a:cubicBezTo>
                <a:close/>
                <a:moveTo>
                  <a:pt x="557" y="439"/>
                </a:moveTo>
                <a:cubicBezTo>
                  <a:pt x="557" y="440"/>
                  <a:pt x="556" y="438"/>
                  <a:pt x="557" y="439"/>
                </a:cubicBezTo>
                <a:close/>
                <a:moveTo>
                  <a:pt x="555" y="457"/>
                </a:moveTo>
                <a:cubicBezTo>
                  <a:pt x="556" y="456"/>
                  <a:pt x="558" y="461"/>
                  <a:pt x="558" y="460"/>
                </a:cubicBezTo>
                <a:cubicBezTo>
                  <a:pt x="558" y="462"/>
                  <a:pt x="558" y="464"/>
                  <a:pt x="559" y="467"/>
                </a:cubicBezTo>
                <a:cubicBezTo>
                  <a:pt x="560" y="471"/>
                  <a:pt x="564" y="476"/>
                  <a:pt x="564" y="480"/>
                </a:cubicBezTo>
                <a:cubicBezTo>
                  <a:pt x="560" y="478"/>
                  <a:pt x="561" y="472"/>
                  <a:pt x="559" y="469"/>
                </a:cubicBezTo>
                <a:cubicBezTo>
                  <a:pt x="558" y="468"/>
                  <a:pt x="556" y="462"/>
                  <a:pt x="555" y="459"/>
                </a:cubicBezTo>
                <a:cubicBezTo>
                  <a:pt x="555" y="458"/>
                  <a:pt x="553" y="457"/>
                  <a:pt x="555" y="457"/>
                </a:cubicBezTo>
                <a:close/>
                <a:moveTo>
                  <a:pt x="549" y="528"/>
                </a:moveTo>
                <a:cubicBezTo>
                  <a:pt x="549" y="527"/>
                  <a:pt x="550" y="527"/>
                  <a:pt x="550" y="528"/>
                </a:cubicBezTo>
                <a:cubicBezTo>
                  <a:pt x="551" y="529"/>
                  <a:pt x="549" y="528"/>
                  <a:pt x="549" y="528"/>
                </a:cubicBezTo>
                <a:close/>
                <a:moveTo>
                  <a:pt x="540" y="511"/>
                </a:moveTo>
                <a:cubicBezTo>
                  <a:pt x="540" y="513"/>
                  <a:pt x="539" y="510"/>
                  <a:pt x="540" y="511"/>
                </a:cubicBezTo>
                <a:close/>
                <a:moveTo>
                  <a:pt x="541" y="554"/>
                </a:moveTo>
                <a:cubicBezTo>
                  <a:pt x="543" y="553"/>
                  <a:pt x="546" y="557"/>
                  <a:pt x="546" y="557"/>
                </a:cubicBezTo>
                <a:cubicBezTo>
                  <a:pt x="546" y="563"/>
                  <a:pt x="538" y="556"/>
                  <a:pt x="541" y="554"/>
                </a:cubicBezTo>
                <a:close/>
                <a:moveTo>
                  <a:pt x="541" y="528"/>
                </a:moveTo>
                <a:cubicBezTo>
                  <a:pt x="541" y="527"/>
                  <a:pt x="543" y="529"/>
                  <a:pt x="542" y="529"/>
                </a:cubicBezTo>
                <a:cubicBezTo>
                  <a:pt x="542" y="529"/>
                  <a:pt x="541" y="529"/>
                  <a:pt x="541" y="528"/>
                </a:cubicBezTo>
                <a:close/>
                <a:moveTo>
                  <a:pt x="549" y="540"/>
                </a:moveTo>
                <a:cubicBezTo>
                  <a:pt x="550" y="541"/>
                  <a:pt x="548" y="539"/>
                  <a:pt x="549" y="540"/>
                </a:cubicBezTo>
                <a:close/>
                <a:moveTo>
                  <a:pt x="548" y="494"/>
                </a:moveTo>
                <a:cubicBezTo>
                  <a:pt x="547" y="494"/>
                  <a:pt x="547" y="493"/>
                  <a:pt x="547" y="492"/>
                </a:cubicBezTo>
                <a:cubicBezTo>
                  <a:pt x="547" y="492"/>
                  <a:pt x="548" y="493"/>
                  <a:pt x="548" y="494"/>
                </a:cubicBezTo>
                <a:close/>
                <a:moveTo>
                  <a:pt x="546" y="541"/>
                </a:moveTo>
                <a:cubicBezTo>
                  <a:pt x="546" y="544"/>
                  <a:pt x="543" y="538"/>
                  <a:pt x="546" y="539"/>
                </a:cubicBezTo>
                <a:cubicBezTo>
                  <a:pt x="546" y="539"/>
                  <a:pt x="546" y="540"/>
                  <a:pt x="546" y="541"/>
                </a:cubicBezTo>
                <a:close/>
                <a:moveTo>
                  <a:pt x="545" y="522"/>
                </a:moveTo>
                <a:cubicBezTo>
                  <a:pt x="545" y="521"/>
                  <a:pt x="546" y="522"/>
                  <a:pt x="546" y="522"/>
                </a:cubicBezTo>
                <a:cubicBezTo>
                  <a:pt x="546" y="523"/>
                  <a:pt x="544" y="522"/>
                  <a:pt x="545" y="522"/>
                </a:cubicBezTo>
                <a:close/>
                <a:moveTo>
                  <a:pt x="545" y="470"/>
                </a:moveTo>
                <a:cubicBezTo>
                  <a:pt x="545" y="468"/>
                  <a:pt x="544" y="467"/>
                  <a:pt x="544" y="465"/>
                </a:cubicBezTo>
                <a:cubicBezTo>
                  <a:pt x="545" y="466"/>
                  <a:pt x="546" y="468"/>
                  <a:pt x="545" y="470"/>
                </a:cubicBezTo>
                <a:close/>
                <a:moveTo>
                  <a:pt x="543" y="518"/>
                </a:moveTo>
                <a:cubicBezTo>
                  <a:pt x="543" y="518"/>
                  <a:pt x="543" y="518"/>
                  <a:pt x="544" y="518"/>
                </a:cubicBezTo>
                <a:cubicBezTo>
                  <a:pt x="545" y="517"/>
                  <a:pt x="546" y="522"/>
                  <a:pt x="543" y="521"/>
                </a:cubicBezTo>
                <a:cubicBezTo>
                  <a:pt x="543" y="521"/>
                  <a:pt x="542" y="520"/>
                  <a:pt x="542" y="519"/>
                </a:cubicBezTo>
                <a:cubicBezTo>
                  <a:pt x="542" y="519"/>
                  <a:pt x="541" y="519"/>
                  <a:pt x="541" y="518"/>
                </a:cubicBezTo>
                <a:cubicBezTo>
                  <a:pt x="541" y="517"/>
                  <a:pt x="543" y="517"/>
                  <a:pt x="543" y="518"/>
                </a:cubicBezTo>
                <a:cubicBezTo>
                  <a:pt x="543" y="518"/>
                  <a:pt x="543" y="518"/>
                  <a:pt x="543" y="518"/>
                </a:cubicBezTo>
                <a:close/>
                <a:moveTo>
                  <a:pt x="541" y="454"/>
                </a:moveTo>
                <a:cubicBezTo>
                  <a:pt x="542" y="456"/>
                  <a:pt x="543" y="459"/>
                  <a:pt x="543" y="461"/>
                </a:cubicBezTo>
                <a:cubicBezTo>
                  <a:pt x="542" y="459"/>
                  <a:pt x="541" y="457"/>
                  <a:pt x="541" y="454"/>
                </a:cubicBezTo>
                <a:close/>
                <a:moveTo>
                  <a:pt x="539" y="439"/>
                </a:moveTo>
                <a:cubicBezTo>
                  <a:pt x="541" y="443"/>
                  <a:pt x="541" y="450"/>
                  <a:pt x="542" y="454"/>
                </a:cubicBezTo>
                <a:cubicBezTo>
                  <a:pt x="540" y="450"/>
                  <a:pt x="540" y="445"/>
                  <a:pt x="539" y="439"/>
                </a:cubicBezTo>
                <a:close/>
                <a:moveTo>
                  <a:pt x="539" y="439"/>
                </a:moveTo>
                <a:cubicBezTo>
                  <a:pt x="538" y="438"/>
                  <a:pt x="538" y="436"/>
                  <a:pt x="538" y="434"/>
                </a:cubicBezTo>
                <a:cubicBezTo>
                  <a:pt x="540" y="435"/>
                  <a:pt x="540" y="437"/>
                  <a:pt x="539" y="439"/>
                </a:cubicBezTo>
                <a:close/>
                <a:moveTo>
                  <a:pt x="539" y="432"/>
                </a:moveTo>
                <a:cubicBezTo>
                  <a:pt x="539" y="433"/>
                  <a:pt x="540" y="433"/>
                  <a:pt x="539" y="434"/>
                </a:cubicBezTo>
                <a:cubicBezTo>
                  <a:pt x="538" y="434"/>
                  <a:pt x="538" y="429"/>
                  <a:pt x="539" y="432"/>
                </a:cubicBezTo>
                <a:close/>
                <a:moveTo>
                  <a:pt x="538" y="420"/>
                </a:moveTo>
                <a:cubicBezTo>
                  <a:pt x="538" y="420"/>
                  <a:pt x="539" y="420"/>
                  <a:pt x="538" y="421"/>
                </a:cubicBezTo>
                <a:cubicBezTo>
                  <a:pt x="537" y="421"/>
                  <a:pt x="537" y="418"/>
                  <a:pt x="538" y="420"/>
                </a:cubicBezTo>
                <a:close/>
                <a:moveTo>
                  <a:pt x="537" y="551"/>
                </a:moveTo>
                <a:cubicBezTo>
                  <a:pt x="538" y="550"/>
                  <a:pt x="539" y="551"/>
                  <a:pt x="539" y="552"/>
                </a:cubicBezTo>
                <a:cubicBezTo>
                  <a:pt x="539" y="554"/>
                  <a:pt x="536" y="553"/>
                  <a:pt x="537" y="551"/>
                </a:cubicBezTo>
                <a:close/>
                <a:moveTo>
                  <a:pt x="535" y="409"/>
                </a:moveTo>
                <a:cubicBezTo>
                  <a:pt x="536" y="409"/>
                  <a:pt x="536" y="411"/>
                  <a:pt x="535" y="409"/>
                </a:cubicBezTo>
                <a:close/>
                <a:moveTo>
                  <a:pt x="535" y="418"/>
                </a:moveTo>
                <a:cubicBezTo>
                  <a:pt x="533" y="417"/>
                  <a:pt x="535" y="416"/>
                  <a:pt x="535" y="418"/>
                </a:cubicBezTo>
                <a:close/>
                <a:moveTo>
                  <a:pt x="534" y="460"/>
                </a:moveTo>
                <a:cubicBezTo>
                  <a:pt x="535" y="460"/>
                  <a:pt x="536" y="461"/>
                  <a:pt x="536" y="461"/>
                </a:cubicBezTo>
                <a:cubicBezTo>
                  <a:pt x="537" y="465"/>
                  <a:pt x="533" y="461"/>
                  <a:pt x="534" y="460"/>
                </a:cubicBezTo>
                <a:close/>
                <a:moveTo>
                  <a:pt x="301" y="28"/>
                </a:moveTo>
                <a:cubicBezTo>
                  <a:pt x="300" y="27"/>
                  <a:pt x="303" y="29"/>
                  <a:pt x="301" y="28"/>
                </a:cubicBezTo>
                <a:close/>
                <a:moveTo>
                  <a:pt x="308" y="19"/>
                </a:moveTo>
                <a:cubicBezTo>
                  <a:pt x="310" y="20"/>
                  <a:pt x="312" y="22"/>
                  <a:pt x="314" y="24"/>
                </a:cubicBezTo>
                <a:cubicBezTo>
                  <a:pt x="311" y="23"/>
                  <a:pt x="310" y="21"/>
                  <a:pt x="308" y="19"/>
                </a:cubicBezTo>
                <a:close/>
                <a:moveTo>
                  <a:pt x="314" y="19"/>
                </a:moveTo>
                <a:cubicBezTo>
                  <a:pt x="314" y="19"/>
                  <a:pt x="314" y="19"/>
                  <a:pt x="314" y="19"/>
                </a:cubicBezTo>
                <a:cubicBezTo>
                  <a:pt x="315" y="20"/>
                  <a:pt x="314" y="19"/>
                  <a:pt x="314" y="19"/>
                </a:cubicBezTo>
                <a:close/>
                <a:moveTo>
                  <a:pt x="286" y="38"/>
                </a:moveTo>
                <a:cubicBezTo>
                  <a:pt x="286" y="38"/>
                  <a:pt x="286" y="38"/>
                  <a:pt x="286" y="38"/>
                </a:cubicBezTo>
                <a:cubicBezTo>
                  <a:pt x="286" y="38"/>
                  <a:pt x="287" y="38"/>
                  <a:pt x="287" y="38"/>
                </a:cubicBezTo>
                <a:cubicBezTo>
                  <a:pt x="287" y="38"/>
                  <a:pt x="287" y="38"/>
                  <a:pt x="286" y="38"/>
                </a:cubicBezTo>
                <a:close/>
                <a:moveTo>
                  <a:pt x="290" y="56"/>
                </a:moveTo>
                <a:cubicBezTo>
                  <a:pt x="291" y="55"/>
                  <a:pt x="292" y="57"/>
                  <a:pt x="290" y="56"/>
                </a:cubicBezTo>
                <a:close/>
                <a:moveTo>
                  <a:pt x="294" y="57"/>
                </a:moveTo>
                <a:cubicBezTo>
                  <a:pt x="292" y="57"/>
                  <a:pt x="293" y="55"/>
                  <a:pt x="294" y="57"/>
                </a:cubicBezTo>
                <a:close/>
                <a:moveTo>
                  <a:pt x="292" y="34"/>
                </a:moveTo>
                <a:cubicBezTo>
                  <a:pt x="293" y="33"/>
                  <a:pt x="294" y="34"/>
                  <a:pt x="294" y="35"/>
                </a:cubicBezTo>
                <a:cubicBezTo>
                  <a:pt x="293" y="35"/>
                  <a:pt x="293" y="34"/>
                  <a:pt x="292" y="34"/>
                </a:cubicBezTo>
                <a:close/>
                <a:moveTo>
                  <a:pt x="301" y="46"/>
                </a:moveTo>
                <a:cubicBezTo>
                  <a:pt x="302" y="47"/>
                  <a:pt x="299" y="45"/>
                  <a:pt x="301" y="46"/>
                </a:cubicBezTo>
                <a:close/>
                <a:moveTo>
                  <a:pt x="300" y="50"/>
                </a:moveTo>
                <a:cubicBezTo>
                  <a:pt x="298" y="49"/>
                  <a:pt x="302" y="52"/>
                  <a:pt x="300" y="50"/>
                </a:cubicBezTo>
                <a:close/>
                <a:moveTo>
                  <a:pt x="301" y="48"/>
                </a:moveTo>
                <a:cubicBezTo>
                  <a:pt x="300" y="48"/>
                  <a:pt x="300" y="47"/>
                  <a:pt x="300" y="47"/>
                </a:cubicBezTo>
                <a:cubicBezTo>
                  <a:pt x="301" y="45"/>
                  <a:pt x="304" y="50"/>
                  <a:pt x="301" y="48"/>
                </a:cubicBezTo>
                <a:close/>
                <a:moveTo>
                  <a:pt x="197" y="116"/>
                </a:moveTo>
                <a:cubicBezTo>
                  <a:pt x="197" y="115"/>
                  <a:pt x="196" y="115"/>
                  <a:pt x="197" y="115"/>
                </a:cubicBezTo>
                <a:cubicBezTo>
                  <a:pt x="198" y="114"/>
                  <a:pt x="199" y="117"/>
                  <a:pt x="197" y="116"/>
                </a:cubicBezTo>
                <a:close/>
                <a:moveTo>
                  <a:pt x="204" y="118"/>
                </a:moveTo>
                <a:cubicBezTo>
                  <a:pt x="205" y="118"/>
                  <a:pt x="206" y="119"/>
                  <a:pt x="205" y="119"/>
                </a:cubicBezTo>
                <a:cubicBezTo>
                  <a:pt x="205" y="120"/>
                  <a:pt x="203" y="119"/>
                  <a:pt x="204" y="118"/>
                </a:cubicBezTo>
                <a:close/>
                <a:moveTo>
                  <a:pt x="201" y="107"/>
                </a:moveTo>
                <a:cubicBezTo>
                  <a:pt x="205" y="105"/>
                  <a:pt x="202" y="110"/>
                  <a:pt x="201" y="107"/>
                </a:cubicBezTo>
                <a:cubicBezTo>
                  <a:pt x="201" y="106"/>
                  <a:pt x="201" y="107"/>
                  <a:pt x="201" y="107"/>
                </a:cubicBezTo>
                <a:close/>
                <a:moveTo>
                  <a:pt x="203" y="122"/>
                </a:moveTo>
                <a:cubicBezTo>
                  <a:pt x="203" y="122"/>
                  <a:pt x="202" y="122"/>
                  <a:pt x="202" y="121"/>
                </a:cubicBezTo>
                <a:cubicBezTo>
                  <a:pt x="202" y="121"/>
                  <a:pt x="202" y="121"/>
                  <a:pt x="202" y="121"/>
                </a:cubicBezTo>
                <a:cubicBezTo>
                  <a:pt x="202" y="120"/>
                  <a:pt x="201" y="119"/>
                  <a:pt x="200" y="118"/>
                </a:cubicBezTo>
                <a:cubicBezTo>
                  <a:pt x="202" y="119"/>
                  <a:pt x="203" y="121"/>
                  <a:pt x="205" y="124"/>
                </a:cubicBezTo>
                <a:cubicBezTo>
                  <a:pt x="204" y="123"/>
                  <a:pt x="203" y="123"/>
                  <a:pt x="203" y="122"/>
                </a:cubicBezTo>
                <a:close/>
                <a:moveTo>
                  <a:pt x="205" y="124"/>
                </a:moveTo>
                <a:cubicBezTo>
                  <a:pt x="206" y="123"/>
                  <a:pt x="207" y="128"/>
                  <a:pt x="205" y="126"/>
                </a:cubicBezTo>
                <a:cubicBezTo>
                  <a:pt x="205" y="125"/>
                  <a:pt x="204" y="125"/>
                  <a:pt x="205" y="124"/>
                </a:cubicBezTo>
                <a:close/>
                <a:moveTo>
                  <a:pt x="205" y="140"/>
                </a:moveTo>
                <a:cubicBezTo>
                  <a:pt x="204" y="140"/>
                  <a:pt x="204" y="139"/>
                  <a:pt x="205" y="139"/>
                </a:cubicBezTo>
                <a:cubicBezTo>
                  <a:pt x="206" y="138"/>
                  <a:pt x="207" y="141"/>
                  <a:pt x="205" y="140"/>
                </a:cubicBezTo>
                <a:close/>
                <a:moveTo>
                  <a:pt x="77" y="199"/>
                </a:moveTo>
                <a:cubicBezTo>
                  <a:pt x="79" y="200"/>
                  <a:pt x="77" y="201"/>
                  <a:pt x="77" y="199"/>
                </a:cubicBezTo>
                <a:close/>
                <a:moveTo>
                  <a:pt x="21" y="249"/>
                </a:moveTo>
                <a:cubicBezTo>
                  <a:pt x="20" y="248"/>
                  <a:pt x="22" y="247"/>
                  <a:pt x="21" y="249"/>
                </a:cubicBezTo>
                <a:close/>
                <a:moveTo>
                  <a:pt x="24" y="252"/>
                </a:moveTo>
                <a:cubicBezTo>
                  <a:pt x="23" y="252"/>
                  <a:pt x="23" y="251"/>
                  <a:pt x="24" y="251"/>
                </a:cubicBezTo>
                <a:cubicBezTo>
                  <a:pt x="24" y="250"/>
                  <a:pt x="24" y="252"/>
                  <a:pt x="24" y="252"/>
                </a:cubicBezTo>
                <a:close/>
                <a:moveTo>
                  <a:pt x="23" y="249"/>
                </a:moveTo>
                <a:cubicBezTo>
                  <a:pt x="23" y="249"/>
                  <a:pt x="24" y="248"/>
                  <a:pt x="24" y="248"/>
                </a:cubicBezTo>
                <a:cubicBezTo>
                  <a:pt x="26" y="247"/>
                  <a:pt x="24" y="251"/>
                  <a:pt x="23" y="249"/>
                </a:cubicBezTo>
                <a:close/>
                <a:moveTo>
                  <a:pt x="26" y="245"/>
                </a:moveTo>
                <a:cubicBezTo>
                  <a:pt x="25" y="245"/>
                  <a:pt x="25" y="244"/>
                  <a:pt x="25" y="244"/>
                </a:cubicBezTo>
                <a:cubicBezTo>
                  <a:pt x="26" y="243"/>
                  <a:pt x="26" y="245"/>
                  <a:pt x="26" y="245"/>
                </a:cubicBezTo>
                <a:close/>
                <a:moveTo>
                  <a:pt x="33" y="251"/>
                </a:moveTo>
                <a:cubicBezTo>
                  <a:pt x="34" y="250"/>
                  <a:pt x="34" y="253"/>
                  <a:pt x="33" y="253"/>
                </a:cubicBezTo>
                <a:cubicBezTo>
                  <a:pt x="33" y="252"/>
                  <a:pt x="33" y="251"/>
                  <a:pt x="33" y="251"/>
                </a:cubicBezTo>
                <a:close/>
                <a:moveTo>
                  <a:pt x="28" y="258"/>
                </a:moveTo>
                <a:cubicBezTo>
                  <a:pt x="28" y="259"/>
                  <a:pt x="27" y="257"/>
                  <a:pt x="27" y="257"/>
                </a:cubicBezTo>
                <a:cubicBezTo>
                  <a:pt x="28" y="256"/>
                  <a:pt x="28" y="258"/>
                  <a:pt x="28" y="258"/>
                </a:cubicBezTo>
                <a:close/>
                <a:moveTo>
                  <a:pt x="29" y="249"/>
                </a:moveTo>
                <a:cubicBezTo>
                  <a:pt x="29" y="248"/>
                  <a:pt x="30" y="249"/>
                  <a:pt x="29" y="250"/>
                </a:cubicBezTo>
                <a:cubicBezTo>
                  <a:pt x="29" y="250"/>
                  <a:pt x="28" y="249"/>
                  <a:pt x="29" y="249"/>
                </a:cubicBezTo>
                <a:close/>
                <a:moveTo>
                  <a:pt x="29" y="275"/>
                </a:moveTo>
                <a:cubicBezTo>
                  <a:pt x="29" y="276"/>
                  <a:pt x="30" y="274"/>
                  <a:pt x="29" y="275"/>
                </a:cubicBezTo>
                <a:close/>
                <a:moveTo>
                  <a:pt x="29" y="247"/>
                </a:moveTo>
                <a:cubicBezTo>
                  <a:pt x="29" y="247"/>
                  <a:pt x="28" y="247"/>
                  <a:pt x="29" y="248"/>
                </a:cubicBezTo>
                <a:cubicBezTo>
                  <a:pt x="28" y="247"/>
                  <a:pt x="28" y="246"/>
                  <a:pt x="28" y="246"/>
                </a:cubicBezTo>
                <a:cubicBezTo>
                  <a:pt x="28" y="246"/>
                  <a:pt x="28" y="245"/>
                  <a:pt x="28" y="245"/>
                </a:cubicBezTo>
                <a:cubicBezTo>
                  <a:pt x="28" y="244"/>
                  <a:pt x="25" y="241"/>
                  <a:pt x="27" y="240"/>
                </a:cubicBezTo>
                <a:cubicBezTo>
                  <a:pt x="31" y="239"/>
                  <a:pt x="30" y="243"/>
                  <a:pt x="30" y="244"/>
                </a:cubicBezTo>
                <a:cubicBezTo>
                  <a:pt x="30" y="244"/>
                  <a:pt x="30" y="245"/>
                  <a:pt x="30" y="245"/>
                </a:cubicBezTo>
                <a:cubicBezTo>
                  <a:pt x="31" y="245"/>
                  <a:pt x="31" y="247"/>
                  <a:pt x="30" y="247"/>
                </a:cubicBezTo>
                <a:cubicBezTo>
                  <a:pt x="30" y="247"/>
                  <a:pt x="30" y="247"/>
                  <a:pt x="30" y="247"/>
                </a:cubicBezTo>
                <a:cubicBezTo>
                  <a:pt x="29" y="247"/>
                  <a:pt x="29" y="247"/>
                  <a:pt x="29" y="247"/>
                </a:cubicBezTo>
                <a:close/>
                <a:moveTo>
                  <a:pt x="30" y="259"/>
                </a:moveTo>
                <a:cubicBezTo>
                  <a:pt x="31" y="258"/>
                  <a:pt x="32" y="262"/>
                  <a:pt x="31" y="262"/>
                </a:cubicBezTo>
                <a:cubicBezTo>
                  <a:pt x="30" y="262"/>
                  <a:pt x="29" y="260"/>
                  <a:pt x="30" y="259"/>
                </a:cubicBezTo>
                <a:close/>
                <a:moveTo>
                  <a:pt x="32" y="282"/>
                </a:moveTo>
                <a:cubicBezTo>
                  <a:pt x="32" y="281"/>
                  <a:pt x="33" y="281"/>
                  <a:pt x="33" y="282"/>
                </a:cubicBezTo>
                <a:cubicBezTo>
                  <a:pt x="33" y="284"/>
                  <a:pt x="29" y="282"/>
                  <a:pt x="32" y="282"/>
                </a:cubicBezTo>
                <a:close/>
                <a:moveTo>
                  <a:pt x="33" y="261"/>
                </a:moveTo>
                <a:cubicBezTo>
                  <a:pt x="33" y="261"/>
                  <a:pt x="32" y="260"/>
                  <a:pt x="33" y="259"/>
                </a:cubicBezTo>
                <a:cubicBezTo>
                  <a:pt x="34" y="259"/>
                  <a:pt x="34" y="261"/>
                  <a:pt x="33" y="261"/>
                </a:cubicBezTo>
                <a:close/>
                <a:moveTo>
                  <a:pt x="34" y="281"/>
                </a:moveTo>
                <a:cubicBezTo>
                  <a:pt x="33" y="279"/>
                  <a:pt x="35" y="278"/>
                  <a:pt x="34" y="281"/>
                </a:cubicBezTo>
                <a:close/>
                <a:moveTo>
                  <a:pt x="35" y="279"/>
                </a:moveTo>
                <a:cubicBezTo>
                  <a:pt x="35" y="280"/>
                  <a:pt x="34" y="277"/>
                  <a:pt x="35" y="277"/>
                </a:cubicBezTo>
                <a:cubicBezTo>
                  <a:pt x="36" y="278"/>
                  <a:pt x="36" y="278"/>
                  <a:pt x="35" y="279"/>
                </a:cubicBezTo>
                <a:close/>
                <a:moveTo>
                  <a:pt x="37" y="226"/>
                </a:moveTo>
                <a:cubicBezTo>
                  <a:pt x="37" y="226"/>
                  <a:pt x="37" y="227"/>
                  <a:pt x="37" y="228"/>
                </a:cubicBezTo>
                <a:cubicBezTo>
                  <a:pt x="37" y="228"/>
                  <a:pt x="36" y="227"/>
                  <a:pt x="37" y="226"/>
                </a:cubicBezTo>
                <a:close/>
                <a:moveTo>
                  <a:pt x="38" y="238"/>
                </a:moveTo>
                <a:cubicBezTo>
                  <a:pt x="37" y="238"/>
                  <a:pt x="37" y="236"/>
                  <a:pt x="38" y="236"/>
                </a:cubicBezTo>
                <a:cubicBezTo>
                  <a:pt x="39" y="235"/>
                  <a:pt x="39" y="238"/>
                  <a:pt x="38" y="238"/>
                </a:cubicBezTo>
                <a:close/>
                <a:moveTo>
                  <a:pt x="40" y="226"/>
                </a:moveTo>
                <a:cubicBezTo>
                  <a:pt x="41" y="226"/>
                  <a:pt x="40" y="228"/>
                  <a:pt x="40" y="228"/>
                </a:cubicBezTo>
                <a:cubicBezTo>
                  <a:pt x="39" y="228"/>
                  <a:pt x="38" y="227"/>
                  <a:pt x="40" y="226"/>
                </a:cubicBezTo>
                <a:close/>
                <a:moveTo>
                  <a:pt x="40" y="265"/>
                </a:moveTo>
                <a:cubicBezTo>
                  <a:pt x="39" y="266"/>
                  <a:pt x="40" y="264"/>
                  <a:pt x="40" y="265"/>
                </a:cubicBezTo>
                <a:close/>
                <a:moveTo>
                  <a:pt x="40" y="249"/>
                </a:moveTo>
                <a:cubicBezTo>
                  <a:pt x="40" y="249"/>
                  <a:pt x="41" y="250"/>
                  <a:pt x="41" y="250"/>
                </a:cubicBezTo>
                <a:cubicBezTo>
                  <a:pt x="40" y="250"/>
                  <a:pt x="40" y="250"/>
                  <a:pt x="40" y="249"/>
                </a:cubicBezTo>
                <a:close/>
                <a:moveTo>
                  <a:pt x="41" y="284"/>
                </a:moveTo>
                <a:cubicBezTo>
                  <a:pt x="40" y="284"/>
                  <a:pt x="39" y="281"/>
                  <a:pt x="40" y="281"/>
                </a:cubicBezTo>
                <a:cubicBezTo>
                  <a:pt x="41" y="280"/>
                  <a:pt x="42" y="283"/>
                  <a:pt x="41" y="284"/>
                </a:cubicBezTo>
                <a:close/>
                <a:moveTo>
                  <a:pt x="40" y="241"/>
                </a:moveTo>
                <a:cubicBezTo>
                  <a:pt x="39" y="241"/>
                  <a:pt x="38" y="238"/>
                  <a:pt x="40" y="237"/>
                </a:cubicBezTo>
                <a:cubicBezTo>
                  <a:pt x="42" y="237"/>
                  <a:pt x="41" y="241"/>
                  <a:pt x="40" y="241"/>
                </a:cubicBezTo>
                <a:close/>
                <a:moveTo>
                  <a:pt x="57" y="241"/>
                </a:moveTo>
                <a:cubicBezTo>
                  <a:pt x="57" y="241"/>
                  <a:pt x="56" y="243"/>
                  <a:pt x="56" y="243"/>
                </a:cubicBezTo>
                <a:cubicBezTo>
                  <a:pt x="56" y="243"/>
                  <a:pt x="56" y="241"/>
                  <a:pt x="57" y="241"/>
                </a:cubicBezTo>
                <a:close/>
                <a:moveTo>
                  <a:pt x="53" y="238"/>
                </a:moveTo>
                <a:cubicBezTo>
                  <a:pt x="56" y="242"/>
                  <a:pt x="53" y="244"/>
                  <a:pt x="53" y="238"/>
                </a:cubicBezTo>
                <a:close/>
                <a:moveTo>
                  <a:pt x="47" y="255"/>
                </a:moveTo>
                <a:cubicBezTo>
                  <a:pt x="46" y="254"/>
                  <a:pt x="48" y="253"/>
                  <a:pt x="47" y="255"/>
                </a:cubicBezTo>
                <a:close/>
                <a:moveTo>
                  <a:pt x="46" y="251"/>
                </a:moveTo>
                <a:cubicBezTo>
                  <a:pt x="47" y="251"/>
                  <a:pt x="47" y="253"/>
                  <a:pt x="46" y="253"/>
                </a:cubicBezTo>
                <a:cubicBezTo>
                  <a:pt x="45" y="253"/>
                  <a:pt x="46" y="251"/>
                  <a:pt x="46" y="251"/>
                </a:cubicBezTo>
                <a:close/>
                <a:moveTo>
                  <a:pt x="42" y="252"/>
                </a:moveTo>
                <a:cubicBezTo>
                  <a:pt x="43" y="251"/>
                  <a:pt x="44" y="254"/>
                  <a:pt x="43" y="254"/>
                </a:cubicBezTo>
                <a:cubicBezTo>
                  <a:pt x="42" y="255"/>
                  <a:pt x="42" y="252"/>
                  <a:pt x="42" y="252"/>
                </a:cubicBezTo>
                <a:close/>
                <a:moveTo>
                  <a:pt x="43" y="259"/>
                </a:moveTo>
                <a:cubicBezTo>
                  <a:pt x="43" y="260"/>
                  <a:pt x="44" y="261"/>
                  <a:pt x="43" y="262"/>
                </a:cubicBezTo>
                <a:cubicBezTo>
                  <a:pt x="42" y="261"/>
                  <a:pt x="42" y="260"/>
                  <a:pt x="43" y="259"/>
                </a:cubicBezTo>
                <a:close/>
                <a:moveTo>
                  <a:pt x="43" y="292"/>
                </a:moveTo>
                <a:cubicBezTo>
                  <a:pt x="43" y="292"/>
                  <a:pt x="43" y="292"/>
                  <a:pt x="44" y="292"/>
                </a:cubicBezTo>
                <a:cubicBezTo>
                  <a:pt x="44" y="292"/>
                  <a:pt x="44" y="292"/>
                  <a:pt x="44" y="292"/>
                </a:cubicBezTo>
                <a:cubicBezTo>
                  <a:pt x="44" y="292"/>
                  <a:pt x="43" y="292"/>
                  <a:pt x="43" y="292"/>
                </a:cubicBezTo>
                <a:close/>
                <a:moveTo>
                  <a:pt x="44" y="265"/>
                </a:moveTo>
                <a:cubicBezTo>
                  <a:pt x="44" y="265"/>
                  <a:pt x="43" y="264"/>
                  <a:pt x="44" y="264"/>
                </a:cubicBezTo>
                <a:cubicBezTo>
                  <a:pt x="44" y="263"/>
                  <a:pt x="45" y="264"/>
                  <a:pt x="44" y="265"/>
                </a:cubicBezTo>
                <a:close/>
                <a:moveTo>
                  <a:pt x="47" y="274"/>
                </a:moveTo>
                <a:cubicBezTo>
                  <a:pt x="46" y="275"/>
                  <a:pt x="44" y="270"/>
                  <a:pt x="46" y="269"/>
                </a:cubicBezTo>
                <a:cubicBezTo>
                  <a:pt x="48" y="269"/>
                  <a:pt x="48" y="274"/>
                  <a:pt x="47" y="274"/>
                </a:cubicBezTo>
                <a:close/>
                <a:moveTo>
                  <a:pt x="48" y="282"/>
                </a:moveTo>
                <a:cubicBezTo>
                  <a:pt x="46" y="280"/>
                  <a:pt x="50" y="279"/>
                  <a:pt x="48" y="282"/>
                </a:cubicBezTo>
                <a:close/>
                <a:moveTo>
                  <a:pt x="51" y="287"/>
                </a:moveTo>
                <a:cubicBezTo>
                  <a:pt x="48" y="289"/>
                  <a:pt x="51" y="281"/>
                  <a:pt x="52" y="285"/>
                </a:cubicBezTo>
                <a:cubicBezTo>
                  <a:pt x="52" y="286"/>
                  <a:pt x="51" y="287"/>
                  <a:pt x="51" y="287"/>
                </a:cubicBezTo>
                <a:close/>
                <a:moveTo>
                  <a:pt x="53" y="285"/>
                </a:moveTo>
                <a:cubicBezTo>
                  <a:pt x="54" y="284"/>
                  <a:pt x="54" y="285"/>
                  <a:pt x="54" y="285"/>
                </a:cubicBezTo>
                <a:cubicBezTo>
                  <a:pt x="53" y="286"/>
                  <a:pt x="54" y="285"/>
                  <a:pt x="53" y="285"/>
                </a:cubicBezTo>
                <a:close/>
                <a:moveTo>
                  <a:pt x="55" y="281"/>
                </a:moveTo>
                <a:cubicBezTo>
                  <a:pt x="54" y="282"/>
                  <a:pt x="56" y="280"/>
                  <a:pt x="55" y="281"/>
                </a:cubicBezTo>
                <a:close/>
                <a:moveTo>
                  <a:pt x="57" y="266"/>
                </a:moveTo>
                <a:cubicBezTo>
                  <a:pt x="56" y="266"/>
                  <a:pt x="54" y="265"/>
                  <a:pt x="54" y="265"/>
                </a:cubicBezTo>
                <a:cubicBezTo>
                  <a:pt x="50" y="263"/>
                  <a:pt x="46" y="255"/>
                  <a:pt x="50" y="252"/>
                </a:cubicBezTo>
                <a:cubicBezTo>
                  <a:pt x="52" y="251"/>
                  <a:pt x="56" y="253"/>
                  <a:pt x="56" y="254"/>
                </a:cubicBezTo>
                <a:cubicBezTo>
                  <a:pt x="56" y="255"/>
                  <a:pt x="56" y="256"/>
                  <a:pt x="56" y="257"/>
                </a:cubicBezTo>
                <a:cubicBezTo>
                  <a:pt x="56" y="258"/>
                  <a:pt x="57" y="258"/>
                  <a:pt x="57" y="258"/>
                </a:cubicBezTo>
                <a:cubicBezTo>
                  <a:pt x="58" y="260"/>
                  <a:pt x="57" y="262"/>
                  <a:pt x="57" y="264"/>
                </a:cubicBezTo>
                <a:cubicBezTo>
                  <a:pt x="57" y="265"/>
                  <a:pt x="57" y="265"/>
                  <a:pt x="57" y="266"/>
                </a:cubicBezTo>
                <a:close/>
                <a:moveTo>
                  <a:pt x="58" y="333"/>
                </a:moveTo>
                <a:cubicBezTo>
                  <a:pt x="58" y="333"/>
                  <a:pt x="57" y="333"/>
                  <a:pt x="57" y="332"/>
                </a:cubicBezTo>
                <a:cubicBezTo>
                  <a:pt x="57" y="331"/>
                  <a:pt x="58" y="332"/>
                  <a:pt x="58" y="333"/>
                </a:cubicBezTo>
                <a:close/>
                <a:moveTo>
                  <a:pt x="64" y="334"/>
                </a:moveTo>
                <a:cubicBezTo>
                  <a:pt x="63" y="334"/>
                  <a:pt x="63" y="333"/>
                  <a:pt x="64" y="332"/>
                </a:cubicBezTo>
                <a:cubicBezTo>
                  <a:pt x="64" y="332"/>
                  <a:pt x="65" y="334"/>
                  <a:pt x="64" y="334"/>
                </a:cubicBezTo>
                <a:close/>
                <a:moveTo>
                  <a:pt x="70" y="242"/>
                </a:moveTo>
                <a:cubicBezTo>
                  <a:pt x="71" y="242"/>
                  <a:pt x="72" y="242"/>
                  <a:pt x="72" y="243"/>
                </a:cubicBezTo>
                <a:cubicBezTo>
                  <a:pt x="72" y="245"/>
                  <a:pt x="68" y="243"/>
                  <a:pt x="70" y="242"/>
                </a:cubicBezTo>
                <a:close/>
                <a:moveTo>
                  <a:pt x="71" y="259"/>
                </a:moveTo>
                <a:cubicBezTo>
                  <a:pt x="70" y="259"/>
                  <a:pt x="70" y="258"/>
                  <a:pt x="70" y="258"/>
                </a:cubicBezTo>
                <a:cubicBezTo>
                  <a:pt x="71" y="257"/>
                  <a:pt x="71" y="259"/>
                  <a:pt x="71" y="259"/>
                </a:cubicBezTo>
                <a:close/>
                <a:moveTo>
                  <a:pt x="68" y="253"/>
                </a:moveTo>
                <a:cubicBezTo>
                  <a:pt x="69" y="252"/>
                  <a:pt x="69" y="254"/>
                  <a:pt x="68" y="254"/>
                </a:cubicBezTo>
                <a:cubicBezTo>
                  <a:pt x="68" y="254"/>
                  <a:pt x="67" y="253"/>
                  <a:pt x="68" y="253"/>
                </a:cubicBezTo>
                <a:close/>
                <a:moveTo>
                  <a:pt x="68" y="246"/>
                </a:moveTo>
                <a:cubicBezTo>
                  <a:pt x="68" y="246"/>
                  <a:pt x="69" y="247"/>
                  <a:pt x="68" y="247"/>
                </a:cubicBezTo>
                <a:cubicBezTo>
                  <a:pt x="68" y="247"/>
                  <a:pt x="67" y="247"/>
                  <a:pt x="68" y="246"/>
                </a:cubicBezTo>
                <a:close/>
                <a:moveTo>
                  <a:pt x="69" y="248"/>
                </a:moveTo>
                <a:cubicBezTo>
                  <a:pt x="68" y="246"/>
                  <a:pt x="69" y="250"/>
                  <a:pt x="69" y="248"/>
                </a:cubicBezTo>
                <a:close/>
                <a:moveTo>
                  <a:pt x="67" y="243"/>
                </a:moveTo>
                <a:cubicBezTo>
                  <a:pt x="68" y="244"/>
                  <a:pt x="68" y="245"/>
                  <a:pt x="69" y="246"/>
                </a:cubicBezTo>
                <a:cubicBezTo>
                  <a:pt x="68" y="246"/>
                  <a:pt x="67" y="244"/>
                  <a:pt x="67" y="243"/>
                </a:cubicBezTo>
                <a:close/>
                <a:moveTo>
                  <a:pt x="67" y="277"/>
                </a:moveTo>
                <a:cubicBezTo>
                  <a:pt x="69" y="275"/>
                  <a:pt x="70" y="280"/>
                  <a:pt x="70" y="282"/>
                </a:cubicBezTo>
                <a:cubicBezTo>
                  <a:pt x="68" y="281"/>
                  <a:pt x="66" y="279"/>
                  <a:pt x="67" y="277"/>
                </a:cubicBezTo>
                <a:close/>
                <a:moveTo>
                  <a:pt x="66" y="267"/>
                </a:moveTo>
                <a:cubicBezTo>
                  <a:pt x="65" y="267"/>
                  <a:pt x="65" y="266"/>
                  <a:pt x="66" y="266"/>
                </a:cubicBezTo>
                <a:cubicBezTo>
                  <a:pt x="67" y="265"/>
                  <a:pt x="66" y="267"/>
                  <a:pt x="66" y="267"/>
                </a:cubicBezTo>
                <a:close/>
                <a:moveTo>
                  <a:pt x="64" y="237"/>
                </a:moveTo>
                <a:cubicBezTo>
                  <a:pt x="65" y="236"/>
                  <a:pt x="66" y="239"/>
                  <a:pt x="65" y="239"/>
                </a:cubicBezTo>
                <a:cubicBezTo>
                  <a:pt x="64" y="239"/>
                  <a:pt x="64" y="238"/>
                  <a:pt x="64" y="237"/>
                </a:cubicBezTo>
                <a:close/>
                <a:moveTo>
                  <a:pt x="64" y="255"/>
                </a:moveTo>
                <a:cubicBezTo>
                  <a:pt x="64" y="255"/>
                  <a:pt x="65" y="256"/>
                  <a:pt x="64" y="257"/>
                </a:cubicBezTo>
                <a:cubicBezTo>
                  <a:pt x="64" y="256"/>
                  <a:pt x="64" y="256"/>
                  <a:pt x="64" y="255"/>
                </a:cubicBezTo>
                <a:close/>
                <a:moveTo>
                  <a:pt x="64" y="265"/>
                </a:moveTo>
                <a:cubicBezTo>
                  <a:pt x="64" y="265"/>
                  <a:pt x="64" y="265"/>
                  <a:pt x="64" y="265"/>
                </a:cubicBezTo>
                <a:cubicBezTo>
                  <a:pt x="65" y="264"/>
                  <a:pt x="62" y="267"/>
                  <a:pt x="64" y="265"/>
                </a:cubicBezTo>
                <a:close/>
                <a:moveTo>
                  <a:pt x="63" y="259"/>
                </a:moveTo>
                <a:cubicBezTo>
                  <a:pt x="64" y="258"/>
                  <a:pt x="64" y="259"/>
                  <a:pt x="64" y="259"/>
                </a:cubicBezTo>
                <a:cubicBezTo>
                  <a:pt x="64" y="260"/>
                  <a:pt x="63" y="259"/>
                  <a:pt x="63" y="259"/>
                </a:cubicBezTo>
                <a:close/>
                <a:moveTo>
                  <a:pt x="59" y="265"/>
                </a:moveTo>
                <a:cubicBezTo>
                  <a:pt x="60" y="265"/>
                  <a:pt x="61" y="268"/>
                  <a:pt x="60" y="269"/>
                </a:cubicBezTo>
                <a:cubicBezTo>
                  <a:pt x="59" y="269"/>
                  <a:pt x="58" y="266"/>
                  <a:pt x="59" y="265"/>
                </a:cubicBezTo>
                <a:close/>
                <a:moveTo>
                  <a:pt x="67" y="342"/>
                </a:moveTo>
                <a:cubicBezTo>
                  <a:pt x="66" y="343"/>
                  <a:pt x="65" y="341"/>
                  <a:pt x="66" y="341"/>
                </a:cubicBezTo>
                <a:cubicBezTo>
                  <a:pt x="67" y="341"/>
                  <a:pt x="67" y="342"/>
                  <a:pt x="67" y="342"/>
                </a:cubicBezTo>
                <a:close/>
                <a:moveTo>
                  <a:pt x="70" y="301"/>
                </a:moveTo>
                <a:cubicBezTo>
                  <a:pt x="70" y="301"/>
                  <a:pt x="69" y="301"/>
                  <a:pt x="69" y="301"/>
                </a:cubicBezTo>
                <a:cubicBezTo>
                  <a:pt x="68" y="302"/>
                  <a:pt x="66" y="299"/>
                  <a:pt x="65" y="297"/>
                </a:cubicBezTo>
                <a:cubicBezTo>
                  <a:pt x="65" y="298"/>
                  <a:pt x="65" y="300"/>
                  <a:pt x="65" y="301"/>
                </a:cubicBezTo>
                <a:cubicBezTo>
                  <a:pt x="65" y="306"/>
                  <a:pt x="63" y="297"/>
                  <a:pt x="63" y="297"/>
                </a:cubicBezTo>
                <a:cubicBezTo>
                  <a:pt x="62" y="291"/>
                  <a:pt x="61" y="287"/>
                  <a:pt x="60" y="282"/>
                </a:cubicBezTo>
                <a:cubicBezTo>
                  <a:pt x="60" y="281"/>
                  <a:pt x="59" y="274"/>
                  <a:pt x="60" y="273"/>
                </a:cubicBezTo>
                <a:cubicBezTo>
                  <a:pt x="61" y="272"/>
                  <a:pt x="62" y="281"/>
                  <a:pt x="63" y="284"/>
                </a:cubicBezTo>
                <a:cubicBezTo>
                  <a:pt x="63" y="288"/>
                  <a:pt x="63" y="291"/>
                  <a:pt x="64" y="293"/>
                </a:cubicBezTo>
                <a:cubicBezTo>
                  <a:pt x="64" y="291"/>
                  <a:pt x="65" y="289"/>
                  <a:pt x="68" y="289"/>
                </a:cubicBezTo>
                <a:cubicBezTo>
                  <a:pt x="73" y="289"/>
                  <a:pt x="72" y="297"/>
                  <a:pt x="70" y="301"/>
                </a:cubicBezTo>
                <a:close/>
                <a:moveTo>
                  <a:pt x="72" y="283"/>
                </a:moveTo>
                <a:cubicBezTo>
                  <a:pt x="72" y="283"/>
                  <a:pt x="72" y="283"/>
                  <a:pt x="72" y="283"/>
                </a:cubicBezTo>
                <a:cubicBezTo>
                  <a:pt x="74" y="282"/>
                  <a:pt x="70" y="285"/>
                  <a:pt x="72" y="283"/>
                </a:cubicBezTo>
                <a:close/>
                <a:moveTo>
                  <a:pt x="25" y="317"/>
                </a:moveTo>
                <a:cubicBezTo>
                  <a:pt x="27" y="317"/>
                  <a:pt x="26" y="320"/>
                  <a:pt x="25" y="320"/>
                </a:cubicBezTo>
                <a:cubicBezTo>
                  <a:pt x="24" y="321"/>
                  <a:pt x="23" y="317"/>
                  <a:pt x="25" y="317"/>
                </a:cubicBezTo>
                <a:close/>
                <a:moveTo>
                  <a:pt x="24" y="294"/>
                </a:moveTo>
                <a:cubicBezTo>
                  <a:pt x="26" y="293"/>
                  <a:pt x="25" y="296"/>
                  <a:pt x="24" y="296"/>
                </a:cubicBezTo>
                <a:cubicBezTo>
                  <a:pt x="23" y="296"/>
                  <a:pt x="23" y="295"/>
                  <a:pt x="24" y="294"/>
                </a:cubicBezTo>
                <a:close/>
                <a:moveTo>
                  <a:pt x="8" y="242"/>
                </a:moveTo>
                <a:cubicBezTo>
                  <a:pt x="9" y="241"/>
                  <a:pt x="9" y="244"/>
                  <a:pt x="8" y="243"/>
                </a:cubicBezTo>
                <a:cubicBezTo>
                  <a:pt x="8" y="243"/>
                  <a:pt x="8" y="242"/>
                  <a:pt x="8" y="242"/>
                </a:cubicBezTo>
                <a:close/>
                <a:moveTo>
                  <a:pt x="2" y="238"/>
                </a:moveTo>
                <a:cubicBezTo>
                  <a:pt x="2" y="237"/>
                  <a:pt x="0" y="239"/>
                  <a:pt x="2" y="238"/>
                </a:cubicBezTo>
                <a:close/>
                <a:moveTo>
                  <a:pt x="2" y="242"/>
                </a:moveTo>
                <a:cubicBezTo>
                  <a:pt x="2" y="242"/>
                  <a:pt x="2" y="241"/>
                  <a:pt x="2" y="241"/>
                </a:cubicBezTo>
                <a:cubicBezTo>
                  <a:pt x="3" y="240"/>
                  <a:pt x="3" y="242"/>
                  <a:pt x="2" y="242"/>
                </a:cubicBezTo>
                <a:close/>
                <a:moveTo>
                  <a:pt x="3" y="351"/>
                </a:moveTo>
                <a:cubicBezTo>
                  <a:pt x="2" y="353"/>
                  <a:pt x="4" y="350"/>
                  <a:pt x="3" y="351"/>
                </a:cubicBezTo>
                <a:close/>
                <a:moveTo>
                  <a:pt x="3" y="442"/>
                </a:moveTo>
                <a:cubicBezTo>
                  <a:pt x="3" y="442"/>
                  <a:pt x="3" y="442"/>
                  <a:pt x="3" y="442"/>
                </a:cubicBezTo>
                <a:cubicBezTo>
                  <a:pt x="4" y="441"/>
                  <a:pt x="1" y="445"/>
                  <a:pt x="3" y="442"/>
                </a:cubicBezTo>
                <a:close/>
                <a:moveTo>
                  <a:pt x="11" y="295"/>
                </a:moveTo>
                <a:cubicBezTo>
                  <a:pt x="13" y="295"/>
                  <a:pt x="12" y="300"/>
                  <a:pt x="11" y="299"/>
                </a:cubicBezTo>
                <a:cubicBezTo>
                  <a:pt x="9" y="299"/>
                  <a:pt x="10" y="295"/>
                  <a:pt x="11" y="295"/>
                </a:cubicBezTo>
                <a:close/>
                <a:moveTo>
                  <a:pt x="9" y="283"/>
                </a:moveTo>
                <a:cubicBezTo>
                  <a:pt x="12" y="283"/>
                  <a:pt x="10" y="288"/>
                  <a:pt x="8" y="288"/>
                </a:cubicBezTo>
                <a:cubicBezTo>
                  <a:pt x="6" y="288"/>
                  <a:pt x="7" y="283"/>
                  <a:pt x="9" y="283"/>
                </a:cubicBezTo>
                <a:close/>
                <a:moveTo>
                  <a:pt x="5" y="239"/>
                </a:moveTo>
                <a:cubicBezTo>
                  <a:pt x="6" y="239"/>
                  <a:pt x="6" y="243"/>
                  <a:pt x="5" y="243"/>
                </a:cubicBezTo>
                <a:cubicBezTo>
                  <a:pt x="4" y="243"/>
                  <a:pt x="3" y="239"/>
                  <a:pt x="5" y="239"/>
                </a:cubicBezTo>
                <a:close/>
                <a:moveTo>
                  <a:pt x="5" y="282"/>
                </a:moveTo>
                <a:cubicBezTo>
                  <a:pt x="4" y="281"/>
                  <a:pt x="7" y="281"/>
                  <a:pt x="5" y="282"/>
                </a:cubicBezTo>
                <a:close/>
                <a:moveTo>
                  <a:pt x="6" y="383"/>
                </a:moveTo>
                <a:cubicBezTo>
                  <a:pt x="5" y="382"/>
                  <a:pt x="7" y="381"/>
                  <a:pt x="6" y="383"/>
                </a:cubicBezTo>
                <a:close/>
                <a:moveTo>
                  <a:pt x="7" y="413"/>
                </a:moveTo>
                <a:cubicBezTo>
                  <a:pt x="7" y="414"/>
                  <a:pt x="7" y="414"/>
                  <a:pt x="7" y="413"/>
                </a:cubicBezTo>
                <a:close/>
                <a:moveTo>
                  <a:pt x="7" y="412"/>
                </a:moveTo>
                <a:cubicBezTo>
                  <a:pt x="6" y="411"/>
                  <a:pt x="8" y="410"/>
                  <a:pt x="7" y="412"/>
                </a:cubicBezTo>
                <a:close/>
                <a:moveTo>
                  <a:pt x="11" y="364"/>
                </a:moveTo>
                <a:cubicBezTo>
                  <a:pt x="9" y="362"/>
                  <a:pt x="12" y="361"/>
                  <a:pt x="11" y="364"/>
                </a:cubicBezTo>
                <a:close/>
                <a:moveTo>
                  <a:pt x="11" y="360"/>
                </a:moveTo>
                <a:cubicBezTo>
                  <a:pt x="10" y="360"/>
                  <a:pt x="11" y="359"/>
                  <a:pt x="11" y="358"/>
                </a:cubicBezTo>
                <a:cubicBezTo>
                  <a:pt x="12" y="359"/>
                  <a:pt x="11" y="360"/>
                  <a:pt x="11" y="360"/>
                </a:cubicBezTo>
                <a:close/>
                <a:moveTo>
                  <a:pt x="12" y="342"/>
                </a:moveTo>
                <a:cubicBezTo>
                  <a:pt x="11" y="344"/>
                  <a:pt x="9" y="343"/>
                  <a:pt x="7" y="345"/>
                </a:cubicBezTo>
                <a:cubicBezTo>
                  <a:pt x="4" y="343"/>
                  <a:pt x="3" y="336"/>
                  <a:pt x="6" y="332"/>
                </a:cubicBezTo>
                <a:cubicBezTo>
                  <a:pt x="10" y="324"/>
                  <a:pt x="16" y="336"/>
                  <a:pt x="12" y="342"/>
                </a:cubicBezTo>
                <a:close/>
                <a:moveTo>
                  <a:pt x="13" y="293"/>
                </a:moveTo>
                <a:cubicBezTo>
                  <a:pt x="12" y="293"/>
                  <a:pt x="12" y="291"/>
                  <a:pt x="13" y="291"/>
                </a:cubicBezTo>
                <a:cubicBezTo>
                  <a:pt x="14" y="292"/>
                  <a:pt x="14" y="294"/>
                  <a:pt x="13" y="293"/>
                </a:cubicBezTo>
                <a:close/>
                <a:moveTo>
                  <a:pt x="20" y="292"/>
                </a:moveTo>
                <a:cubicBezTo>
                  <a:pt x="19" y="292"/>
                  <a:pt x="18" y="288"/>
                  <a:pt x="20" y="288"/>
                </a:cubicBezTo>
                <a:cubicBezTo>
                  <a:pt x="22" y="288"/>
                  <a:pt x="21" y="292"/>
                  <a:pt x="20" y="292"/>
                </a:cubicBezTo>
                <a:close/>
                <a:moveTo>
                  <a:pt x="21" y="325"/>
                </a:moveTo>
                <a:cubicBezTo>
                  <a:pt x="21" y="325"/>
                  <a:pt x="20" y="324"/>
                  <a:pt x="21" y="324"/>
                </a:cubicBezTo>
                <a:cubicBezTo>
                  <a:pt x="22" y="324"/>
                  <a:pt x="22" y="325"/>
                  <a:pt x="21" y="325"/>
                </a:cubicBezTo>
                <a:close/>
                <a:moveTo>
                  <a:pt x="22" y="295"/>
                </a:moveTo>
                <a:cubicBezTo>
                  <a:pt x="21" y="296"/>
                  <a:pt x="21" y="293"/>
                  <a:pt x="21" y="293"/>
                </a:cubicBezTo>
                <a:cubicBezTo>
                  <a:pt x="22" y="292"/>
                  <a:pt x="23" y="295"/>
                  <a:pt x="22" y="295"/>
                </a:cubicBezTo>
                <a:close/>
                <a:moveTo>
                  <a:pt x="26" y="373"/>
                </a:moveTo>
                <a:cubicBezTo>
                  <a:pt x="25" y="372"/>
                  <a:pt x="28" y="371"/>
                  <a:pt x="26" y="373"/>
                </a:cubicBezTo>
                <a:close/>
                <a:moveTo>
                  <a:pt x="27" y="459"/>
                </a:moveTo>
                <a:cubicBezTo>
                  <a:pt x="26" y="458"/>
                  <a:pt x="28" y="457"/>
                  <a:pt x="27" y="459"/>
                </a:cubicBezTo>
                <a:close/>
                <a:moveTo>
                  <a:pt x="31" y="330"/>
                </a:moveTo>
                <a:cubicBezTo>
                  <a:pt x="32" y="329"/>
                  <a:pt x="32" y="332"/>
                  <a:pt x="31" y="332"/>
                </a:cubicBezTo>
                <a:cubicBezTo>
                  <a:pt x="31" y="332"/>
                  <a:pt x="31" y="330"/>
                  <a:pt x="31" y="330"/>
                </a:cubicBezTo>
                <a:close/>
                <a:moveTo>
                  <a:pt x="31" y="465"/>
                </a:moveTo>
                <a:cubicBezTo>
                  <a:pt x="30" y="463"/>
                  <a:pt x="30" y="461"/>
                  <a:pt x="31" y="458"/>
                </a:cubicBezTo>
                <a:cubicBezTo>
                  <a:pt x="32" y="460"/>
                  <a:pt x="31" y="463"/>
                  <a:pt x="31" y="465"/>
                </a:cubicBezTo>
                <a:close/>
                <a:moveTo>
                  <a:pt x="33" y="366"/>
                </a:moveTo>
                <a:cubicBezTo>
                  <a:pt x="32" y="360"/>
                  <a:pt x="31" y="354"/>
                  <a:pt x="31" y="348"/>
                </a:cubicBezTo>
                <a:cubicBezTo>
                  <a:pt x="33" y="353"/>
                  <a:pt x="33" y="362"/>
                  <a:pt x="35" y="369"/>
                </a:cubicBezTo>
                <a:cubicBezTo>
                  <a:pt x="36" y="374"/>
                  <a:pt x="33" y="367"/>
                  <a:pt x="33" y="366"/>
                </a:cubicBezTo>
                <a:close/>
                <a:moveTo>
                  <a:pt x="35" y="330"/>
                </a:moveTo>
                <a:cubicBezTo>
                  <a:pt x="36" y="331"/>
                  <a:pt x="35" y="331"/>
                  <a:pt x="35" y="330"/>
                </a:cubicBezTo>
                <a:close/>
                <a:moveTo>
                  <a:pt x="46" y="336"/>
                </a:moveTo>
                <a:cubicBezTo>
                  <a:pt x="46" y="336"/>
                  <a:pt x="46" y="337"/>
                  <a:pt x="46" y="337"/>
                </a:cubicBezTo>
                <a:cubicBezTo>
                  <a:pt x="46" y="338"/>
                  <a:pt x="45" y="337"/>
                  <a:pt x="46" y="336"/>
                </a:cubicBezTo>
                <a:close/>
                <a:moveTo>
                  <a:pt x="39" y="421"/>
                </a:moveTo>
                <a:cubicBezTo>
                  <a:pt x="38" y="420"/>
                  <a:pt x="40" y="419"/>
                  <a:pt x="39" y="421"/>
                </a:cubicBezTo>
                <a:close/>
                <a:moveTo>
                  <a:pt x="40" y="416"/>
                </a:moveTo>
                <a:cubicBezTo>
                  <a:pt x="38" y="417"/>
                  <a:pt x="39" y="414"/>
                  <a:pt x="39" y="414"/>
                </a:cubicBezTo>
                <a:cubicBezTo>
                  <a:pt x="40" y="414"/>
                  <a:pt x="39" y="415"/>
                  <a:pt x="40" y="416"/>
                </a:cubicBezTo>
                <a:close/>
                <a:moveTo>
                  <a:pt x="43" y="333"/>
                </a:moveTo>
                <a:cubicBezTo>
                  <a:pt x="43" y="333"/>
                  <a:pt x="42" y="334"/>
                  <a:pt x="42" y="334"/>
                </a:cubicBezTo>
                <a:cubicBezTo>
                  <a:pt x="41" y="335"/>
                  <a:pt x="42" y="332"/>
                  <a:pt x="43" y="333"/>
                </a:cubicBezTo>
                <a:close/>
                <a:moveTo>
                  <a:pt x="43" y="405"/>
                </a:moveTo>
                <a:cubicBezTo>
                  <a:pt x="43" y="407"/>
                  <a:pt x="44" y="410"/>
                  <a:pt x="43" y="411"/>
                </a:cubicBezTo>
                <a:cubicBezTo>
                  <a:pt x="42" y="411"/>
                  <a:pt x="42" y="407"/>
                  <a:pt x="43" y="405"/>
                </a:cubicBezTo>
                <a:close/>
                <a:moveTo>
                  <a:pt x="43" y="446"/>
                </a:moveTo>
                <a:cubicBezTo>
                  <a:pt x="43" y="447"/>
                  <a:pt x="42" y="448"/>
                  <a:pt x="43" y="446"/>
                </a:cubicBezTo>
                <a:close/>
                <a:moveTo>
                  <a:pt x="43" y="449"/>
                </a:moveTo>
                <a:cubicBezTo>
                  <a:pt x="43" y="449"/>
                  <a:pt x="44" y="450"/>
                  <a:pt x="44" y="450"/>
                </a:cubicBezTo>
                <a:cubicBezTo>
                  <a:pt x="43" y="451"/>
                  <a:pt x="42" y="450"/>
                  <a:pt x="43" y="449"/>
                </a:cubicBezTo>
                <a:close/>
                <a:moveTo>
                  <a:pt x="43" y="404"/>
                </a:moveTo>
                <a:cubicBezTo>
                  <a:pt x="42" y="404"/>
                  <a:pt x="43" y="394"/>
                  <a:pt x="43" y="395"/>
                </a:cubicBezTo>
                <a:cubicBezTo>
                  <a:pt x="44" y="397"/>
                  <a:pt x="45" y="401"/>
                  <a:pt x="43" y="404"/>
                </a:cubicBezTo>
                <a:close/>
                <a:moveTo>
                  <a:pt x="44" y="379"/>
                </a:moveTo>
                <a:cubicBezTo>
                  <a:pt x="44" y="379"/>
                  <a:pt x="44" y="379"/>
                  <a:pt x="44" y="379"/>
                </a:cubicBezTo>
                <a:cubicBezTo>
                  <a:pt x="44" y="379"/>
                  <a:pt x="44" y="379"/>
                  <a:pt x="44" y="379"/>
                </a:cubicBezTo>
                <a:cubicBezTo>
                  <a:pt x="44" y="379"/>
                  <a:pt x="44" y="379"/>
                  <a:pt x="44" y="379"/>
                </a:cubicBezTo>
                <a:close/>
                <a:moveTo>
                  <a:pt x="46" y="410"/>
                </a:moveTo>
                <a:cubicBezTo>
                  <a:pt x="44" y="409"/>
                  <a:pt x="44" y="404"/>
                  <a:pt x="47" y="405"/>
                </a:cubicBezTo>
                <a:cubicBezTo>
                  <a:pt x="49" y="406"/>
                  <a:pt x="48" y="410"/>
                  <a:pt x="46" y="410"/>
                </a:cubicBezTo>
                <a:close/>
                <a:moveTo>
                  <a:pt x="48" y="365"/>
                </a:moveTo>
                <a:cubicBezTo>
                  <a:pt x="45" y="365"/>
                  <a:pt x="45" y="360"/>
                  <a:pt x="47" y="360"/>
                </a:cubicBezTo>
                <a:cubicBezTo>
                  <a:pt x="50" y="360"/>
                  <a:pt x="49" y="365"/>
                  <a:pt x="48" y="365"/>
                </a:cubicBezTo>
                <a:close/>
                <a:moveTo>
                  <a:pt x="52" y="444"/>
                </a:moveTo>
                <a:cubicBezTo>
                  <a:pt x="51" y="444"/>
                  <a:pt x="50" y="442"/>
                  <a:pt x="51" y="441"/>
                </a:cubicBezTo>
                <a:cubicBezTo>
                  <a:pt x="52" y="440"/>
                  <a:pt x="52" y="444"/>
                  <a:pt x="52" y="444"/>
                </a:cubicBezTo>
                <a:close/>
                <a:moveTo>
                  <a:pt x="55" y="387"/>
                </a:moveTo>
                <a:cubicBezTo>
                  <a:pt x="56" y="388"/>
                  <a:pt x="55" y="389"/>
                  <a:pt x="55" y="390"/>
                </a:cubicBezTo>
                <a:cubicBezTo>
                  <a:pt x="55" y="389"/>
                  <a:pt x="54" y="388"/>
                  <a:pt x="55" y="387"/>
                </a:cubicBezTo>
                <a:close/>
                <a:moveTo>
                  <a:pt x="54" y="397"/>
                </a:moveTo>
                <a:cubicBezTo>
                  <a:pt x="55" y="396"/>
                  <a:pt x="55" y="399"/>
                  <a:pt x="54" y="399"/>
                </a:cubicBezTo>
                <a:cubicBezTo>
                  <a:pt x="54" y="400"/>
                  <a:pt x="52" y="397"/>
                  <a:pt x="54" y="397"/>
                </a:cubicBezTo>
                <a:close/>
                <a:moveTo>
                  <a:pt x="55" y="464"/>
                </a:moveTo>
                <a:cubicBezTo>
                  <a:pt x="54" y="459"/>
                  <a:pt x="54" y="453"/>
                  <a:pt x="54" y="448"/>
                </a:cubicBezTo>
                <a:cubicBezTo>
                  <a:pt x="56" y="453"/>
                  <a:pt x="56" y="459"/>
                  <a:pt x="55" y="464"/>
                </a:cubicBezTo>
                <a:close/>
                <a:moveTo>
                  <a:pt x="57" y="480"/>
                </a:moveTo>
                <a:cubicBezTo>
                  <a:pt x="56" y="476"/>
                  <a:pt x="56" y="471"/>
                  <a:pt x="56" y="467"/>
                </a:cubicBezTo>
                <a:cubicBezTo>
                  <a:pt x="56" y="471"/>
                  <a:pt x="58" y="475"/>
                  <a:pt x="57" y="480"/>
                </a:cubicBezTo>
                <a:close/>
                <a:moveTo>
                  <a:pt x="64" y="450"/>
                </a:moveTo>
                <a:cubicBezTo>
                  <a:pt x="63" y="451"/>
                  <a:pt x="64" y="449"/>
                  <a:pt x="64" y="450"/>
                </a:cubicBezTo>
                <a:close/>
                <a:moveTo>
                  <a:pt x="71" y="454"/>
                </a:moveTo>
                <a:cubicBezTo>
                  <a:pt x="72" y="455"/>
                  <a:pt x="70" y="456"/>
                  <a:pt x="71" y="454"/>
                </a:cubicBezTo>
                <a:close/>
                <a:moveTo>
                  <a:pt x="75" y="408"/>
                </a:moveTo>
                <a:cubicBezTo>
                  <a:pt x="75" y="408"/>
                  <a:pt x="75" y="408"/>
                  <a:pt x="75" y="408"/>
                </a:cubicBezTo>
                <a:cubicBezTo>
                  <a:pt x="75" y="408"/>
                  <a:pt x="75" y="408"/>
                  <a:pt x="75" y="408"/>
                </a:cubicBezTo>
                <a:cubicBezTo>
                  <a:pt x="75" y="408"/>
                  <a:pt x="75" y="408"/>
                  <a:pt x="75" y="408"/>
                </a:cubicBezTo>
                <a:close/>
                <a:moveTo>
                  <a:pt x="80" y="382"/>
                </a:moveTo>
                <a:cubicBezTo>
                  <a:pt x="80" y="382"/>
                  <a:pt x="80" y="382"/>
                  <a:pt x="80" y="382"/>
                </a:cubicBezTo>
                <a:cubicBezTo>
                  <a:pt x="80" y="382"/>
                  <a:pt x="80" y="382"/>
                  <a:pt x="80" y="382"/>
                </a:cubicBezTo>
                <a:cubicBezTo>
                  <a:pt x="80" y="382"/>
                  <a:pt x="80" y="382"/>
                  <a:pt x="80" y="382"/>
                </a:cubicBezTo>
                <a:close/>
                <a:moveTo>
                  <a:pt x="78" y="214"/>
                </a:moveTo>
                <a:cubicBezTo>
                  <a:pt x="78" y="214"/>
                  <a:pt x="78" y="212"/>
                  <a:pt x="78" y="212"/>
                </a:cubicBezTo>
                <a:cubicBezTo>
                  <a:pt x="78" y="211"/>
                  <a:pt x="79" y="213"/>
                  <a:pt x="78" y="214"/>
                </a:cubicBezTo>
                <a:close/>
                <a:moveTo>
                  <a:pt x="78" y="214"/>
                </a:moveTo>
                <a:cubicBezTo>
                  <a:pt x="79" y="214"/>
                  <a:pt x="78" y="216"/>
                  <a:pt x="78" y="216"/>
                </a:cubicBezTo>
                <a:cubicBezTo>
                  <a:pt x="78" y="216"/>
                  <a:pt x="77" y="215"/>
                  <a:pt x="78" y="214"/>
                </a:cubicBezTo>
                <a:close/>
                <a:moveTo>
                  <a:pt x="76" y="204"/>
                </a:moveTo>
                <a:cubicBezTo>
                  <a:pt x="77" y="205"/>
                  <a:pt x="77" y="206"/>
                  <a:pt x="77" y="208"/>
                </a:cubicBezTo>
                <a:cubicBezTo>
                  <a:pt x="77" y="207"/>
                  <a:pt x="75" y="206"/>
                  <a:pt x="76" y="204"/>
                </a:cubicBezTo>
                <a:close/>
                <a:moveTo>
                  <a:pt x="76" y="221"/>
                </a:moveTo>
                <a:cubicBezTo>
                  <a:pt x="76" y="221"/>
                  <a:pt x="76" y="221"/>
                  <a:pt x="76" y="221"/>
                </a:cubicBezTo>
                <a:cubicBezTo>
                  <a:pt x="76" y="222"/>
                  <a:pt x="75" y="221"/>
                  <a:pt x="76" y="221"/>
                </a:cubicBezTo>
                <a:close/>
                <a:moveTo>
                  <a:pt x="77" y="253"/>
                </a:moveTo>
                <a:cubicBezTo>
                  <a:pt x="77" y="254"/>
                  <a:pt x="75" y="251"/>
                  <a:pt x="76" y="251"/>
                </a:cubicBezTo>
                <a:cubicBezTo>
                  <a:pt x="77" y="251"/>
                  <a:pt x="78" y="253"/>
                  <a:pt x="77" y="253"/>
                </a:cubicBezTo>
                <a:close/>
                <a:moveTo>
                  <a:pt x="76" y="260"/>
                </a:moveTo>
                <a:cubicBezTo>
                  <a:pt x="79" y="259"/>
                  <a:pt x="79" y="264"/>
                  <a:pt x="77" y="265"/>
                </a:cubicBezTo>
                <a:cubicBezTo>
                  <a:pt x="75" y="266"/>
                  <a:pt x="74" y="261"/>
                  <a:pt x="76" y="260"/>
                </a:cubicBezTo>
                <a:close/>
                <a:moveTo>
                  <a:pt x="78" y="258"/>
                </a:moveTo>
                <a:cubicBezTo>
                  <a:pt x="77" y="257"/>
                  <a:pt x="79" y="256"/>
                  <a:pt x="78" y="258"/>
                </a:cubicBezTo>
                <a:close/>
                <a:moveTo>
                  <a:pt x="76" y="353"/>
                </a:moveTo>
                <a:cubicBezTo>
                  <a:pt x="75" y="353"/>
                  <a:pt x="74" y="351"/>
                  <a:pt x="75" y="351"/>
                </a:cubicBezTo>
                <a:cubicBezTo>
                  <a:pt x="75" y="351"/>
                  <a:pt x="76" y="353"/>
                  <a:pt x="76" y="353"/>
                </a:cubicBezTo>
                <a:close/>
                <a:moveTo>
                  <a:pt x="79" y="279"/>
                </a:moveTo>
                <a:cubicBezTo>
                  <a:pt x="79" y="278"/>
                  <a:pt x="81" y="279"/>
                  <a:pt x="81" y="278"/>
                </a:cubicBezTo>
                <a:cubicBezTo>
                  <a:pt x="81" y="277"/>
                  <a:pt x="80" y="276"/>
                  <a:pt x="79" y="276"/>
                </a:cubicBezTo>
                <a:cubicBezTo>
                  <a:pt x="78" y="276"/>
                  <a:pt x="78" y="278"/>
                  <a:pt x="77" y="277"/>
                </a:cubicBezTo>
                <a:cubicBezTo>
                  <a:pt x="78" y="278"/>
                  <a:pt x="77" y="279"/>
                  <a:pt x="77" y="277"/>
                </a:cubicBezTo>
                <a:cubicBezTo>
                  <a:pt x="76" y="277"/>
                  <a:pt x="77" y="276"/>
                  <a:pt x="77" y="275"/>
                </a:cubicBezTo>
                <a:cubicBezTo>
                  <a:pt x="76" y="274"/>
                  <a:pt x="76" y="274"/>
                  <a:pt x="76" y="272"/>
                </a:cubicBezTo>
                <a:cubicBezTo>
                  <a:pt x="76" y="271"/>
                  <a:pt x="79" y="267"/>
                  <a:pt x="81" y="270"/>
                </a:cubicBezTo>
                <a:cubicBezTo>
                  <a:pt x="82" y="273"/>
                  <a:pt x="83" y="278"/>
                  <a:pt x="81" y="280"/>
                </a:cubicBezTo>
                <a:cubicBezTo>
                  <a:pt x="81" y="281"/>
                  <a:pt x="78" y="281"/>
                  <a:pt x="79" y="279"/>
                </a:cubicBezTo>
                <a:close/>
                <a:moveTo>
                  <a:pt x="82" y="357"/>
                </a:moveTo>
                <a:cubicBezTo>
                  <a:pt x="82" y="358"/>
                  <a:pt x="82" y="358"/>
                  <a:pt x="82" y="359"/>
                </a:cubicBezTo>
                <a:cubicBezTo>
                  <a:pt x="82" y="359"/>
                  <a:pt x="82" y="358"/>
                  <a:pt x="82" y="357"/>
                </a:cubicBezTo>
                <a:close/>
                <a:moveTo>
                  <a:pt x="81" y="298"/>
                </a:moveTo>
                <a:cubicBezTo>
                  <a:pt x="82" y="299"/>
                  <a:pt x="83" y="302"/>
                  <a:pt x="83" y="304"/>
                </a:cubicBezTo>
                <a:cubicBezTo>
                  <a:pt x="81" y="302"/>
                  <a:pt x="82" y="300"/>
                  <a:pt x="81" y="298"/>
                </a:cubicBezTo>
                <a:close/>
                <a:moveTo>
                  <a:pt x="81" y="240"/>
                </a:moveTo>
                <a:cubicBezTo>
                  <a:pt x="83" y="236"/>
                  <a:pt x="78" y="238"/>
                  <a:pt x="77" y="238"/>
                </a:cubicBezTo>
                <a:cubicBezTo>
                  <a:pt x="76" y="236"/>
                  <a:pt x="78" y="233"/>
                  <a:pt x="78" y="230"/>
                </a:cubicBezTo>
                <a:cubicBezTo>
                  <a:pt x="78" y="229"/>
                  <a:pt x="76" y="224"/>
                  <a:pt x="77" y="223"/>
                </a:cubicBezTo>
                <a:cubicBezTo>
                  <a:pt x="79" y="223"/>
                  <a:pt x="79" y="229"/>
                  <a:pt x="79" y="229"/>
                </a:cubicBezTo>
                <a:cubicBezTo>
                  <a:pt x="80" y="230"/>
                  <a:pt x="83" y="226"/>
                  <a:pt x="84" y="226"/>
                </a:cubicBezTo>
                <a:cubicBezTo>
                  <a:pt x="92" y="224"/>
                  <a:pt x="89" y="237"/>
                  <a:pt x="87" y="241"/>
                </a:cubicBezTo>
                <a:cubicBezTo>
                  <a:pt x="84" y="246"/>
                  <a:pt x="86" y="236"/>
                  <a:pt x="81" y="240"/>
                </a:cubicBezTo>
                <a:close/>
                <a:moveTo>
                  <a:pt x="83" y="303"/>
                </a:moveTo>
                <a:cubicBezTo>
                  <a:pt x="83" y="302"/>
                  <a:pt x="85" y="304"/>
                  <a:pt x="84" y="304"/>
                </a:cubicBezTo>
                <a:cubicBezTo>
                  <a:pt x="84" y="304"/>
                  <a:pt x="83" y="303"/>
                  <a:pt x="83" y="303"/>
                </a:cubicBezTo>
                <a:close/>
                <a:moveTo>
                  <a:pt x="84" y="307"/>
                </a:moveTo>
                <a:cubicBezTo>
                  <a:pt x="83" y="306"/>
                  <a:pt x="84" y="305"/>
                  <a:pt x="84" y="307"/>
                </a:cubicBezTo>
                <a:close/>
                <a:moveTo>
                  <a:pt x="85" y="311"/>
                </a:moveTo>
                <a:cubicBezTo>
                  <a:pt x="84" y="311"/>
                  <a:pt x="84" y="309"/>
                  <a:pt x="84" y="308"/>
                </a:cubicBezTo>
                <a:cubicBezTo>
                  <a:pt x="84" y="309"/>
                  <a:pt x="85" y="310"/>
                  <a:pt x="85" y="311"/>
                </a:cubicBezTo>
                <a:close/>
                <a:moveTo>
                  <a:pt x="83" y="365"/>
                </a:moveTo>
                <a:cubicBezTo>
                  <a:pt x="84" y="366"/>
                  <a:pt x="83" y="367"/>
                  <a:pt x="84" y="368"/>
                </a:cubicBezTo>
                <a:cubicBezTo>
                  <a:pt x="83" y="368"/>
                  <a:pt x="83" y="366"/>
                  <a:pt x="83" y="365"/>
                </a:cubicBezTo>
                <a:close/>
                <a:moveTo>
                  <a:pt x="84" y="329"/>
                </a:moveTo>
                <a:cubicBezTo>
                  <a:pt x="85" y="329"/>
                  <a:pt x="86" y="330"/>
                  <a:pt x="85" y="331"/>
                </a:cubicBezTo>
                <a:cubicBezTo>
                  <a:pt x="84" y="331"/>
                  <a:pt x="84" y="329"/>
                  <a:pt x="84" y="329"/>
                </a:cubicBezTo>
                <a:close/>
                <a:moveTo>
                  <a:pt x="85" y="377"/>
                </a:moveTo>
                <a:cubicBezTo>
                  <a:pt x="84" y="377"/>
                  <a:pt x="85" y="376"/>
                  <a:pt x="85" y="375"/>
                </a:cubicBezTo>
                <a:cubicBezTo>
                  <a:pt x="84" y="374"/>
                  <a:pt x="85" y="376"/>
                  <a:pt x="85" y="377"/>
                </a:cubicBezTo>
                <a:close/>
                <a:moveTo>
                  <a:pt x="85" y="378"/>
                </a:moveTo>
                <a:cubicBezTo>
                  <a:pt x="85" y="378"/>
                  <a:pt x="85" y="379"/>
                  <a:pt x="85" y="380"/>
                </a:cubicBezTo>
                <a:cubicBezTo>
                  <a:pt x="85" y="380"/>
                  <a:pt x="85" y="378"/>
                  <a:pt x="85" y="378"/>
                </a:cubicBezTo>
                <a:close/>
                <a:moveTo>
                  <a:pt x="86" y="260"/>
                </a:moveTo>
                <a:cubicBezTo>
                  <a:pt x="84" y="260"/>
                  <a:pt x="83" y="256"/>
                  <a:pt x="87" y="256"/>
                </a:cubicBezTo>
                <a:cubicBezTo>
                  <a:pt x="89" y="256"/>
                  <a:pt x="88" y="261"/>
                  <a:pt x="86" y="260"/>
                </a:cubicBezTo>
                <a:close/>
                <a:moveTo>
                  <a:pt x="90" y="332"/>
                </a:moveTo>
                <a:cubicBezTo>
                  <a:pt x="89" y="332"/>
                  <a:pt x="88" y="328"/>
                  <a:pt x="90" y="328"/>
                </a:cubicBezTo>
                <a:cubicBezTo>
                  <a:pt x="90" y="328"/>
                  <a:pt x="90" y="331"/>
                  <a:pt x="90" y="332"/>
                </a:cubicBezTo>
                <a:close/>
                <a:moveTo>
                  <a:pt x="91" y="222"/>
                </a:moveTo>
                <a:cubicBezTo>
                  <a:pt x="91" y="223"/>
                  <a:pt x="91" y="224"/>
                  <a:pt x="91" y="225"/>
                </a:cubicBezTo>
                <a:cubicBezTo>
                  <a:pt x="90" y="224"/>
                  <a:pt x="90" y="223"/>
                  <a:pt x="91" y="222"/>
                </a:cubicBezTo>
                <a:close/>
                <a:moveTo>
                  <a:pt x="91" y="228"/>
                </a:moveTo>
                <a:cubicBezTo>
                  <a:pt x="91" y="229"/>
                  <a:pt x="90" y="228"/>
                  <a:pt x="91" y="227"/>
                </a:cubicBezTo>
                <a:cubicBezTo>
                  <a:pt x="91" y="227"/>
                  <a:pt x="92" y="228"/>
                  <a:pt x="91" y="228"/>
                </a:cubicBezTo>
                <a:close/>
                <a:moveTo>
                  <a:pt x="158" y="205"/>
                </a:moveTo>
                <a:cubicBezTo>
                  <a:pt x="159" y="205"/>
                  <a:pt x="159" y="208"/>
                  <a:pt x="158" y="208"/>
                </a:cubicBezTo>
                <a:cubicBezTo>
                  <a:pt x="158" y="208"/>
                  <a:pt x="157" y="206"/>
                  <a:pt x="158" y="205"/>
                </a:cubicBezTo>
                <a:close/>
                <a:moveTo>
                  <a:pt x="154" y="169"/>
                </a:moveTo>
                <a:cubicBezTo>
                  <a:pt x="155" y="168"/>
                  <a:pt x="155" y="171"/>
                  <a:pt x="154" y="171"/>
                </a:cubicBezTo>
                <a:cubicBezTo>
                  <a:pt x="154" y="171"/>
                  <a:pt x="153" y="170"/>
                  <a:pt x="154" y="169"/>
                </a:cubicBezTo>
                <a:close/>
                <a:moveTo>
                  <a:pt x="155" y="227"/>
                </a:moveTo>
                <a:cubicBezTo>
                  <a:pt x="154" y="227"/>
                  <a:pt x="153" y="225"/>
                  <a:pt x="154" y="225"/>
                </a:cubicBezTo>
                <a:cubicBezTo>
                  <a:pt x="155" y="224"/>
                  <a:pt x="155" y="227"/>
                  <a:pt x="155" y="227"/>
                </a:cubicBezTo>
                <a:close/>
                <a:moveTo>
                  <a:pt x="154" y="181"/>
                </a:moveTo>
                <a:cubicBezTo>
                  <a:pt x="154" y="181"/>
                  <a:pt x="155" y="182"/>
                  <a:pt x="154" y="182"/>
                </a:cubicBezTo>
                <a:cubicBezTo>
                  <a:pt x="153" y="183"/>
                  <a:pt x="153" y="182"/>
                  <a:pt x="154" y="181"/>
                </a:cubicBezTo>
                <a:close/>
                <a:moveTo>
                  <a:pt x="150" y="242"/>
                </a:moveTo>
                <a:cubicBezTo>
                  <a:pt x="149" y="242"/>
                  <a:pt x="150" y="241"/>
                  <a:pt x="150" y="241"/>
                </a:cubicBezTo>
                <a:cubicBezTo>
                  <a:pt x="150" y="240"/>
                  <a:pt x="150" y="242"/>
                  <a:pt x="150" y="242"/>
                </a:cubicBezTo>
                <a:close/>
                <a:moveTo>
                  <a:pt x="149" y="249"/>
                </a:moveTo>
                <a:cubicBezTo>
                  <a:pt x="149" y="249"/>
                  <a:pt x="150" y="251"/>
                  <a:pt x="150" y="251"/>
                </a:cubicBezTo>
                <a:cubicBezTo>
                  <a:pt x="149" y="251"/>
                  <a:pt x="149" y="249"/>
                  <a:pt x="149" y="249"/>
                </a:cubicBezTo>
                <a:close/>
                <a:moveTo>
                  <a:pt x="150" y="301"/>
                </a:moveTo>
                <a:cubicBezTo>
                  <a:pt x="149" y="300"/>
                  <a:pt x="149" y="299"/>
                  <a:pt x="149" y="299"/>
                </a:cubicBezTo>
                <a:cubicBezTo>
                  <a:pt x="149" y="299"/>
                  <a:pt x="150" y="300"/>
                  <a:pt x="150" y="301"/>
                </a:cubicBezTo>
                <a:close/>
                <a:moveTo>
                  <a:pt x="149" y="200"/>
                </a:moveTo>
                <a:cubicBezTo>
                  <a:pt x="151" y="199"/>
                  <a:pt x="150" y="203"/>
                  <a:pt x="149" y="203"/>
                </a:cubicBezTo>
                <a:cubicBezTo>
                  <a:pt x="148" y="202"/>
                  <a:pt x="148" y="200"/>
                  <a:pt x="149" y="200"/>
                </a:cubicBezTo>
                <a:close/>
                <a:moveTo>
                  <a:pt x="148" y="231"/>
                </a:moveTo>
                <a:cubicBezTo>
                  <a:pt x="148" y="232"/>
                  <a:pt x="147" y="231"/>
                  <a:pt x="147" y="231"/>
                </a:cubicBezTo>
                <a:cubicBezTo>
                  <a:pt x="147" y="231"/>
                  <a:pt x="148" y="231"/>
                  <a:pt x="148" y="231"/>
                </a:cubicBezTo>
                <a:close/>
                <a:moveTo>
                  <a:pt x="147" y="333"/>
                </a:moveTo>
                <a:cubicBezTo>
                  <a:pt x="146" y="334"/>
                  <a:pt x="149" y="333"/>
                  <a:pt x="147" y="333"/>
                </a:cubicBezTo>
                <a:close/>
                <a:moveTo>
                  <a:pt x="146" y="173"/>
                </a:moveTo>
                <a:cubicBezTo>
                  <a:pt x="146" y="173"/>
                  <a:pt x="146" y="172"/>
                  <a:pt x="146" y="172"/>
                </a:cubicBezTo>
                <a:cubicBezTo>
                  <a:pt x="148" y="172"/>
                  <a:pt x="144" y="175"/>
                  <a:pt x="146" y="173"/>
                </a:cubicBezTo>
                <a:close/>
                <a:moveTo>
                  <a:pt x="145" y="190"/>
                </a:moveTo>
                <a:cubicBezTo>
                  <a:pt x="145" y="190"/>
                  <a:pt x="146" y="190"/>
                  <a:pt x="146" y="190"/>
                </a:cubicBezTo>
                <a:cubicBezTo>
                  <a:pt x="148" y="189"/>
                  <a:pt x="144" y="192"/>
                  <a:pt x="145" y="190"/>
                </a:cubicBezTo>
                <a:close/>
                <a:moveTo>
                  <a:pt x="144" y="178"/>
                </a:moveTo>
                <a:cubicBezTo>
                  <a:pt x="145" y="178"/>
                  <a:pt x="145" y="180"/>
                  <a:pt x="144" y="180"/>
                </a:cubicBezTo>
                <a:cubicBezTo>
                  <a:pt x="144" y="180"/>
                  <a:pt x="143" y="178"/>
                  <a:pt x="144" y="178"/>
                </a:cubicBezTo>
                <a:close/>
                <a:moveTo>
                  <a:pt x="145" y="222"/>
                </a:moveTo>
                <a:cubicBezTo>
                  <a:pt x="145" y="221"/>
                  <a:pt x="146" y="220"/>
                  <a:pt x="147" y="221"/>
                </a:cubicBezTo>
                <a:cubicBezTo>
                  <a:pt x="148" y="221"/>
                  <a:pt x="148" y="224"/>
                  <a:pt x="147" y="224"/>
                </a:cubicBezTo>
                <a:cubicBezTo>
                  <a:pt x="146" y="224"/>
                  <a:pt x="146" y="223"/>
                  <a:pt x="145" y="222"/>
                </a:cubicBezTo>
                <a:cubicBezTo>
                  <a:pt x="145" y="222"/>
                  <a:pt x="145" y="222"/>
                  <a:pt x="145" y="222"/>
                </a:cubicBezTo>
                <a:cubicBezTo>
                  <a:pt x="144" y="221"/>
                  <a:pt x="144" y="219"/>
                  <a:pt x="143" y="217"/>
                </a:cubicBezTo>
                <a:cubicBezTo>
                  <a:pt x="144" y="218"/>
                  <a:pt x="145" y="220"/>
                  <a:pt x="145" y="222"/>
                </a:cubicBezTo>
                <a:close/>
                <a:moveTo>
                  <a:pt x="145" y="245"/>
                </a:moveTo>
                <a:cubicBezTo>
                  <a:pt x="147" y="244"/>
                  <a:pt x="146" y="248"/>
                  <a:pt x="145" y="248"/>
                </a:cubicBezTo>
                <a:cubicBezTo>
                  <a:pt x="144" y="248"/>
                  <a:pt x="143" y="246"/>
                  <a:pt x="145" y="245"/>
                </a:cubicBezTo>
                <a:close/>
                <a:moveTo>
                  <a:pt x="145" y="314"/>
                </a:moveTo>
                <a:cubicBezTo>
                  <a:pt x="145" y="314"/>
                  <a:pt x="144" y="313"/>
                  <a:pt x="144" y="312"/>
                </a:cubicBezTo>
                <a:cubicBezTo>
                  <a:pt x="144" y="311"/>
                  <a:pt x="145" y="314"/>
                  <a:pt x="145" y="314"/>
                </a:cubicBezTo>
                <a:close/>
                <a:moveTo>
                  <a:pt x="141" y="194"/>
                </a:moveTo>
                <a:cubicBezTo>
                  <a:pt x="141" y="194"/>
                  <a:pt x="140" y="193"/>
                  <a:pt x="140" y="193"/>
                </a:cubicBezTo>
                <a:cubicBezTo>
                  <a:pt x="140" y="192"/>
                  <a:pt x="142" y="194"/>
                  <a:pt x="141" y="194"/>
                </a:cubicBezTo>
                <a:close/>
                <a:moveTo>
                  <a:pt x="142" y="199"/>
                </a:moveTo>
                <a:cubicBezTo>
                  <a:pt x="141" y="199"/>
                  <a:pt x="141" y="198"/>
                  <a:pt x="141" y="197"/>
                </a:cubicBezTo>
                <a:cubicBezTo>
                  <a:pt x="141" y="197"/>
                  <a:pt x="142" y="198"/>
                  <a:pt x="142" y="199"/>
                </a:cubicBezTo>
                <a:close/>
                <a:moveTo>
                  <a:pt x="142" y="216"/>
                </a:moveTo>
                <a:cubicBezTo>
                  <a:pt x="141" y="214"/>
                  <a:pt x="140" y="211"/>
                  <a:pt x="139" y="209"/>
                </a:cubicBezTo>
                <a:cubicBezTo>
                  <a:pt x="141" y="210"/>
                  <a:pt x="142" y="214"/>
                  <a:pt x="142" y="216"/>
                </a:cubicBezTo>
                <a:close/>
                <a:moveTo>
                  <a:pt x="141" y="232"/>
                </a:moveTo>
                <a:cubicBezTo>
                  <a:pt x="141" y="233"/>
                  <a:pt x="141" y="231"/>
                  <a:pt x="141" y="232"/>
                </a:cubicBezTo>
                <a:close/>
                <a:moveTo>
                  <a:pt x="140" y="226"/>
                </a:moveTo>
                <a:cubicBezTo>
                  <a:pt x="139" y="224"/>
                  <a:pt x="140" y="224"/>
                  <a:pt x="140" y="226"/>
                </a:cubicBezTo>
                <a:close/>
                <a:moveTo>
                  <a:pt x="134" y="215"/>
                </a:moveTo>
                <a:cubicBezTo>
                  <a:pt x="134" y="216"/>
                  <a:pt x="133" y="215"/>
                  <a:pt x="133" y="215"/>
                </a:cubicBezTo>
                <a:cubicBezTo>
                  <a:pt x="133" y="214"/>
                  <a:pt x="134" y="215"/>
                  <a:pt x="134" y="215"/>
                </a:cubicBezTo>
                <a:close/>
                <a:moveTo>
                  <a:pt x="128" y="205"/>
                </a:moveTo>
                <a:cubicBezTo>
                  <a:pt x="128" y="203"/>
                  <a:pt x="128" y="202"/>
                  <a:pt x="130" y="202"/>
                </a:cubicBezTo>
                <a:cubicBezTo>
                  <a:pt x="131" y="202"/>
                  <a:pt x="132" y="206"/>
                  <a:pt x="131" y="207"/>
                </a:cubicBezTo>
                <a:cubicBezTo>
                  <a:pt x="130" y="208"/>
                  <a:pt x="130" y="207"/>
                  <a:pt x="129" y="207"/>
                </a:cubicBezTo>
                <a:cubicBezTo>
                  <a:pt x="129" y="207"/>
                  <a:pt x="129" y="207"/>
                  <a:pt x="129" y="207"/>
                </a:cubicBezTo>
                <a:cubicBezTo>
                  <a:pt x="128" y="207"/>
                  <a:pt x="127" y="205"/>
                  <a:pt x="128" y="205"/>
                </a:cubicBezTo>
                <a:close/>
                <a:moveTo>
                  <a:pt x="131" y="346"/>
                </a:moveTo>
                <a:cubicBezTo>
                  <a:pt x="133" y="346"/>
                  <a:pt x="132" y="348"/>
                  <a:pt x="131" y="346"/>
                </a:cubicBezTo>
                <a:close/>
                <a:moveTo>
                  <a:pt x="128" y="352"/>
                </a:moveTo>
                <a:cubicBezTo>
                  <a:pt x="129" y="352"/>
                  <a:pt x="129" y="353"/>
                  <a:pt x="129" y="353"/>
                </a:cubicBezTo>
                <a:cubicBezTo>
                  <a:pt x="128" y="354"/>
                  <a:pt x="128" y="353"/>
                  <a:pt x="128" y="352"/>
                </a:cubicBezTo>
                <a:close/>
                <a:moveTo>
                  <a:pt x="128" y="244"/>
                </a:moveTo>
                <a:cubicBezTo>
                  <a:pt x="128" y="243"/>
                  <a:pt x="129" y="245"/>
                  <a:pt x="129" y="246"/>
                </a:cubicBezTo>
                <a:cubicBezTo>
                  <a:pt x="128" y="245"/>
                  <a:pt x="129" y="245"/>
                  <a:pt x="128" y="244"/>
                </a:cubicBezTo>
                <a:close/>
                <a:moveTo>
                  <a:pt x="128" y="274"/>
                </a:moveTo>
                <a:cubicBezTo>
                  <a:pt x="129" y="275"/>
                  <a:pt x="129" y="276"/>
                  <a:pt x="130" y="277"/>
                </a:cubicBezTo>
                <a:cubicBezTo>
                  <a:pt x="129" y="277"/>
                  <a:pt x="128" y="275"/>
                  <a:pt x="128" y="274"/>
                </a:cubicBezTo>
                <a:close/>
                <a:moveTo>
                  <a:pt x="129" y="246"/>
                </a:moveTo>
                <a:cubicBezTo>
                  <a:pt x="132" y="246"/>
                  <a:pt x="128" y="249"/>
                  <a:pt x="129" y="247"/>
                </a:cubicBezTo>
                <a:cubicBezTo>
                  <a:pt x="129" y="247"/>
                  <a:pt x="129" y="246"/>
                  <a:pt x="129" y="246"/>
                </a:cubicBezTo>
                <a:close/>
                <a:moveTo>
                  <a:pt x="129" y="241"/>
                </a:moveTo>
                <a:cubicBezTo>
                  <a:pt x="130" y="240"/>
                  <a:pt x="130" y="242"/>
                  <a:pt x="130" y="242"/>
                </a:cubicBezTo>
                <a:cubicBezTo>
                  <a:pt x="130" y="242"/>
                  <a:pt x="129" y="241"/>
                  <a:pt x="129" y="241"/>
                </a:cubicBezTo>
                <a:close/>
                <a:moveTo>
                  <a:pt x="130" y="275"/>
                </a:moveTo>
                <a:cubicBezTo>
                  <a:pt x="129" y="274"/>
                  <a:pt x="130" y="273"/>
                  <a:pt x="130" y="274"/>
                </a:cubicBezTo>
                <a:cubicBezTo>
                  <a:pt x="131" y="274"/>
                  <a:pt x="131" y="275"/>
                  <a:pt x="130" y="275"/>
                </a:cubicBezTo>
                <a:close/>
                <a:moveTo>
                  <a:pt x="128" y="210"/>
                </a:moveTo>
                <a:cubicBezTo>
                  <a:pt x="127" y="210"/>
                  <a:pt x="127" y="208"/>
                  <a:pt x="127" y="207"/>
                </a:cubicBezTo>
                <a:cubicBezTo>
                  <a:pt x="128" y="208"/>
                  <a:pt x="128" y="209"/>
                  <a:pt x="128" y="210"/>
                </a:cubicBezTo>
                <a:close/>
                <a:moveTo>
                  <a:pt x="126" y="269"/>
                </a:moveTo>
                <a:cubicBezTo>
                  <a:pt x="127" y="270"/>
                  <a:pt x="128" y="271"/>
                  <a:pt x="128" y="273"/>
                </a:cubicBezTo>
                <a:cubicBezTo>
                  <a:pt x="127" y="272"/>
                  <a:pt x="126" y="271"/>
                  <a:pt x="126" y="269"/>
                </a:cubicBezTo>
                <a:close/>
                <a:moveTo>
                  <a:pt x="123" y="221"/>
                </a:moveTo>
                <a:cubicBezTo>
                  <a:pt x="123" y="221"/>
                  <a:pt x="124" y="221"/>
                  <a:pt x="124" y="222"/>
                </a:cubicBezTo>
                <a:cubicBezTo>
                  <a:pt x="124" y="222"/>
                  <a:pt x="122" y="222"/>
                  <a:pt x="123" y="221"/>
                </a:cubicBezTo>
                <a:close/>
                <a:moveTo>
                  <a:pt x="125" y="273"/>
                </a:moveTo>
                <a:cubicBezTo>
                  <a:pt x="123" y="272"/>
                  <a:pt x="123" y="271"/>
                  <a:pt x="123" y="270"/>
                </a:cubicBezTo>
                <a:cubicBezTo>
                  <a:pt x="124" y="270"/>
                  <a:pt x="125" y="272"/>
                  <a:pt x="125" y="273"/>
                </a:cubicBezTo>
                <a:close/>
                <a:moveTo>
                  <a:pt x="119" y="230"/>
                </a:moveTo>
                <a:cubicBezTo>
                  <a:pt x="119" y="231"/>
                  <a:pt x="119" y="230"/>
                  <a:pt x="119" y="230"/>
                </a:cubicBezTo>
                <a:cubicBezTo>
                  <a:pt x="116" y="228"/>
                  <a:pt x="120" y="229"/>
                  <a:pt x="119" y="230"/>
                </a:cubicBezTo>
                <a:close/>
                <a:moveTo>
                  <a:pt x="116" y="209"/>
                </a:moveTo>
                <a:cubicBezTo>
                  <a:pt x="117" y="209"/>
                  <a:pt x="117" y="211"/>
                  <a:pt x="117" y="211"/>
                </a:cubicBezTo>
                <a:cubicBezTo>
                  <a:pt x="117" y="211"/>
                  <a:pt x="116" y="210"/>
                  <a:pt x="116" y="209"/>
                </a:cubicBezTo>
                <a:close/>
                <a:moveTo>
                  <a:pt x="117" y="220"/>
                </a:moveTo>
                <a:cubicBezTo>
                  <a:pt x="118" y="221"/>
                  <a:pt x="118" y="223"/>
                  <a:pt x="118" y="224"/>
                </a:cubicBezTo>
                <a:cubicBezTo>
                  <a:pt x="118" y="226"/>
                  <a:pt x="119" y="228"/>
                  <a:pt x="118" y="228"/>
                </a:cubicBezTo>
                <a:cubicBezTo>
                  <a:pt x="118" y="228"/>
                  <a:pt x="118" y="228"/>
                  <a:pt x="118" y="227"/>
                </a:cubicBezTo>
                <a:cubicBezTo>
                  <a:pt x="118" y="228"/>
                  <a:pt x="118" y="228"/>
                  <a:pt x="118" y="228"/>
                </a:cubicBezTo>
                <a:cubicBezTo>
                  <a:pt x="118" y="228"/>
                  <a:pt x="117" y="229"/>
                  <a:pt x="117" y="229"/>
                </a:cubicBezTo>
                <a:cubicBezTo>
                  <a:pt x="116" y="229"/>
                  <a:pt x="111" y="224"/>
                  <a:pt x="112" y="221"/>
                </a:cubicBezTo>
                <a:cubicBezTo>
                  <a:pt x="112" y="219"/>
                  <a:pt x="115" y="218"/>
                  <a:pt x="117" y="220"/>
                </a:cubicBezTo>
                <a:close/>
                <a:moveTo>
                  <a:pt x="114" y="428"/>
                </a:moveTo>
                <a:cubicBezTo>
                  <a:pt x="114" y="430"/>
                  <a:pt x="112" y="427"/>
                  <a:pt x="112" y="425"/>
                </a:cubicBezTo>
                <a:cubicBezTo>
                  <a:pt x="111" y="421"/>
                  <a:pt x="110" y="416"/>
                  <a:pt x="110" y="413"/>
                </a:cubicBezTo>
                <a:cubicBezTo>
                  <a:pt x="110" y="413"/>
                  <a:pt x="110" y="411"/>
                  <a:pt x="110" y="411"/>
                </a:cubicBezTo>
                <a:cubicBezTo>
                  <a:pt x="111" y="411"/>
                  <a:pt x="114" y="426"/>
                  <a:pt x="114" y="428"/>
                </a:cubicBezTo>
                <a:close/>
                <a:moveTo>
                  <a:pt x="111" y="324"/>
                </a:moveTo>
                <a:cubicBezTo>
                  <a:pt x="110" y="325"/>
                  <a:pt x="111" y="323"/>
                  <a:pt x="111" y="324"/>
                </a:cubicBezTo>
                <a:close/>
                <a:moveTo>
                  <a:pt x="113" y="271"/>
                </a:moveTo>
                <a:cubicBezTo>
                  <a:pt x="115" y="271"/>
                  <a:pt x="117" y="274"/>
                  <a:pt x="115" y="276"/>
                </a:cubicBezTo>
                <a:cubicBezTo>
                  <a:pt x="112" y="280"/>
                  <a:pt x="109" y="271"/>
                  <a:pt x="113" y="271"/>
                </a:cubicBezTo>
                <a:close/>
                <a:moveTo>
                  <a:pt x="114" y="252"/>
                </a:moveTo>
                <a:cubicBezTo>
                  <a:pt x="114" y="252"/>
                  <a:pt x="115" y="253"/>
                  <a:pt x="114" y="254"/>
                </a:cubicBezTo>
                <a:cubicBezTo>
                  <a:pt x="113" y="254"/>
                  <a:pt x="113" y="252"/>
                  <a:pt x="114" y="252"/>
                </a:cubicBezTo>
                <a:close/>
                <a:moveTo>
                  <a:pt x="115" y="374"/>
                </a:moveTo>
                <a:cubicBezTo>
                  <a:pt x="117" y="374"/>
                  <a:pt x="117" y="378"/>
                  <a:pt x="115" y="378"/>
                </a:cubicBezTo>
                <a:cubicBezTo>
                  <a:pt x="115" y="378"/>
                  <a:pt x="113" y="375"/>
                  <a:pt x="115" y="374"/>
                </a:cubicBezTo>
                <a:close/>
                <a:moveTo>
                  <a:pt x="115" y="266"/>
                </a:moveTo>
                <a:cubicBezTo>
                  <a:pt x="118" y="267"/>
                  <a:pt x="116" y="270"/>
                  <a:pt x="115" y="266"/>
                </a:cubicBezTo>
                <a:close/>
                <a:moveTo>
                  <a:pt x="110" y="225"/>
                </a:moveTo>
                <a:cubicBezTo>
                  <a:pt x="112" y="225"/>
                  <a:pt x="110" y="226"/>
                  <a:pt x="110" y="225"/>
                </a:cubicBezTo>
                <a:close/>
                <a:moveTo>
                  <a:pt x="108" y="237"/>
                </a:moveTo>
                <a:cubicBezTo>
                  <a:pt x="106" y="236"/>
                  <a:pt x="109" y="235"/>
                  <a:pt x="108" y="237"/>
                </a:cubicBezTo>
                <a:close/>
                <a:moveTo>
                  <a:pt x="106" y="237"/>
                </a:moveTo>
                <a:cubicBezTo>
                  <a:pt x="107" y="236"/>
                  <a:pt x="108" y="238"/>
                  <a:pt x="107" y="239"/>
                </a:cubicBezTo>
                <a:cubicBezTo>
                  <a:pt x="106" y="239"/>
                  <a:pt x="106" y="237"/>
                  <a:pt x="106" y="237"/>
                </a:cubicBezTo>
                <a:close/>
                <a:moveTo>
                  <a:pt x="97" y="223"/>
                </a:moveTo>
                <a:cubicBezTo>
                  <a:pt x="98" y="223"/>
                  <a:pt x="98" y="225"/>
                  <a:pt x="96" y="225"/>
                </a:cubicBezTo>
                <a:cubicBezTo>
                  <a:pt x="95" y="224"/>
                  <a:pt x="96" y="223"/>
                  <a:pt x="97" y="223"/>
                </a:cubicBezTo>
                <a:close/>
                <a:moveTo>
                  <a:pt x="96" y="249"/>
                </a:moveTo>
                <a:cubicBezTo>
                  <a:pt x="97" y="250"/>
                  <a:pt x="96" y="250"/>
                  <a:pt x="96" y="249"/>
                </a:cubicBezTo>
                <a:close/>
                <a:moveTo>
                  <a:pt x="96" y="195"/>
                </a:moveTo>
                <a:cubicBezTo>
                  <a:pt x="96" y="195"/>
                  <a:pt x="96" y="196"/>
                  <a:pt x="96" y="197"/>
                </a:cubicBezTo>
                <a:cubicBezTo>
                  <a:pt x="96" y="197"/>
                  <a:pt x="95" y="196"/>
                  <a:pt x="96" y="195"/>
                </a:cubicBezTo>
                <a:close/>
                <a:moveTo>
                  <a:pt x="93" y="195"/>
                </a:moveTo>
                <a:cubicBezTo>
                  <a:pt x="94" y="195"/>
                  <a:pt x="93" y="195"/>
                  <a:pt x="93" y="195"/>
                </a:cubicBezTo>
                <a:cubicBezTo>
                  <a:pt x="93" y="195"/>
                  <a:pt x="93" y="195"/>
                  <a:pt x="93" y="195"/>
                </a:cubicBezTo>
                <a:close/>
                <a:moveTo>
                  <a:pt x="93" y="195"/>
                </a:moveTo>
                <a:cubicBezTo>
                  <a:pt x="93" y="196"/>
                  <a:pt x="93" y="196"/>
                  <a:pt x="93" y="195"/>
                </a:cubicBezTo>
                <a:close/>
                <a:moveTo>
                  <a:pt x="92" y="212"/>
                </a:moveTo>
                <a:cubicBezTo>
                  <a:pt x="91" y="213"/>
                  <a:pt x="90" y="211"/>
                  <a:pt x="89" y="211"/>
                </a:cubicBezTo>
                <a:cubicBezTo>
                  <a:pt x="88" y="207"/>
                  <a:pt x="94" y="209"/>
                  <a:pt x="92" y="212"/>
                </a:cubicBezTo>
                <a:close/>
                <a:moveTo>
                  <a:pt x="92" y="259"/>
                </a:moveTo>
                <a:cubicBezTo>
                  <a:pt x="91" y="259"/>
                  <a:pt x="93" y="251"/>
                  <a:pt x="92" y="248"/>
                </a:cubicBezTo>
                <a:cubicBezTo>
                  <a:pt x="94" y="249"/>
                  <a:pt x="93" y="260"/>
                  <a:pt x="92" y="259"/>
                </a:cubicBezTo>
                <a:close/>
                <a:moveTo>
                  <a:pt x="93" y="228"/>
                </a:moveTo>
                <a:cubicBezTo>
                  <a:pt x="91" y="227"/>
                  <a:pt x="93" y="226"/>
                  <a:pt x="93" y="228"/>
                </a:cubicBezTo>
                <a:close/>
                <a:moveTo>
                  <a:pt x="92" y="225"/>
                </a:moveTo>
                <a:cubicBezTo>
                  <a:pt x="92" y="225"/>
                  <a:pt x="92" y="223"/>
                  <a:pt x="92" y="223"/>
                </a:cubicBezTo>
                <a:cubicBezTo>
                  <a:pt x="93" y="223"/>
                  <a:pt x="93" y="226"/>
                  <a:pt x="92" y="225"/>
                </a:cubicBezTo>
                <a:close/>
                <a:moveTo>
                  <a:pt x="94" y="198"/>
                </a:moveTo>
                <a:cubicBezTo>
                  <a:pt x="95" y="198"/>
                  <a:pt x="95" y="199"/>
                  <a:pt x="95" y="199"/>
                </a:cubicBezTo>
                <a:cubicBezTo>
                  <a:pt x="95" y="199"/>
                  <a:pt x="93" y="200"/>
                  <a:pt x="93" y="200"/>
                </a:cubicBezTo>
                <a:cubicBezTo>
                  <a:pt x="92" y="200"/>
                  <a:pt x="92" y="198"/>
                  <a:pt x="94" y="198"/>
                </a:cubicBezTo>
                <a:close/>
                <a:moveTo>
                  <a:pt x="94" y="407"/>
                </a:moveTo>
                <a:cubicBezTo>
                  <a:pt x="95" y="409"/>
                  <a:pt x="93" y="409"/>
                  <a:pt x="94" y="407"/>
                </a:cubicBezTo>
                <a:close/>
                <a:moveTo>
                  <a:pt x="96" y="275"/>
                </a:moveTo>
                <a:cubicBezTo>
                  <a:pt x="95" y="275"/>
                  <a:pt x="95" y="273"/>
                  <a:pt x="95" y="272"/>
                </a:cubicBezTo>
                <a:cubicBezTo>
                  <a:pt x="97" y="271"/>
                  <a:pt x="97" y="275"/>
                  <a:pt x="96" y="275"/>
                </a:cubicBezTo>
                <a:close/>
                <a:moveTo>
                  <a:pt x="95" y="257"/>
                </a:moveTo>
                <a:cubicBezTo>
                  <a:pt x="97" y="257"/>
                  <a:pt x="98" y="260"/>
                  <a:pt x="98" y="262"/>
                </a:cubicBezTo>
                <a:cubicBezTo>
                  <a:pt x="97" y="260"/>
                  <a:pt x="96" y="259"/>
                  <a:pt x="95" y="257"/>
                </a:cubicBezTo>
                <a:close/>
                <a:moveTo>
                  <a:pt x="99" y="345"/>
                </a:moveTo>
                <a:cubicBezTo>
                  <a:pt x="98" y="346"/>
                  <a:pt x="98" y="344"/>
                  <a:pt x="98" y="344"/>
                </a:cubicBezTo>
                <a:cubicBezTo>
                  <a:pt x="99" y="344"/>
                  <a:pt x="99" y="345"/>
                  <a:pt x="99" y="345"/>
                </a:cubicBezTo>
                <a:close/>
                <a:moveTo>
                  <a:pt x="99" y="391"/>
                </a:moveTo>
                <a:cubicBezTo>
                  <a:pt x="100" y="393"/>
                  <a:pt x="99" y="393"/>
                  <a:pt x="99" y="391"/>
                </a:cubicBezTo>
                <a:close/>
                <a:moveTo>
                  <a:pt x="98" y="263"/>
                </a:moveTo>
                <a:cubicBezTo>
                  <a:pt x="99" y="265"/>
                  <a:pt x="100" y="266"/>
                  <a:pt x="100" y="268"/>
                </a:cubicBezTo>
                <a:cubicBezTo>
                  <a:pt x="100" y="267"/>
                  <a:pt x="99" y="265"/>
                  <a:pt x="98" y="263"/>
                </a:cubicBezTo>
                <a:close/>
                <a:moveTo>
                  <a:pt x="100" y="245"/>
                </a:moveTo>
                <a:cubicBezTo>
                  <a:pt x="98" y="243"/>
                  <a:pt x="100" y="243"/>
                  <a:pt x="100" y="245"/>
                </a:cubicBezTo>
                <a:close/>
                <a:moveTo>
                  <a:pt x="98" y="231"/>
                </a:moveTo>
                <a:cubicBezTo>
                  <a:pt x="97" y="231"/>
                  <a:pt x="98" y="227"/>
                  <a:pt x="99" y="227"/>
                </a:cubicBezTo>
                <a:cubicBezTo>
                  <a:pt x="101" y="227"/>
                  <a:pt x="101" y="232"/>
                  <a:pt x="98" y="231"/>
                </a:cubicBezTo>
                <a:close/>
                <a:moveTo>
                  <a:pt x="99" y="205"/>
                </a:moveTo>
                <a:cubicBezTo>
                  <a:pt x="99" y="204"/>
                  <a:pt x="100" y="206"/>
                  <a:pt x="99" y="206"/>
                </a:cubicBezTo>
                <a:cubicBezTo>
                  <a:pt x="99" y="206"/>
                  <a:pt x="99" y="205"/>
                  <a:pt x="99" y="205"/>
                </a:cubicBezTo>
                <a:close/>
                <a:moveTo>
                  <a:pt x="102" y="420"/>
                </a:moveTo>
                <a:cubicBezTo>
                  <a:pt x="102" y="420"/>
                  <a:pt x="102" y="420"/>
                  <a:pt x="102" y="420"/>
                </a:cubicBezTo>
                <a:cubicBezTo>
                  <a:pt x="102" y="420"/>
                  <a:pt x="102" y="420"/>
                  <a:pt x="102" y="420"/>
                </a:cubicBezTo>
                <a:cubicBezTo>
                  <a:pt x="102" y="420"/>
                  <a:pt x="102" y="420"/>
                  <a:pt x="102" y="420"/>
                </a:cubicBezTo>
                <a:close/>
                <a:moveTo>
                  <a:pt x="101" y="348"/>
                </a:moveTo>
                <a:cubicBezTo>
                  <a:pt x="99" y="349"/>
                  <a:pt x="102" y="346"/>
                  <a:pt x="102" y="347"/>
                </a:cubicBezTo>
                <a:cubicBezTo>
                  <a:pt x="102" y="348"/>
                  <a:pt x="102" y="348"/>
                  <a:pt x="101" y="348"/>
                </a:cubicBezTo>
                <a:close/>
                <a:moveTo>
                  <a:pt x="102" y="273"/>
                </a:moveTo>
                <a:cubicBezTo>
                  <a:pt x="101" y="273"/>
                  <a:pt x="101" y="271"/>
                  <a:pt x="101" y="270"/>
                </a:cubicBezTo>
                <a:cubicBezTo>
                  <a:pt x="102" y="270"/>
                  <a:pt x="103" y="273"/>
                  <a:pt x="102" y="273"/>
                </a:cubicBezTo>
                <a:close/>
                <a:moveTo>
                  <a:pt x="102" y="211"/>
                </a:moveTo>
                <a:cubicBezTo>
                  <a:pt x="102" y="210"/>
                  <a:pt x="103" y="210"/>
                  <a:pt x="102" y="210"/>
                </a:cubicBezTo>
                <a:cubicBezTo>
                  <a:pt x="102" y="210"/>
                  <a:pt x="102" y="211"/>
                  <a:pt x="102" y="211"/>
                </a:cubicBezTo>
                <a:close/>
                <a:moveTo>
                  <a:pt x="101" y="211"/>
                </a:moveTo>
                <a:cubicBezTo>
                  <a:pt x="101" y="211"/>
                  <a:pt x="101" y="210"/>
                  <a:pt x="101" y="210"/>
                </a:cubicBezTo>
                <a:cubicBezTo>
                  <a:pt x="101" y="211"/>
                  <a:pt x="100" y="212"/>
                  <a:pt x="101" y="211"/>
                </a:cubicBezTo>
                <a:close/>
                <a:moveTo>
                  <a:pt x="103" y="355"/>
                </a:moveTo>
                <a:cubicBezTo>
                  <a:pt x="102" y="355"/>
                  <a:pt x="102" y="354"/>
                  <a:pt x="102" y="353"/>
                </a:cubicBezTo>
                <a:cubicBezTo>
                  <a:pt x="103" y="354"/>
                  <a:pt x="103" y="354"/>
                  <a:pt x="103" y="355"/>
                </a:cubicBezTo>
                <a:close/>
                <a:moveTo>
                  <a:pt x="105" y="290"/>
                </a:moveTo>
                <a:cubicBezTo>
                  <a:pt x="105" y="291"/>
                  <a:pt x="104" y="291"/>
                  <a:pt x="103" y="290"/>
                </a:cubicBezTo>
                <a:cubicBezTo>
                  <a:pt x="101" y="289"/>
                  <a:pt x="106" y="287"/>
                  <a:pt x="105" y="290"/>
                </a:cubicBezTo>
                <a:close/>
                <a:moveTo>
                  <a:pt x="103" y="252"/>
                </a:moveTo>
                <a:cubicBezTo>
                  <a:pt x="104" y="252"/>
                  <a:pt x="103" y="253"/>
                  <a:pt x="103" y="252"/>
                </a:cubicBezTo>
                <a:close/>
                <a:moveTo>
                  <a:pt x="105" y="207"/>
                </a:moveTo>
                <a:cubicBezTo>
                  <a:pt x="104" y="207"/>
                  <a:pt x="103" y="205"/>
                  <a:pt x="102" y="205"/>
                </a:cubicBezTo>
                <a:cubicBezTo>
                  <a:pt x="102" y="206"/>
                  <a:pt x="103" y="207"/>
                  <a:pt x="102" y="207"/>
                </a:cubicBezTo>
                <a:cubicBezTo>
                  <a:pt x="102" y="206"/>
                  <a:pt x="98" y="203"/>
                  <a:pt x="98" y="200"/>
                </a:cubicBezTo>
                <a:cubicBezTo>
                  <a:pt x="98" y="199"/>
                  <a:pt x="99" y="196"/>
                  <a:pt x="102" y="196"/>
                </a:cubicBezTo>
                <a:cubicBezTo>
                  <a:pt x="103" y="197"/>
                  <a:pt x="106" y="201"/>
                  <a:pt x="106" y="203"/>
                </a:cubicBezTo>
                <a:cubicBezTo>
                  <a:pt x="105" y="204"/>
                  <a:pt x="105" y="205"/>
                  <a:pt x="105" y="206"/>
                </a:cubicBezTo>
                <a:cubicBezTo>
                  <a:pt x="105" y="206"/>
                  <a:pt x="106" y="207"/>
                  <a:pt x="105" y="207"/>
                </a:cubicBezTo>
                <a:close/>
                <a:moveTo>
                  <a:pt x="106" y="270"/>
                </a:moveTo>
                <a:cubicBezTo>
                  <a:pt x="105" y="270"/>
                  <a:pt x="106" y="270"/>
                  <a:pt x="106" y="270"/>
                </a:cubicBezTo>
                <a:close/>
                <a:moveTo>
                  <a:pt x="106" y="271"/>
                </a:moveTo>
                <a:cubicBezTo>
                  <a:pt x="106" y="271"/>
                  <a:pt x="106" y="271"/>
                  <a:pt x="106" y="271"/>
                </a:cubicBezTo>
                <a:cubicBezTo>
                  <a:pt x="106" y="271"/>
                  <a:pt x="106" y="271"/>
                  <a:pt x="106" y="271"/>
                </a:cubicBezTo>
                <a:cubicBezTo>
                  <a:pt x="106" y="271"/>
                  <a:pt x="106" y="271"/>
                  <a:pt x="106" y="271"/>
                </a:cubicBezTo>
                <a:close/>
                <a:moveTo>
                  <a:pt x="107" y="250"/>
                </a:moveTo>
                <a:cubicBezTo>
                  <a:pt x="107" y="249"/>
                  <a:pt x="108" y="250"/>
                  <a:pt x="109" y="250"/>
                </a:cubicBezTo>
                <a:cubicBezTo>
                  <a:pt x="112" y="250"/>
                  <a:pt x="112" y="254"/>
                  <a:pt x="111" y="255"/>
                </a:cubicBezTo>
                <a:cubicBezTo>
                  <a:pt x="111" y="255"/>
                  <a:pt x="111" y="255"/>
                  <a:pt x="111" y="255"/>
                </a:cubicBezTo>
                <a:cubicBezTo>
                  <a:pt x="111" y="255"/>
                  <a:pt x="111" y="255"/>
                  <a:pt x="111" y="255"/>
                </a:cubicBezTo>
                <a:cubicBezTo>
                  <a:pt x="111" y="259"/>
                  <a:pt x="102" y="254"/>
                  <a:pt x="107" y="250"/>
                </a:cubicBezTo>
                <a:close/>
                <a:moveTo>
                  <a:pt x="107" y="458"/>
                </a:moveTo>
                <a:cubicBezTo>
                  <a:pt x="108" y="460"/>
                  <a:pt x="106" y="460"/>
                  <a:pt x="107" y="458"/>
                </a:cubicBezTo>
                <a:close/>
                <a:moveTo>
                  <a:pt x="109" y="360"/>
                </a:moveTo>
                <a:cubicBezTo>
                  <a:pt x="111" y="360"/>
                  <a:pt x="110" y="363"/>
                  <a:pt x="109" y="363"/>
                </a:cubicBezTo>
                <a:cubicBezTo>
                  <a:pt x="108" y="362"/>
                  <a:pt x="108" y="361"/>
                  <a:pt x="109" y="360"/>
                </a:cubicBezTo>
                <a:close/>
                <a:moveTo>
                  <a:pt x="109" y="423"/>
                </a:moveTo>
                <a:cubicBezTo>
                  <a:pt x="109" y="423"/>
                  <a:pt x="108" y="420"/>
                  <a:pt x="110" y="422"/>
                </a:cubicBezTo>
                <a:cubicBezTo>
                  <a:pt x="112" y="425"/>
                  <a:pt x="112" y="431"/>
                  <a:pt x="113" y="435"/>
                </a:cubicBezTo>
                <a:cubicBezTo>
                  <a:pt x="111" y="432"/>
                  <a:pt x="109" y="427"/>
                  <a:pt x="109" y="423"/>
                </a:cubicBezTo>
                <a:close/>
                <a:moveTo>
                  <a:pt x="113" y="436"/>
                </a:moveTo>
                <a:cubicBezTo>
                  <a:pt x="115" y="437"/>
                  <a:pt x="117" y="442"/>
                  <a:pt x="117" y="446"/>
                </a:cubicBezTo>
                <a:cubicBezTo>
                  <a:pt x="115" y="443"/>
                  <a:pt x="114" y="439"/>
                  <a:pt x="113" y="436"/>
                </a:cubicBezTo>
                <a:close/>
                <a:moveTo>
                  <a:pt x="116" y="414"/>
                </a:moveTo>
                <a:cubicBezTo>
                  <a:pt x="116" y="415"/>
                  <a:pt x="114" y="414"/>
                  <a:pt x="116" y="414"/>
                </a:cubicBezTo>
                <a:close/>
                <a:moveTo>
                  <a:pt x="117" y="400"/>
                </a:moveTo>
                <a:cubicBezTo>
                  <a:pt x="115" y="401"/>
                  <a:pt x="112" y="391"/>
                  <a:pt x="116" y="392"/>
                </a:cubicBezTo>
                <a:cubicBezTo>
                  <a:pt x="118" y="393"/>
                  <a:pt x="117" y="396"/>
                  <a:pt x="117" y="397"/>
                </a:cubicBezTo>
                <a:cubicBezTo>
                  <a:pt x="117" y="398"/>
                  <a:pt x="116" y="398"/>
                  <a:pt x="116" y="398"/>
                </a:cubicBezTo>
                <a:cubicBezTo>
                  <a:pt x="116" y="398"/>
                  <a:pt x="118" y="400"/>
                  <a:pt x="117" y="400"/>
                </a:cubicBezTo>
                <a:close/>
                <a:moveTo>
                  <a:pt x="119" y="371"/>
                </a:moveTo>
                <a:cubicBezTo>
                  <a:pt x="117" y="370"/>
                  <a:pt x="120" y="368"/>
                  <a:pt x="119" y="371"/>
                </a:cubicBezTo>
                <a:close/>
                <a:moveTo>
                  <a:pt x="118" y="368"/>
                </a:moveTo>
                <a:cubicBezTo>
                  <a:pt x="118" y="368"/>
                  <a:pt x="117" y="366"/>
                  <a:pt x="118" y="366"/>
                </a:cubicBezTo>
                <a:cubicBezTo>
                  <a:pt x="119" y="365"/>
                  <a:pt x="120" y="369"/>
                  <a:pt x="118" y="368"/>
                </a:cubicBezTo>
                <a:close/>
                <a:moveTo>
                  <a:pt x="119" y="278"/>
                </a:moveTo>
                <a:cubicBezTo>
                  <a:pt x="118" y="278"/>
                  <a:pt x="118" y="277"/>
                  <a:pt x="118" y="276"/>
                </a:cubicBezTo>
                <a:cubicBezTo>
                  <a:pt x="121" y="274"/>
                  <a:pt x="122" y="280"/>
                  <a:pt x="119" y="278"/>
                </a:cubicBezTo>
                <a:close/>
                <a:moveTo>
                  <a:pt x="120" y="239"/>
                </a:moveTo>
                <a:cubicBezTo>
                  <a:pt x="119" y="241"/>
                  <a:pt x="117" y="235"/>
                  <a:pt x="119" y="235"/>
                </a:cubicBezTo>
                <a:cubicBezTo>
                  <a:pt x="121" y="234"/>
                  <a:pt x="122" y="238"/>
                  <a:pt x="120" y="239"/>
                </a:cubicBezTo>
                <a:close/>
                <a:moveTo>
                  <a:pt x="133" y="398"/>
                </a:moveTo>
                <a:cubicBezTo>
                  <a:pt x="131" y="392"/>
                  <a:pt x="130" y="386"/>
                  <a:pt x="128" y="380"/>
                </a:cubicBezTo>
                <a:cubicBezTo>
                  <a:pt x="125" y="375"/>
                  <a:pt x="122" y="370"/>
                  <a:pt x="122" y="364"/>
                </a:cubicBezTo>
                <a:cubicBezTo>
                  <a:pt x="122" y="364"/>
                  <a:pt x="123" y="363"/>
                  <a:pt x="123" y="363"/>
                </a:cubicBezTo>
                <a:cubicBezTo>
                  <a:pt x="124" y="363"/>
                  <a:pt x="128" y="373"/>
                  <a:pt x="128" y="376"/>
                </a:cubicBezTo>
                <a:cubicBezTo>
                  <a:pt x="129" y="381"/>
                  <a:pt x="131" y="385"/>
                  <a:pt x="132" y="390"/>
                </a:cubicBezTo>
                <a:cubicBezTo>
                  <a:pt x="132" y="392"/>
                  <a:pt x="136" y="397"/>
                  <a:pt x="135" y="399"/>
                </a:cubicBezTo>
                <a:cubicBezTo>
                  <a:pt x="135" y="403"/>
                  <a:pt x="133" y="398"/>
                  <a:pt x="133" y="398"/>
                </a:cubicBezTo>
                <a:close/>
                <a:moveTo>
                  <a:pt x="134" y="304"/>
                </a:moveTo>
                <a:cubicBezTo>
                  <a:pt x="134" y="304"/>
                  <a:pt x="133" y="304"/>
                  <a:pt x="133" y="303"/>
                </a:cubicBezTo>
                <a:cubicBezTo>
                  <a:pt x="133" y="303"/>
                  <a:pt x="134" y="304"/>
                  <a:pt x="134" y="304"/>
                </a:cubicBezTo>
                <a:close/>
                <a:moveTo>
                  <a:pt x="134" y="250"/>
                </a:moveTo>
                <a:cubicBezTo>
                  <a:pt x="135" y="250"/>
                  <a:pt x="136" y="254"/>
                  <a:pt x="134" y="254"/>
                </a:cubicBezTo>
                <a:cubicBezTo>
                  <a:pt x="134" y="254"/>
                  <a:pt x="132" y="250"/>
                  <a:pt x="134" y="250"/>
                </a:cubicBezTo>
                <a:close/>
                <a:moveTo>
                  <a:pt x="136" y="417"/>
                </a:moveTo>
                <a:cubicBezTo>
                  <a:pt x="137" y="418"/>
                  <a:pt x="137" y="419"/>
                  <a:pt x="138" y="420"/>
                </a:cubicBezTo>
                <a:cubicBezTo>
                  <a:pt x="137" y="420"/>
                  <a:pt x="136" y="418"/>
                  <a:pt x="136" y="417"/>
                </a:cubicBezTo>
                <a:close/>
                <a:moveTo>
                  <a:pt x="137" y="421"/>
                </a:moveTo>
                <a:cubicBezTo>
                  <a:pt x="137" y="422"/>
                  <a:pt x="138" y="420"/>
                  <a:pt x="137" y="421"/>
                </a:cubicBezTo>
                <a:close/>
                <a:moveTo>
                  <a:pt x="135" y="249"/>
                </a:moveTo>
                <a:cubicBezTo>
                  <a:pt x="136" y="248"/>
                  <a:pt x="133" y="247"/>
                  <a:pt x="132" y="246"/>
                </a:cubicBezTo>
                <a:cubicBezTo>
                  <a:pt x="129" y="238"/>
                  <a:pt x="140" y="237"/>
                  <a:pt x="139" y="245"/>
                </a:cubicBezTo>
                <a:cubicBezTo>
                  <a:pt x="139" y="246"/>
                  <a:pt x="138" y="249"/>
                  <a:pt x="135" y="249"/>
                </a:cubicBezTo>
                <a:close/>
                <a:moveTo>
                  <a:pt x="138" y="250"/>
                </a:moveTo>
                <a:cubicBezTo>
                  <a:pt x="138" y="250"/>
                  <a:pt x="138" y="249"/>
                  <a:pt x="138" y="249"/>
                </a:cubicBezTo>
                <a:cubicBezTo>
                  <a:pt x="139" y="248"/>
                  <a:pt x="139" y="250"/>
                  <a:pt x="138" y="250"/>
                </a:cubicBezTo>
                <a:close/>
                <a:moveTo>
                  <a:pt x="140" y="271"/>
                </a:moveTo>
                <a:cubicBezTo>
                  <a:pt x="140" y="271"/>
                  <a:pt x="140" y="270"/>
                  <a:pt x="140" y="271"/>
                </a:cubicBezTo>
                <a:close/>
                <a:moveTo>
                  <a:pt x="139" y="232"/>
                </a:moveTo>
                <a:cubicBezTo>
                  <a:pt x="140" y="232"/>
                  <a:pt x="141" y="232"/>
                  <a:pt x="141" y="232"/>
                </a:cubicBezTo>
                <a:cubicBezTo>
                  <a:pt x="145" y="235"/>
                  <a:pt x="139" y="234"/>
                  <a:pt x="139" y="232"/>
                </a:cubicBezTo>
                <a:close/>
                <a:moveTo>
                  <a:pt x="142" y="304"/>
                </a:moveTo>
                <a:cubicBezTo>
                  <a:pt x="143" y="306"/>
                  <a:pt x="145" y="309"/>
                  <a:pt x="143" y="310"/>
                </a:cubicBezTo>
                <a:cubicBezTo>
                  <a:pt x="144" y="308"/>
                  <a:pt x="142" y="307"/>
                  <a:pt x="142" y="304"/>
                </a:cubicBezTo>
                <a:close/>
                <a:moveTo>
                  <a:pt x="144" y="445"/>
                </a:moveTo>
                <a:cubicBezTo>
                  <a:pt x="144" y="445"/>
                  <a:pt x="144" y="444"/>
                  <a:pt x="144" y="444"/>
                </a:cubicBezTo>
                <a:cubicBezTo>
                  <a:pt x="147" y="445"/>
                  <a:pt x="141" y="446"/>
                  <a:pt x="144" y="445"/>
                </a:cubicBezTo>
                <a:close/>
                <a:moveTo>
                  <a:pt x="144" y="390"/>
                </a:moveTo>
                <a:cubicBezTo>
                  <a:pt x="145" y="390"/>
                  <a:pt x="144" y="391"/>
                  <a:pt x="145" y="391"/>
                </a:cubicBezTo>
                <a:cubicBezTo>
                  <a:pt x="144" y="392"/>
                  <a:pt x="144" y="390"/>
                  <a:pt x="144" y="390"/>
                </a:cubicBezTo>
                <a:close/>
                <a:moveTo>
                  <a:pt x="145" y="345"/>
                </a:moveTo>
                <a:cubicBezTo>
                  <a:pt x="141" y="343"/>
                  <a:pt x="142" y="334"/>
                  <a:pt x="147" y="334"/>
                </a:cubicBezTo>
                <a:cubicBezTo>
                  <a:pt x="153" y="335"/>
                  <a:pt x="151" y="349"/>
                  <a:pt x="145" y="345"/>
                </a:cubicBezTo>
                <a:close/>
                <a:moveTo>
                  <a:pt x="150" y="229"/>
                </a:moveTo>
                <a:cubicBezTo>
                  <a:pt x="151" y="228"/>
                  <a:pt x="152" y="230"/>
                  <a:pt x="151" y="230"/>
                </a:cubicBezTo>
                <a:cubicBezTo>
                  <a:pt x="151" y="231"/>
                  <a:pt x="150" y="229"/>
                  <a:pt x="150" y="229"/>
                </a:cubicBezTo>
                <a:close/>
                <a:moveTo>
                  <a:pt x="152" y="263"/>
                </a:moveTo>
                <a:cubicBezTo>
                  <a:pt x="150" y="260"/>
                  <a:pt x="152" y="259"/>
                  <a:pt x="152" y="263"/>
                </a:cubicBezTo>
                <a:close/>
                <a:moveTo>
                  <a:pt x="156" y="234"/>
                </a:moveTo>
                <a:cubicBezTo>
                  <a:pt x="155" y="233"/>
                  <a:pt x="153" y="230"/>
                  <a:pt x="152" y="229"/>
                </a:cubicBezTo>
                <a:cubicBezTo>
                  <a:pt x="151" y="226"/>
                  <a:pt x="157" y="231"/>
                  <a:pt x="156" y="234"/>
                </a:cubicBezTo>
                <a:close/>
                <a:moveTo>
                  <a:pt x="153" y="303"/>
                </a:moveTo>
                <a:cubicBezTo>
                  <a:pt x="154" y="304"/>
                  <a:pt x="152" y="305"/>
                  <a:pt x="153" y="303"/>
                </a:cubicBezTo>
                <a:close/>
                <a:moveTo>
                  <a:pt x="156" y="299"/>
                </a:moveTo>
                <a:cubicBezTo>
                  <a:pt x="155" y="299"/>
                  <a:pt x="155" y="299"/>
                  <a:pt x="155" y="299"/>
                </a:cubicBezTo>
                <a:cubicBezTo>
                  <a:pt x="155" y="299"/>
                  <a:pt x="156" y="298"/>
                  <a:pt x="156" y="298"/>
                </a:cubicBezTo>
                <a:cubicBezTo>
                  <a:pt x="156" y="298"/>
                  <a:pt x="156" y="298"/>
                  <a:pt x="156" y="299"/>
                </a:cubicBezTo>
                <a:close/>
                <a:moveTo>
                  <a:pt x="157" y="293"/>
                </a:moveTo>
                <a:cubicBezTo>
                  <a:pt x="157" y="293"/>
                  <a:pt x="152" y="289"/>
                  <a:pt x="154" y="288"/>
                </a:cubicBezTo>
                <a:cubicBezTo>
                  <a:pt x="156" y="286"/>
                  <a:pt x="158" y="293"/>
                  <a:pt x="157" y="293"/>
                </a:cubicBezTo>
                <a:close/>
                <a:moveTo>
                  <a:pt x="158" y="227"/>
                </a:moveTo>
                <a:cubicBezTo>
                  <a:pt x="158" y="227"/>
                  <a:pt x="159" y="228"/>
                  <a:pt x="159" y="228"/>
                </a:cubicBezTo>
                <a:cubicBezTo>
                  <a:pt x="158" y="229"/>
                  <a:pt x="158" y="227"/>
                  <a:pt x="158" y="227"/>
                </a:cubicBezTo>
                <a:close/>
                <a:moveTo>
                  <a:pt x="180" y="198"/>
                </a:moveTo>
                <a:cubicBezTo>
                  <a:pt x="180" y="198"/>
                  <a:pt x="179" y="198"/>
                  <a:pt x="179" y="197"/>
                </a:cubicBezTo>
                <a:cubicBezTo>
                  <a:pt x="180" y="197"/>
                  <a:pt x="181" y="198"/>
                  <a:pt x="180" y="198"/>
                </a:cubicBezTo>
                <a:close/>
                <a:moveTo>
                  <a:pt x="177" y="199"/>
                </a:moveTo>
                <a:cubicBezTo>
                  <a:pt x="178" y="199"/>
                  <a:pt x="179" y="201"/>
                  <a:pt x="177" y="200"/>
                </a:cubicBezTo>
                <a:cubicBezTo>
                  <a:pt x="177" y="200"/>
                  <a:pt x="177" y="200"/>
                  <a:pt x="177" y="199"/>
                </a:cubicBezTo>
                <a:close/>
                <a:moveTo>
                  <a:pt x="175" y="198"/>
                </a:moveTo>
                <a:cubicBezTo>
                  <a:pt x="177" y="197"/>
                  <a:pt x="174" y="198"/>
                  <a:pt x="175" y="198"/>
                </a:cubicBezTo>
                <a:close/>
                <a:moveTo>
                  <a:pt x="178" y="260"/>
                </a:moveTo>
                <a:cubicBezTo>
                  <a:pt x="176" y="259"/>
                  <a:pt x="176" y="258"/>
                  <a:pt x="175" y="257"/>
                </a:cubicBezTo>
                <a:cubicBezTo>
                  <a:pt x="176" y="257"/>
                  <a:pt x="178" y="259"/>
                  <a:pt x="178" y="260"/>
                </a:cubicBezTo>
                <a:close/>
                <a:moveTo>
                  <a:pt x="174" y="205"/>
                </a:moveTo>
                <a:cubicBezTo>
                  <a:pt x="173" y="205"/>
                  <a:pt x="175" y="206"/>
                  <a:pt x="174" y="207"/>
                </a:cubicBezTo>
                <a:cubicBezTo>
                  <a:pt x="174" y="207"/>
                  <a:pt x="172" y="205"/>
                  <a:pt x="174" y="205"/>
                </a:cubicBezTo>
                <a:close/>
                <a:moveTo>
                  <a:pt x="173" y="231"/>
                </a:moveTo>
                <a:cubicBezTo>
                  <a:pt x="171" y="230"/>
                  <a:pt x="174" y="232"/>
                  <a:pt x="173" y="231"/>
                </a:cubicBezTo>
                <a:close/>
                <a:moveTo>
                  <a:pt x="170" y="230"/>
                </a:moveTo>
                <a:cubicBezTo>
                  <a:pt x="171" y="230"/>
                  <a:pt x="172" y="233"/>
                  <a:pt x="171" y="234"/>
                </a:cubicBezTo>
                <a:cubicBezTo>
                  <a:pt x="170" y="235"/>
                  <a:pt x="168" y="231"/>
                  <a:pt x="170" y="230"/>
                </a:cubicBezTo>
                <a:close/>
                <a:moveTo>
                  <a:pt x="167" y="193"/>
                </a:moveTo>
                <a:cubicBezTo>
                  <a:pt x="168" y="192"/>
                  <a:pt x="169" y="194"/>
                  <a:pt x="168" y="195"/>
                </a:cubicBezTo>
                <a:cubicBezTo>
                  <a:pt x="167" y="195"/>
                  <a:pt x="167" y="193"/>
                  <a:pt x="167" y="193"/>
                </a:cubicBezTo>
                <a:close/>
                <a:moveTo>
                  <a:pt x="168" y="274"/>
                </a:moveTo>
                <a:cubicBezTo>
                  <a:pt x="167" y="273"/>
                  <a:pt x="167" y="272"/>
                  <a:pt x="166" y="272"/>
                </a:cubicBezTo>
                <a:cubicBezTo>
                  <a:pt x="167" y="272"/>
                  <a:pt x="168" y="273"/>
                  <a:pt x="168" y="274"/>
                </a:cubicBezTo>
                <a:close/>
                <a:moveTo>
                  <a:pt x="166" y="208"/>
                </a:moveTo>
                <a:cubicBezTo>
                  <a:pt x="166" y="208"/>
                  <a:pt x="166" y="208"/>
                  <a:pt x="166" y="207"/>
                </a:cubicBezTo>
                <a:cubicBezTo>
                  <a:pt x="166" y="206"/>
                  <a:pt x="168" y="208"/>
                  <a:pt x="166" y="208"/>
                </a:cubicBezTo>
                <a:close/>
                <a:moveTo>
                  <a:pt x="167" y="224"/>
                </a:moveTo>
                <a:cubicBezTo>
                  <a:pt x="165" y="222"/>
                  <a:pt x="165" y="218"/>
                  <a:pt x="163" y="214"/>
                </a:cubicBezTo>
                <a:cubicBezTo>
                  <a:pt x="166" y="217"/>
                  <a:pt x="166" y="221"/>
                  <a:pt x="167" y="224"/>
                </a:cubicBezTo>
                <a:close/>
                <a:moveTo>
                  <a:pt x="166" y="338"/>
                </a:moveTo>
                <a:cubicBezTo>
                  <a:pt x="164" y="337"/>
                  <a:pt x="166" y="334"/>
                  <a:pt x="166" y="338"/>
                </a:cubicBezTo>
                <a:close/>
                <a:moveTo>
                  <a:pt x="163" y="266"/>
                </a:moveTo>
                <a:cubicBezTo>
                  <a:pt x="165" y="266"/>
                  <a:pt x="165" y="269"/>
                  <a:pt x="166" y="270"/>
                </a:cubicBezTo>
                <a:cubicBezTo>
                  <a:pt x="164" y="270"/>
                  <a:pt x="164" y="267"/>
                  <a:pt x="163" y="266"/>
                </a:cubicBezTo>
                <a:close/>
                <a:moveTo>
                  <a:pt x="161" y="230"/>
                </a:moveTo>
                <a:cubicBezTo>
                  <a:pt x="159" y="230"/>
                  <a:pt x="160" y="228"/>
                  <a:pt x="161" y="230"/>
                </a:cubicBezTo>
                <a:close/>
                <a:moveTo>
                  <a:pt x="162" y="222"/>
                </a:moveTo>
                <a:cubicBezTo>
                  <a:pt x="162" y="222"/>
                  <a:pt x="164" y="223"/>
                  <a:pt x="164" y="223"/>
                </a:cubicBezTo>
                <a:cubicBezTo>
                  <a:pt x="165" y="223"/>
                  <a:pt x="166" y="224"/>
                  <a:pt x="165" y="226"/>
                </a:cubicBezTo>
                <a:cubicBezTo>
                  <a:pt x="165" y="226"/>
                  <a:pt x="164" y="226"/>
                  <a:pt x="164" y="225"/>
                </a:cubicBezTo>
                <a:cubicBezTo>
                  <a:pt x="164" y="226"/>
                  <a:pt x="163" y="229"/>
                  <a:pt x="162" y="229"/>
                </a:cubicBezTo>
                <a:cubicBezTo>
                  <a:pt x="159" y="229"/>
                  <a:pt x="161" y="222"/>
                  <a:pt x="162" y="222"/>
                </a:cubicBezTo>
                <a:close/>
                <a:moveTo>
                  <a:pt x="162" y="231"/>
                </a:moveTo>
                <a:cubicBezTo>
                  <a:pt x="162" y="231"/>
                  <a:pt x="163" y="232"/>
                  <a:pt x="162" y="232"/>
                </a:cubicBezTo>
                <a:cubicBezTo>
                  <a:pt x="162" y="232"/>
                  <a:pt x="162" y="231"/>
                  <a:pt x="162" y="231"/>
                </a:cubicBezTo>
                <a:close/>
                <a:moveTo>
                  <a:pt x="163" y="344"/>
                </a:moveTo>
                <a:cubicBezTo>
                  <a:pt x="164" y="346"/>
                  <a:pt x="166" y="350"/>
                  <a:pt x="167" y="353"/>
                </a:cubicBezTo>
                <a:cubicBezTo>
                  <a:pt x="165" y="351"/>
                  <a:pt x="164" y="347"/>
                  <a:pt x="163" y="344"/>
                </a:cubicBezTo>
                <a:close/>
                <a:moveTo>
                  <a:pt x="167" y="354"/>
                </a:moveTo>
                <a:cubicBezTo>
                  <a:pt x="167" y="353"/>
                  <a:pt x="168" y="355"/>
                  <a:pt x="168" y="355"/>
                </a:cubicBezTo>
                <a:cubicBezTo>
                  <a:pt x="168" y="355"/>
                  <a:pt x="167" y="355"/>
                  <a:pt x="167" y="354"/>
                </a:cubicBezTo>
                <a:close/>
                <a:moveTo>
                  <a:pt x="170" y="358"/>
                </a:moveTo>
                <a:cubicBezTo>
                  <a:pt x="169" y="358"/>
                  <a:pt x="168" y="356"/>
                  <a:pt x="168" y="356"/>
                </a:cubicBezTo>
                <a:cubicBezTo>
                  <a:pt x="168" y="355"/>
                  <a:pt x="171" y="358"/>
                  <a:pt x="170" y="358"/>
                </a:cubicBezTo>
                <a:close/>
                <a:moveTo>
                  <a:pt x="171" y="267"/>
                </a:moveTo>
                <a:cubicBezTo>
                  <a:pt x="169" y="267"/>
                  <a:pt x="170" y="265"/>
                  <a:pt x="171" y="267"/>
                </a:cubicBezTo>
                <a:close/>
                <a:moveTo>
                  <a:pt x="173" y="269"/>
                </a:moveTo>
                <a:cubicBezTo>
                  <a:pt x="171" y="269"/>
                  <a:pt x="172" y="267"/>
                  <a:pt x="173" y="269"/>
                </a:cubicBezTo>
                <a:close/>
                <a:moveTo>
                  <a:pt x="173" y="268"/>
                </a:moveTo>
                <a:cubicBezTo>
                  <a:pt x="172" y="269"/>
                  <a:pt x="170" y="264"/>
                  <a:pt x="173" y="264"/>
                </a:cubicBezTo>
                <a:cubicBezTo>
                  <a:pt x="175" y="264"/>
                  <a:pt x="175" y="268"/>
                  <a:pt x="173" y="268"/>
                </a:cubicBezTo>
                <a:close/>
                <a:moveTo>
                  <a:pt x="177" y="280"/>
                </a:moveTo>
                <a:cubicBezTo>
                  <a:pt x="175" y="280"/>
                  <a:pt x="175" y="278"/>
                  <a:pt x="174" y="277"/>
                </a:cubicBezTo>
                <a:cubicBezTo>
                  <a:pt x="175" y="277"/>
                  <a:pt x="176" y="279"/>
                  <a:pt x="177" y="280"/>
                </a:cubicBezTo>
                <a:close/>
                <a:moveTo>
                  <a:pt x="179" y="434"/>
                </a:moveTo>
                <a:cubicBezTo>
                  <a:pt x="179" y="433"/>
                  <a:pt x="178" y="432"/>
                  <a:pt x="179" y="431"/>
                </a:cubicBezTo>
                <a:cubicBezTo>
                  <a:pt x="179" y="432"/>
                  <a:pt x="179" y="433"/>
                  <a:pt x="179" y="434"/>
                </a:cubicBezTo>
                <a:close/>
                <a:moveTo>
                  <a:pt x="178" y="387"/>
                </a:moveTo>
                <a:cubicBezTo>
                  <a:pt x="177" y="387"/>
                  <a:pt x="174" y="383"/>
                  <a:pt x="176" y="381"/>
                </a:cubicBezTo>
                <a:cubicBezTo>
                  <a:pt x="176" y="381"/>
                  <a:pt x="178" y="381"/>
                  <a:pt x="178" y="381"/>
                </a:cubicBezTo>
                <a:cubicBezTo>
                  <a:pt x="178" y="380"/>
                  <a:pt x="176" y="378"/>
                  <a:pt x="176" y="377"/>
                </a:cubicBezTo>
                <a:cubicBezTo>
                  <a:pt x="176" y="377"/>
                  <a:pt x="179" y="381"/>
                  <a:pt x="179" y="383"/>
                </a:cubicBezTo>
                <a:cubicBezTo>
                  <a:pt x="179" y="383"/>
                  <a:pt x="178" y="387"/>
                  <a:pt x="178" y="387"/>
                </a:cubicBezTo>
                <a:close/>
                <a:moveTo>
                  <a:pt x="178" y="354"/>
                </a:moveTo>
                <a:cubicBezTo>
                  <a:pt x="179" y="353"/>
                  <a:pt x="180" y="356"/>
                  <a:pt x="179" y="356"/>
                </a:cubicBezTo>
                <a:cubicBezTo>
                  <a:pt x="178" y="356"/>
                  <a:pt x="178" y="354"/>
                  <a:pt x="178" y="354"/>
                </a:cubicBezTo>
                <a:close/>
                <a:moveTo>
                  <a:pt x="181" y="290"/>
                </a:moveTo>
                <a:cubicBezTo>
                  <a:pt x="179" y="287"/>
                  <a:pt x="177" y="285"/>
                  <a:pt x="176" y="284"/>
                </a:cubicBezTo>
                <a:cubicBezTo>
                  <a:pt x="176" y="281"/>
                  <a:pt x="179" y="285"/>
                  <a:pt x="179" y="285"/>
                </a:cubicBezTo>
                <a:cubicBezTo>
                  <a:pt x="180" y="287"/>
                  <a:pt x="180" y="288"/>
                  <a:pt x="181" y="290"/>
                </a:cubicBezTo>
                <a:cubicBezTo>
                  <a:pt x="181" y="290"/>
                  <a:pt x="181" y="291"/>
                  <a:pt x="181" y="291"/>
                </a:cubicBezTo>
                <a:cubicBezTo>
                  <a:pt x="181" y="291"/>
                  <a:pt x="181" y="290"/>
                  <a:pt x="181" y="290"/>
                </a:cubicBezTo>
                <a:close/>
                <a:moveTo>
                  <a:pt x="182" y="217"/>
                </a:moveTo>
                <a:cubicBezTo>
                  <a:pt x="182" y="218"/>
                  <a:pt x="181" y="217"/>
                  <a:pt x="181" y="217"/>
                </a:cubicBezTo>
                <a:cubicBezTo>
                  <a:pt x="179" y="215"/>
                  <a:pt x="183" y="216"/>
                  <a:pt x="182" y="217"/>
                </a:cubicBezTo>
                <a:close/>
                <a:moveTo>
                  <a:pt x="310" y="745"/>
                </a:moveTo>
                <a:cubicBezTo>
                  <a:pt x="309" y="747"/>
                  <a:pt x="304" y="748"/>
                  <a:pt x="302" y="747"/>
                </a:cubicBezTo>
                <a:cubicBezTo>
                  <a:pt x="301" y="747"/>
                  <a:pt x="299" y="748"/>
                  <a:pt x="298" y="747"/>
                </a:cubicBezTo>
                <a:cubicBezTo>
                  <a:pt x="297" y="747"/>
                  <a:pt x="298" y="744"/>
                  <a:pt x="296" y="744"/>
                </a:cubicBezTo>
                <a:cubicBezTo>
                  <a:pt x="300" y="744"/>
                  <a:pt x="295" y="742"/>
                  <a:pt x="295" y="742"/>
                </a:cubicBezTo>
                <a:cubicBezTo>
                  <a:pt x="294" y="739"/>
                  <a:pt x="301" y="738"/>
                  <a:pt x="302" y="738"/>
                </a:cubicBezTo>
                <a:cubicBezTo>
                  <a:pt x="304" y="738"/>
                  <a:pt x="311" y="740"/>
                  <a:pt x="310" y="745"/>
                </a:cubicBezTo>
                <a:close/>
                <a:moveTo>
                  <a:pt x="295" y="179"/>
                </a:moveTo>
                <a:cubicBezTo>
                  <a:pt x="292" y="179"/>
                  <a:pt x="292" y="177"/>
                  <a:pt x="295" y="179"/>
                </a:cubicBezTo>
                <a:close/>
                <a:moveTo>
                  <a:pt x="292" y="164"/>
                </a:moveTo>
                <a:cubicBezTo>
                  <a:pt x="292" y="164"/>
                  <a:pt x="292" y="163"/>
                  <a:pt x="292" y="163"/>
                </a:cubicBezTo>
                <a:cubicBezTo>
                  <a:pt x="292" y="162"/>
                  <a:pt x="294" y="164"/>
                  <a:pt x="292" y="164"/>
                </a:cubicBezTo>
                <a:close/>
                <a:moveTo>
                  <a:pt x="295" y="173"/>
                </a:moveTo>
                <a:cubicBezTo>
                  <a:pt x="294" y="173"/>
                  <a:pt x="294" y="171"/>
                  <a:pt x="295" y="172"/>
                </a:cubicBezTo>
                <a:cubicBezTo>
                  <a:pt x="295" y="172"/>
                  <a:pt x="295" y="173"/>
                  <a:pt x="295" y="173"/>
                </a:cubicBezTo>
                <a:close/>
                <a:moveTo>
                  <a:pt x="293" y="108"/>
                </a:moveTo>
                <a:cubicBezTo>
                  <a:pt x="294" y="106"/>
                  <a:pt x="296" y="110"/>
                  <a:pt x="297" y="112"/>
                </a:cubicBezTo>
                <a:cubicBezTo>
                  <a:pt x="295" y="112"/>
                  <a:pt x="292" y="110"/>
                  <a:pt x="293" y="108"/>
                </a:cubicBezTo>
                <a:close/>
                <a:moveTo>
                  <a:pt x="296" y="183"/>
                </a:moveTo>
                <a:cubicBezTo>
                  <a:pt x="298" y="182"/>
                  <a:pt x="300" y="186"/>
                  <a:pt x="298" y="187"/>
                </a:cubicBezTo>
                <a:cubicBezTo>
                  <a:pt x="296" y="189"/>
                  <a:pt x="294" y="184"/>
                  <a:pt x="296" y="183"/>
                </a:cubicBezTo>
                <a:close/>
                <a:moveTo>
                  <a:pt x="297" y="144"/>
                </a:moveTo>
                <a:cubicBezTo>
                  <a:pt x="299" y="144"/>
                  <a:pt x="298" y="146"/>
                  <a:pt x="297" y="144"/>
                </a:cubicBezTo>
                <a:close/>
                <a:moveTo>
                  <a:pt x="300" y="188"/>
                </a:moveTo>
                <a:cubicBezTo>
                  <a:pt x="299" y="187"/>
                  <a:pt x="301" y="189"/>
                  <a:pt x="300" y="188"/>
                </a:cubicBezTo>
                <a:close/>
                <a:moveTo>
                  <a:pt x="301" y="225"/>
                </a:moveTo>
                <a:cubicBezTo>
                  <a:pt x="301" y="225"/>
                  <a:pt x="300" y="224"/>
                  <a:pt x="300" y="224"/>
                </a:cubicBezTo>
                <a:cubicBezTo>
                  <a:pt x="301" y="224"/>
                  <a:pt x="302" y="225"/>
                  <a:pt x="301" y="225"/>
                </a:cubicBezTo>
                <a:close/>
                <a:moveTo>
                  <a:pt x="300" y="518"/>
                </a:moveTo>
                <a:cubicBezTo>
                  <a:pt x="301" y="519"/>
                  <a:pt x="299" y="517"/>
                  <a:pt x="299" y="517"/>
                </a:cubicBezTo>
                <a:cubicBezTo>
                  <a:pt x="299" y="516"/>
                  <a:pt x="300" y="517"/>
                  <a:pt x="300" y="518"/>
                </a:cubicBezTo>
                <a:close/>
                <a:moveTo>
                  <a:pt x="300" y="733"/>
                </a:moveTo>
                <a:cubicBezTo>
                  <a:pt x="301" y="733"/>
                  <a:pt x="299" y="734"/>
                  <a:pt x="299" y="734"/>
                </a:cubicBezTo>
                <a:cubicBezTo>
                  <a:pt x="298" y="733"/>
                  <a:pt x="300" y="733"/>
                  <a:pt x="300" y="733"/>
                </a:cubicBezTo>
                <a:close/>
                <a:moveTo>
                  <a:pt x="298" y="724"/>
                </a:moveTo>
                <a:cubicBezTo>
                  <a:pt x="298" y="723"/>
                  <a:pt x="300" y="725"/>
                  <a:pt x="298" y="724"/>
                </a:cubicBezTo>
                <a:close/>
                <a:moveTo>
                  <a:pt x="297" y="681"/>
                </a:moveTo>
                <a:cubicBezTo>
                  <a:pt x="297" y="681"/>
                  <a:pt x="297" y="681"/>
                  <a:pt x="297" y="681"/>
                </a:cubicBezTo>
                <a:cubicBezTo>
                  <a:pt x="298" y="681"/>
                  <a:pt x="298" y="682"/>
                  <a:pt x="297" y="681"/>
                </a:cubicBezTo>
                <a:close/>
                <a:moveTo>
                  <a:pt x="303" y="683"/>
                </a:moveTo>
                <a:cubicBezTo>
                  <a:pt x="303" y="683"/>
                  <a:pt x="304" y="682"/>
                  <a:pt x="305" y="683"/>
                </a:cubicBezTo>
                <a:cubicBezTo>
                  <a:pt x="305" y="683"/>
                  <a:pt x="303" y="683"/>
                  <a:pt x="303" y="683"/>
                </a:cubicBezTo>
                <a:close/>
                <a:moveTo>
                  <a:pt x="304" y="731"/>
                </a:moveTo>
                <a:cubicBezTo>
                  <a:pt x="305" y="731"/>
                  <a:pt x="302" y="730"/>
                  <a:pt x="304" y="731"/>
                </a:cubicBezTo>
                <a:close/>
                <a:moveTo>
                  <a:pt x="303" y="675"/>
                </a:moveTo>
                <a:cubicBezTo>
                  <a:pt x="305" y="673"/>
                  <a:pt x="305" y="677"/>
                  <a:pt x="303" y="675"/>
                </a:cubicBezTo>
                <a:close/>
                <a:moveTo>
                  <a:pt x="302" y="671"/>
                </a:moveTo>
                <a:cubicBezTo>
                  <a:pt x="302" y="669"/>
                  <a:pt x="304" y="669"/>
                  <a:pt x="305" y="670"/>
                </a:cubicBezTo>
                <a:cubicBezTo>
                  <a:pt x="306" y="671"/>
                  <a:pt x="302" y="672"/>
                  <a:pt x="302" y="671"/>
                </a:cubicBezTo>
                <a:close/>
                <a:moveTo>
                  <a:pt x="304" y="158"/>
                </a:moveTo>
                <a:cubicBezTo>
                  <a:pt x="304" y="158"/>
                  <a:pt x="303" y="158"/>
                  <a:pt x="304" y="157"/>
                </a:cubicBezTo>
                <a:cubicBezTo>
                  <a:pt x="304" y="157"/>
                  <a:pt x="305" y="158"/>
                  <a:pt x="304" y="158"/>
                </a:cubicBezTo>
                <a:close/>
                <a:moveTo>
                  <a:pt x="304" y="613"/>
                </a:moveTo>
                <a:cubicBezTo>
                  <a:pt x="305" y="615"/>
                  <a:pt x="301" y="614"/>
                  <a:pt x="302" y="612"/>
                </a:cubicBezTo>
                <a:cubicBezTo>
                  <a:pt x="302" y="612"/>
                  <a:pt x="304" y="612"/>
                  <a:pt x="304" y="613"/>
                </a:cubicBezTo>
                <a:close/>
                <a:moveTo>
                  <a:pt x="305" y="735"/>
                </a:moveTo>
                <a:cubicBezTo>
                  <a:pt x="307" y="734"/>
                  <a:pt x="308" y="736"/>
                  <a:pt x="305" y="735"/>
                </a:cubicBezTo>
                <a:close/>
                <a:moveTo>
                  <a:pt x="307" y="737"/>
                </a:moveTo>
                <a:cubicBezTo>
                  <a:pt x="307" y="737"/>
                  <a:pt x="308" y="737"/>
                  <a:pt x="309" y="737"/>
                </a:cubicBezTo>
                <a:cubicBezTo>
                  <a:pt x="308" y="737"/>
                  <a:pt x="308" y="737"/>
                  <a:pt x="307" y="737"/>
                </a:cubicBezTo>
                <a:close/>
                <a:moveTo>
                  <a:pt x="311" y="752"/>
                </a:moveTo>
                <a:cubicBezTo>
                  <a:pt x="311" y="752"/>
                  <a:pt x="311" y="752"/>
                  <a:pt x="311" y="752"/>
                </a:cubicBezTo>
                <a:cubicBezTo>
                  <a:pt x="313" y="752"/>
                  <a:pt x="312" y="753"/>
                  <a:pt x="311" y="752"/>
                </a:cubicBezTo>
                <a:close/>
                <a:moveTo>
                  <a:pt x="314" y="737"/>
                </a:moveTo>
                <a:cubicBezTo>
                  <a:pt x="315" y="736"/>
                  <a:pt x="316" y="737"/>
                  <a:pt x="316" y="738"/>
                </a:cubicBezTo>
                <a:cubicBezTo>
                  <a:pt x="317" y="739"/>
                  <a:pt x="313" y="738"/>
                  <a:pt x="314" y="737"/>
                </a:cubicBezTo>
                <a:close/>
                <a:moveTo>
                  <a:pt x="313" y="737"/>
                </a:moveTo>
                <a:cubicBezTo>
                  <a:pt x="309" y="737"/>
                  <a:pt x="308" y="733"/>
                  <a:pt x="302" y="734"/>
                </a:cubicBezTo>
                <a:cubicBezTo>
                  <a:pt x="303" y="733"/>
                  <a:pt x="305" y="733"/>
                  <a:pt x="306" y="732"/>
                </a:cubicBezTo>
                <a:cubicBezTo>
                  <a:pt x="306" y="732"/>
                  <a:pt x="305" y="731"/>
                  <a:pt x="305" y="732"/>
                </a:cubicBezTo>
                <a:cubicBezTo>
                  <a:pt x="305" y="731"/>
                  <a:pt x="306" y="731"/>
                  <a:pt x="306" y="731"/>
                </a:cubicBezTo>
                <a:cubicBezTo>
                  <a:pt x="307" y="729"/>
                  <a:pt x="304" y="729"/>
                  <a:pt x="306" y="728"/>
                </a:cubicBezTo>
                <a:cubicBezTo>
                  <a:pt x="307" y="727"/>
                  <a:pt x="308" y="728"/>
                  <a:pt x="310" y="728"/>
                </a:cubicBezTo>
                <a:cubicBezTo>
                  <a:pt x="310" y="728"/>
                  <a:pt x="313" y="728"/>
                  <a:pt x="315" y="729"/>
                </a:cubicBezTo>
                <a:cubicBezTo>
                  <a:pt x="319" y="730"/>
                  <a:pt x="318" y="736"/>
                  <a:pt x="313" y="737"/>
                </a:cubicBezTo>
                <a:close/>
                <a:moveTo>
                  <a:pt x="306" y="205"/>
                </a:moveTo>
                <a:cubicBezTo>
                  <a:pt x="307" y="205"/>
                  <a:pt x="306" y="206"/>
                  <a:pt x="306" y="206"/>
                </a:cubicBezTo>
                <a:cubicBezTo>
                  <a:pt x="304" y="205"/>
                  <a:pt x="306" y="204"/>
                  <a:pt x="306" y="205"/>
                </a:cubicBezTo>
                <a:close/>
                <a:moveTo>
                  <a:pt x="305" y="103"/>
                </a:moveTo>
                <a:cubicBezTo>
                  <a:pt x="307" y="102"/>
                  <a:pt x="308" y="105"/>
                  <a:pt x="306" y="104"/>
                </a:cubicBezTo>
                <a:cubicBezTo>
                  <a:pt x="305" y="104"/>
                  <a:pt x="305" y="103"/>
                  <a:pt x="305" y="103"/>
                </a:cubicBezTo>
                <a:close/>
                <a:moveTo>
                  <a:pt x="311" y="167"/>
                </a:moveTo>
                <a:cubicBezTo>
                  <a:pt x="311" y="167"/>
                  <a:pt x="311" y="167"/>
                  <a:pt x="311" y="167"/>
                </a:cubicBezTo>
                <a:cubicBezTo>
                  <a:pt x="311" y="167"/>
                  <a:pt x="311" y="167"/>
                  <a:pt x="312" y="167"/>
                </a:cubicBezTo>
                <a:cubicBezTo>
                  <a:pt x="312" y="167"/>
                  <a:pt x="311" y="167"/>
                  <a:pt x="311" y="167"/>
                </a:cubicBezTo>
                <a:close/>
                <a:moveTo>
                  <a:pt x="310" y="638"/>
                </a:moveTo>
                <a:cubicBezTo>
                  <a:pt x="314" y="639"/>
                  <a:pt x="311" y="641"/>
                  <a:pt x="310" y="638"/>
                </a:cubicBezTo>
                <a:close/>
                <a:moveTo>
                  <a:pt x="311" y="123"/>
                </a:moveTo>
                <a:cubicBezTo>
                  <a:pt x="309" y="123"/>
                  <a:pt x="312" y="124"/>
                  <a:pt x="311" y="123"/>
                </a:cubicBezTo>
                <a:close/>
                <a:moveTo>
                  <a:pt x="310" y="111"/>
                </a:moveTo>
                <a:cubicBezTo>
                  <a:pt x="311" y="111"/>
                  <a:pt x="312" y="112"/>
                  <a:pt x="311" y="112"/>
                </a:cubicBezTo>
                <a:cubicBezTo>
                  <a:pt x="311" y="112"/>
                  <a:pt x="310" y="112"/>
                  <a:pt x="310" y="111"/>
                </a:cubicBezTo>
                <a:close/>
                <a:moveTo>
                  <a:pt x="308" y="612"/>
                </a:moveTo>
                <a:cubicBezTo>
                  <a:pt x="308" y="611"/>
                  <a:pt x="310" y="612"/>
                  <a:pt x="310" y="612"/>
                </a:cubicBezTo>
                <a:cubicBezTo>
                  <a:pt x="311" y="614"/>
                  <a:pt x="308" y="613"/>
                  <a:pt x="308" y="612"/>
                </a:cubicBezTo>
                <a:close/>
                <a:moveTo>
                  <a:pt x="316" y="436"/>
                </a:moveTo>
                <a:cubicBezTo>
                  <a:pt x="317" y="435"/>
                  <a:pt x="318" y="436"/>
                  <a:pt x="318" y="437"/>
                </a:cubicBezTo>
                <a:cubicBezTo>
                  <a:pt x="320" y="439"/>
                  <a:pt x="316" y="436"/>
                  <a:pt x="316" y="436"/>
                </a:cubicBezTo>
                <a:close/>
                <a:moveTo>
                  <a:pt x="317" y="526"/>
                </a:moveTo>
                <a:cubicBezTo>
                  <a:pt x="317" y="526"/>
                  <a:pt x="318" y="527"/>
                  <a:pt x="319" y="528"/>
                </a:cubicBezTo>
                <a:cubicBezTo>
                  <a:pt x="319" y="529"/>
                  <a:pt x="317" y="527"/>
                  <a:pt x="317" y="526"/>
                </a:cubicBezTo>
                <a:close/>
                <a:moveTo>
                  <a:pt x="316" y="682"/>
                </a:moveTo>
                <a:cubicBezTo>
                  <a:pt x="318" y="683"/>
                  <a:pt x="316" y="684"/>
                  <a:pt x="316" y="682"/>
                </a:cubicBezTo>
                <a:close/>
                <a:moveTo>
                  <a:pt x="315" y="197"/>
                </a:moveTo>
                <a:cubicBezTo>
                  <a:pt x="315" y="196"/>
                  <a:pt x="317" y="197"/>
                  <a:pt x="316" y="198"/>
                </a:cubicBezTo>
                <a:cubicBezTo>
                  <a:pt x="316" y="198"/>
                  <a:pt x="315" y="197"/>
                  <a:pt x="315" y="197"/>
                </a:cubicBezTo>
                <a:close/>
                <a:moveTo>
                  <a:pt x="315" y="98"/>
                </a:moveTo>
                <a:cubicBezTo>
                  <a:pt x="313" y="97"/>
                  <a:pt x="318" y="96"/>
                  <a:pt x="317" y="98"/>
                </a:cubicBezTo>
                <a:cubicBezTo>
                  <a:pt x="316" y="98"/>
                  <a:pt x="316" y="98"/>
                  <a:pt x="315" y="98"/>
                </a:cubicBezTo>
                <a:close/>
                <a:moveTo>
                  <a:pt x="314" y="99"/>
                </a:moveTo>
                <a:cubicBezTo>
                  <a:pt x="317" y="99"/>
                  <a:pt x="315" y="102"/>
                  <a:pt x="314" y="99"/>
                </a:cubicBezTo>
                <a:close/>
                <a:moveTo>
                  <a:pt x="314" y="129"/>
                </a:moveTo>
                <a:cubicBezTo>
                  <a:pt x="314" y="129"/>
                  <a:pt x="314" y="129"/>
                  <a:pt x="314" y="129"/>
                </a:cubicBezTo>
                <a:cubicBezTo>
                  <a:pt x="311" y="127"/>
                  <a:pt x="317" y="129"/>
                  <a:pt x="314" y="129"/>
                </a:cubicBezTo>
                <a:close/>
                <a:moveTo>
                  <a:pt x="313" y="166"/>
                </a:moveTo>
                <a:cubicBezTo>
                  <a:pt x="315" y="165"/>
                  <a:pt x="313" y="168"/>
                  <a:pt x="313" y="166"/>
                </a:cubicBezTo>
                <a:cubicBezTo>
                  <a:pt x="312" y="166"/>
                  <a:pt x="313" y="166"/>
                  <a:pt x="313" y="166"/>
                </a:cubicBezTo>
                <a:close/>
                <a:moveTo>
                  <a:pt x="313" y="636"/>
                </a:moveTo>
                <a:cubicBezTo>
                  <a:pt x="313" y="636"/>
                  <a:pt x="314" y="637"/>
                  <a:pt x="314" y="637"/>
                </a:cubicBezTo>
                <a:cubicBezTo>
                  <a:pt x="316" y="639"/>
                  <a:pt x="311" y="637"/>
                  <a:pt x="313" y="636"/>
                </a:cubicBezTo>
                <a:close/>
                <a:moveTo>
                  <a:pt x="316" y="540"/>
                </a:moveTo>
                <a:cubicBezTo>
                  <a:pt x="317" y="539"/>
                  <a:pt x="318" y="540"/>
                  <a:pt x="319" y="541"/>
                </a:cubicBezTo>
                <a:cubicBezTo>
                  <a:pt x="319" y="542"/>
                  <a:pt x="316" y="541"/>
                  <a:pt x="316" y="540"/>
                </a:cubicBezTo>
                <a:close/>
                <a:moveTo>
                  <a:pt x="318" y="161"/>
                </a:moveTo>
                <a:cubicBezTo>
                  <a:pt x="318" y="162"/>
                  <a:pt x="317" y="161"/>
                  <a:pt x="317" y="161"/>
                </a:cubicBezTo>
                <a:cubicBezTo>
                  <a:pt x="315" y="158"/>
                  <a:pt x="320" y="159"/>
                  <a:pt x="318" y="161"/>
                </a:cubicBezTo>
                <a:close/>
                <a:moveTo>
                  <a:pt x="317" y="121"/>
                </a:moveTo>
                <a:cubicBezTo>
                  <a:pt x="319" y="122"/>
                  <a:pt x="316" y="121"/>
                  <a:pt x="317" y="121"/>
                </a:cubicBezTo>
                <a:close/>
                <a:moveTo>
                  <a:pt x="318" y="139"/>
                </a:moveTo>
                <a:cubicBezTo>
                  <a:pt x="319" y="138"/>
                  <a:pt x="320" y="141"/>
                  <a:pt x="319" y="140"/>
                </a:cubicBezTo>
                <a:cubicBezTo>
                  <a:pt x="319" y="140"/>
                  <a:pt x="318" y="140"/>
                  <a:pt x="318" y="139"/>
                </a:cubicBezTo>
                <a:close/>
                <a:moveTo>
                  <a:pt x="318" y="103"/>
                </a:moveTo>
                <a:cubicBezTo>
                  <a:pt x="319" y="103"/>
                  <a:pt x="319" y="104"/>
                  <a:pt x="319" y="104"/>
                </a:cubicBezTo>
                <a:cubicBezTo>
                  <a:pt x="319" y="104"/>
                  <a:pt x="319" y="104"/>
                  <a:pt x="319" y="104"/>
                </a:cubicBezTo>
                <a:cubicBezTo>
                  <a:pt x="319" y="103"/>
                  <a:pt x="318" y="103"/>
                  <a:pt x="318" y="103"/>
                </a:cubicBezTo>
                <a:close/>
                <a:moveTo>
                  <a:pt x="319" y="603"/>
                </a:moveTo>
                <a:cubicBezTo>
                  <a:pt x="320" y="602"/>
                  <a:pt x="321" y="603"/>
                  <a:pt x="321" y="603"/>
                </a:cubicBezTo>
                <a:cubicBezTo>
                  <a:pt x="321" y="605"/>
                  <a:pt x="318" y="603"/>
                  <a:pt x="319" y="603"/>
                </a:cubicBezTo>
                <a:close/>
                <a:moveTo>
                  <a:pt x="322" y="158"/>
                </a:moveTo>
                <a:cubicBezTo>
                  <a:pt x="321" y="159"/>
                  <a:pt x="320" y="157"/>
                  <a:pt x="321" y="157"/>
                </a:cubicBezTo>
                <a:cubicBezTo>
                  <a:pt x="322" y="157"/>
                  <a:pt x="322" y="158"/>
                  <a:pt x="322" y="158"/>
                </a:cubicBezTo>
                <a:close/>
                <a:moveTo>
                  <a:pt x="322" y="131"/>
                </a:moveTo>
                <a:cubicBezTo>
                  <a:pt x="323" y="132"/>
                  <a:pt x="321" y="131"/>
                  <a:pt x="322" y="131"/>
                </a:cubicBezTo>
                <a:close/>
                <a:moveTo>
                  <a:pt x="321" y="762"/>
                </a:moveTo>
                <a:cubicBezTo>
                  <a:pt x="322" y="762"/>
                  <a:pt x="323" y="762"/>
                  <a:pt x="324" y="763"/>
                </a:cubicBezTo>
                <a:cubicBezTo>
                  <a:pt x="325" y="766"/>
                  <a:pt x="316" y="764"/>
                  <a:pt x="321" y="762"/>
                </a:cubicBezTo>
                <a:close/>
                <a:moveTo>
                  <a:pt x="328" y="213"/>
                </a:moveTo>
                <a:cubicBezTo>
                  <a:pt x="328" y="213"/>
                  <a:pt x="327" y="213"/>
                  <a:pt x="327" y="212"/>
                </a:cubicBezTo>
                <a:cubicBezTo>
                  <a:pt x="325" y="210"/>
                  <a:pt x="330" y="211"/>
                  <a:pt x="328" y="213"/>
                </a:cubicBezTo>
                <a:close/>
                <a:moveTo>
                  <a:pt x="326" y="141"/>
                </a:moveTo>
                <a:cubicBezTo>
                  <a:pt x="326" y="141"/>
                  <a:pt x="327" y="142"/>
                  <a:pt x="327" y="142"/>
                </a:cubicBezTo>
                <a:cubicBezTo>
                  <a:pt x="327" y="142"/>
                  <a:pt x="326" y="142"/>
                  <a:pt x="326" y="141"/>
                </a:cubicBezTo>
                <a:close/>
                <a:moveTo>
                  <a:pt x="340" y="128"/>
                </a:moveTo>
                <a:cubicBezTo>
                  <a:pt x="342" y="128"/>
                  <a:pt x="347" y="132"/>
                  <a:pt x="349" y="135"/>
                </a:cubicBezTo>
                <a:cubicBezTo>
                  <a:pt x="349" y="135"/>
                  <a:pt x="351" y="135"/>
                  <a:pt x="350" y="136"/>
                </a:cubicBezTo>
                <a:cubicBezTo>
                  <a:pt x="349" y="137"/>
                  <a:pt x="345" y="134"/>
                  <a:pt x="346" y="135"/>
                </a:cubicBezTo>
                <a:cubicBezTo>
                  <a:pt x="344" y="134"/>
                  <a:pt x="343" y="131"/>
                  <a:pt x="342" y="130"/>
                </a:cubicBezTo>
                <a:cubicBezTo>
                  <a:pt x="338" y="126"/>
                  <a:pt x="333" y="125"/>
                  <a:pt x="330" y="121"/>
                </a:cubicBezTo>
                <a:cubicBezTo>
                  <a:pt x="334" y="121"/>
                  <a:pt x="336" y="126"/>
                  <a:pt x="340" y="128"/>
                </a:cubicBezTo>
                <a:close/>
                <a:moveTo>
                  <a:pt x="331" y="113"/>
                </a:moveTo>
                <a:cubicBezTo>
                  <a:pt x="332" y="112"/>
                  <a:pt x="332" y="114"/>
                  <a:pt x="332" y="114"/>
                </a:cubicBezTo>
                <a:cubicBezTo>
                  <a:pt x="331" y="114"/>
                  <a:pt x="331" y="113"/>
                  <a:pt x="331" y="113"/>
                </a:cubicBezTo>
                <a:close/>
                <a:moveTo>
                  <a:pt x="335" y="82"/>
                </a:moveTo>
                <a:cubicBezTo>
                  <a:pt x="334" y="81"/>
                  <a:pt x="337" y="82"/>
                  <a:pt x="335" y="82"/>
                </a:cubicBezTo>
                <a:close/>
                <a:moveTo>
                  <a:pt x="337" y="101"/>
                </a:moveTo>
                <a:cubicBezTo>
                  <a:pt x="338" y="100"/>
                  <a:pt x="338" y="102"/>
                  <a:pt x="339" y="101"/>
                </a:cubicBezTo>
                <a:cubicBezTo>
                  <a:pt x="339" y="102"/>
                  <a:pt x="337" y="102"/>
                  <a:pt x="337" y="101"/>
                </a:cubicBezTo>
                <a:close/>
                <a:moveTo>
                  <a:pt x="355" y="124"/>
                </a:moveTo>
                <a:cubicBezTo>
                  <a:pt x="354" y="123"/>
                  <a:pt x="352" y="122"/>
                  <a:pt x="351" y="120"/>
                </a:cubicBezTo>
                <a:cubicBezTo>
                  <a:pt x="353" y="121"/>
                  <a:pt x="354" y="122"/>
                  <a:pt x="355" y="124"/>
                </a:cubicBezTo>
                <a:close/>
                <a:moveTo>
                  <a:pt x="353" y="90"/>
                </a:moveTo>
                <a:cubicBezTo>
                  <a:pt x="353" y="90"/>
                  <a:pt x="353" y="90"/>
                  <a:pt x="353" y="90"/>
                </a:cubicBezTo>
                <a:cubicBezTo>
                  <a:pt x="355" y="92"/>
                  <a:pt x="353" y="90"/>
                  <a:pt x="353" y="90"/>
                </a:cubicBezTo>
                <a:close/>
                <a:moveTo>
                  <a:pt x="366" y="123"/>
                </a:moveTo>
                <a:cubicBezTo>
                  <a:pt x="365" y="124"/>
                  <a:pt x="364" y="123"/>
                  <a:pt x="364" y="123"/>
                </a:cubicBezTo>
                <a:cubicBezTo>
                  <a:pt x="361" y="121"/>
                  <a:pt x="367" y="121"/>
                  <a:pt x="366" y="123"/>
                </a:cubicBezTo>
                <a:close/>
                <a:moveTo>
                  <a:pt x="365" y="109"/>
                </a:moveTo>
                <a:cubicBezTo>
                  <a:pt x="365" y="109"/>
                  <a:pt x="365" y="109"/>
                  <a:pt x="365" y="109"/>
                </a:cubicBezTo>
                <a:cubicBezTo>
                  <a:pt x="363" y="108"/>
                  <a:pt x="367" y="109"/>
                  <a:pt x="365" y="109"/>
                </a:cubicBezTo>
                <a:close/>
                <a:moveTo>
                  <a:pt x="364" y="93"/>
                </a:moveTo>
                <a:cubicBezTo>
                  <a:pt x="363" y="94"/>
                  <a:pt x="363" y="93"/>
                  <a:pt x="363" y="93"/>
                </a:cubicBezTo>
                <a:cubicBezTo>
                  <a:pt x="361" y="92"/>
                  <a:pt x="364" y="92"/>
                  <a:pt x="364" y="93"/>
                </a:cubicBezTo>
                <a:close/>
                <a:moveTo>
                  <a:pt x="363" y="131"/>
                </a:moveTo>
                <a:cubicBezTo>
                  <a:pt x="361" y="130"/>
                  <a:pt x="359" y="128"/>
                  <a:pt x="358" y="126"/>
                </a:cubicBezTo>
                <a:cubicBezTo>
                  <a:pt x="360" y="127"/>
                  <a:pt x="361" y="129"/>
                  <a:pt x="363" y="131"/>
                </a:cubicBezTo>
                <a:close/>
                <a:moveTo>
                  <a:pt x="368" y="604"/>
                </a:moveTo>
                <a:cubicBezTo>
                  <a:pt x="365" y="603"/>
                  <a:pt x="367" y="602"/>
                  <a:pt x="368" y="604"/>
                </a:cubicBezTo>
                <a:close/>
                <a:moveTo>
                  <a:pt x="367" y="364"/>
                </a:moveTo>
                <a:cubicBezTo>
                  <a:pt x="369" y="364"/>
                  <a:pt x="370" y="367"/>
                  <a:pt x="371" y="368"/>
                </a:cubicBezTo>
                <a:cubicBezTo>
                  <a:pt x="369" y="368"/>
                  <a:pt x="368" y="365"/>
                  <a:pt x="367" y="364"/>
                </a:cubicBezTo>
                <a:close/>
                <a:moveTo>
                  <a:pt x="367" y="638"/>
                </a:moveTo>
                <a:cubicBezTo>
                  <a:pt x="368" y="637"/>
                  <a:pt x="368" y="639"/>
                  <a:pt x="367" y="638"/>
                </a:cubicBezTo>
                <a:close/>
                <a:moveTo>
                  <a:pt x="373" y="642"/>
                </a:moveTo>
                <a:cubicBezTo>
                  <a:pt x="375" y="643"/>
                  <a:pt x="376" y="644"/>
                  <a:pt x="376" y="646"/>
                </a:cubicBezTo>
                <a:cubicBezTo>
                  <a:pt x="377" y="652"/>
                  <a:pt x="365" y="646"/>
                  <a:pt x="365" y="645"/>
                </a:cubicBezTo>
                <a:cubicBezTo>
                  <a:pt x="365" y="644"/>
                  <a:pt x="372" y="642"/>
                  <a:pt x="373" y="642"/>
                </a:cubicBezTo>
                <a:close/>
                <a:moveTo>
                  <a:pt x="374" y="562"/>
                </a:moveTo>
                <a:cubicBezTo>
                  <a:pt x="375" y="563"/>
                  <a:pt x="372" y="562"/>
                  <a:pt x="373" y="561"/>
                </a:cubicBezTo>
                <a:cubicBezTo>
                  <a:pt x="374" y="561"/>
                  <a:pt x="374" y="562"/>
                  <a:pt x="374" y="562"/>
                </a:cubicBezTo>
                <a:close/>
                <a:moveTo>
                  <a:pt x="374" y="444"/>
                </a:moveTo>
                <a:cubicBezTo>
                  <a:pt x="373" y="445"/>
                  <a:pt x="373" y="442"/>
                  <a:pt x="374" y="444"/>
                </a:cubicBezTo>
                <a:close/>
                <a:moveTo>
                  <a:pt x="372" y="582"/>
                </a:moveTo>
                <a:cubicBezTo>
                  <a:pt x="375" y="582"/>
                  <a:pt x="372" y="584"/>
                  <a:pt x="372" y="582"/>
                </a:cubicBezTo>
                <a:close/>
                <a:moveTo>
                  <a:pt x="371" y="374"/>
                </a:moveTo>
                <a:cubicBezTo>
                  <a:pt x="372" y="373"/>
                  <a:pt x="372" y="375"/>
                  <a:pt x="371" y="374"/>
                </a:cubicBezTo>
                <a:close/>
                <a:moveTo>
                  <a:pt x="365" y="654"/>
                </a:moveTo>
                <a:cubicBezTo>
                  <a:pt x="366" y="652"/>
                  <a:pt x="367" y="655"/>
                  <a:pt x="365" y="654"/>
                </a:cubicBezTo>
                <a:close/>
                <a:moveTo>
                  <a:pt x="366" y="661"/>
                </a:moveTo>
                <a:cubicBezTo>
                  <a:pt x="369" y="661"/>
                  <a:pt x="370" y="659"/>
                  <a:pt x="371" y="661"/>
                </a:cubicBezTo>
                <a:cubicBezTo>
                  <a:pt x="372" y="661"/>
                  <a:pt x="371" y="662"/>
                  <a:pt x="372" y="663"/>
                </a:cubicBezTo>
                <a:cubicBezTo>
                  <a:pt x="375" y="666"/>
                  <a:pt x="386" y="664"/>
                  <a:pt x="386" y="668"/>
                </a:cubicBezTo>
                <a:cubicBezTo>
                  <a:pt x="387" y="671"/>
                  <a:pt x="373" y="665"/>
                  <a:pt x="372" y="664"/>
                </a:cubicBezTo>
                <a:cubicBezTo>
                  <a:pt x="369" y="662"/>
                  <a:pt x="364" y="662"/>
                  <a:pt x="362" y="661"/>
                </a:cubicBezTo>
                <a:cubicBezTo>
                  <a:pt x="362" y="660"/>
                  <a:pt x="361" y="660"/>
                  <a:pt x="361" y="659"/>
                </a:cubicBezTo>
                <a:cubicBezTo>
                  <a:pt x="362" y="657"/>
                  <a:pt x="364" y="661"/>
                  <a:pt x="366" y="661"/>
                </a:cubicBezTo>
                <a:close/>
                <a:moveTo>
                  <a:pt x="377" y="623"/>
                </a:moveTo>
                <a:cubicBezTo>
                  <a:pt x="379" y="623"/>
                  <a:pt x="377" y="625"/>
                  <a:pt x="377" y="623"/>
                </a:cubicBezTo>
                <a:close/>
                <a:moveTo>
                  <a:pt x="385" y="646"/>
                </a:moveTo>
                <a:cubicBezTo>
                  <a:pt x="385" y="645"/>
                  <a:pt x="387" y="645"/>
                  <a:pt x="387" y="646"/>
                </a:cubicBezTo>
                <a:cubicBezTo>
                  <a:pt x="387" y="647"/>
                  <a:pt x="385" y="647"/>
                  <a:pt x="385" y="646"/>
                </a:cubicBezTo>
                <a:close/>
                <a:moveTo>
                  <a:pt x="387" y="661"/>
                </a:moveTo>
                <a:cubicBezTo>
                  <a:pt x="389" y="662"/>
                  <a:pt x="384" y="662"/>
                  <a:pt x="385" y="661"/>
                </a:cubicBezTo>
                <a:cubicBezTo>
                  <a:pt x="385" y="660"/>
                  <a:pt x="387" y="660"/>
                  <a:pt x="387" y="661"/>
                </a:cubicBezTo>
                <a:close/>
                <a:moveTo>
                  <a:pt x="385" y="654"/>
                </a:moveTo>
                <a:cubicBezTo>
                  <a:pt x="388" y="654"/>
                  <a:pt x="385" y="656"/>
                  <a:pt x="385" y="654"/>
                </a:cubicBezTo>
                <a:close/>
                <a:moveTo>
                  <a:pt x="380" y="671"/>
                </a:moveTo>
                <a:cubicBezTo>
                  <a:pt x="382" y="672"/>
                  <a:pt x="380" y="673"/>
                  <a:pt x="380" y="671"/>
                </a:cubicBezTo>
                <a:close/>
                <a:moveTo>
                  <a:pt x="379" y="676"/>
                </a:moveTo>
                <a:cubicBezTo>
                  <a:pt x="379" y="676"/>
                  <a:pt x="380" y="675"/>
                  <a:pt x="380" y="675"/>
                </a:cubicBezTo>
                <a:cubicBezTo>
                  <a:pt x="380" y="676"/>
                  <a:pt x="380" y="677"/>
                  <a:pt x="379" y="676"/>
                </a:cubicBezTo>
                <a:close/>
                <a:moveTo>
                  <a:pt x="378" y="669"/>
                </a:moveTo>
                <a:cubicBezTo>
                  <a:pt x="377" y="669"/>
                  <a:pt x="377" y="666"/>
                  <a:pt x="378" y="668"/>
                </a:cubicBezTo>
                <a:cubicBezTo>
                  <a:pt x="378" y="668"/>
                  <a:pt x="378" y="669"/>
                  <a:pt x="378" y="669"/>
                </a:cubicBezTo>
                <a:close/>
                <a:moveTo>
                  <a:pt x="366" y="677"/>
                </a:moveTo>
                <a:cubicBezTo>
                  <a:pt x="369" y="676"/>
                  <a:pt x="367" y="673"/>
                  <a:pt x="368" y="672"/>
                </a:cubicBezTo>
                <a:cubicBezTo>
                  <a:pt x="370" y="671"/>
                  <a:pt x="373" y="675"/>
                  <a:pt x="372" y="677"/>
                </a:cubicBezTo>
                <a:cubicBezTo>
                  <a:pt x="371" y="678"/>
                  <a:pt x="368" y="676"/>
                  <a:pt x="366" y="677"/>
                </a:cubicBezTo>
                <a:close/>
                <a:moveTo>
                  <a:pt x="369" y="695"/>
                </a:moveTo>
                <a:cubicBezTo>
                  <a:pt x="369" y="694"/>
                  <a:pt x="371" y="694"/>
                  <a:pt x="371" y="695"/>
                </a:cubicBezTo>
                <a:cubicBezTo>
                  <a:pt x="372" y="696"/>
                  <a:pt x="369" y="696"/>
                  <a:pt x="369" y="695"/>
                </a:cubicBezTo>
                <a:close/>
                <a:moveTo>
                  <a:pt x="365" y="733"/>
                </a:moveTo>
                <a:cubicBezTo>
                  <a:pt x="365" y="731"/>
                  <a:pt x="367" y="731"/>
                  <a:pt x="368" y="732"/>
                </a:cubicBezTo>
                <a:cubicBezTo>
                  <a:pt x="369" y="733"/>
                  <a:pt x="365" y="733"/>
                  <a:pt x="365" y="733"/>
                </a:cubicBezTo>
                <a:close/>
                <a:moveTo>
                  <a:pt x="364" y="734"/>
                </a:moveTo>
                <a:cubicBezTo>
                  <a:pt x="365" y="734"/>
                  <a:pt x="366" y="734"/>
                  <a:pt x="366" y="734"/>
                </a:cubicBezTo>
                <a:cubicBezTo>
                  <a:pt x="367" y="736"/>
                  <a:pt x="363" y="735"/>
                  <a:pt x="364" y="734"/>
                </a:cubicBezTo>
                <a:close/>
                <a:moveTo>
                  <a:pt x="363" y="683"/>
                </a:moveTo>
                <a:cubicBezTo>
                  <a:pt x="365" y="682"/>
                  <a:pt x="364" y="684"/>
                  <a:pt x="363" y="683"/>
                </a:cubicBezTo>
                <a:close/>
                <a:moveTo>
                  <a:pt x="361" y="684"/>
                </a:moveTo>
                <a:cubicBezTo>
                  <a:pt x="360" y="685"/>
                  <a:pt x="360" y="682"/>
                  <a:pt x="361" y="684"/>
                </a:cubicBezTo>
                <a:close/>
                <a:moveTo>
                  <a:pt x="360" y="465"/>
                </a:moveTo>
                <a:cubicBezTo>
                  <a:pt x="360" y="465"/>
                  <a:pt x="361" y="466"/>
                  <a:pt x="361" y="466"/>
                </a:cubicBezTo>
                <a:cubicBezTo>
                  <a:pt x="362" y="468"/>
                  <a:pt x="358" y="466"/>
                  <a:pt x="360" y="465"/>
                </a:cubicBezTo>
                <a:close/>
                <a:moveTo>
                  <a:pt x="361" y="695"/>
                </a:moveTo>
                <a:cubicBezTo>
                  <a:pt x="360" y="696"/>
                  <a:pt x="361" y="694"/>
                  <a:pt x="361" y="695"/>
                </a:cubicBezTo>
                <a:close/>
                <a:moveTo>
                  <a:pt x="364" y="650"/>
                </a:moveTo>
                <a:cubicBezTo>
                  <a:pt x="365" y="652"/>
                  <a:pt x="361" y="651"/>
                  <a:pt x="362" y="649"/>
                </a:cubicBezTo>
                <a:cubicBezTo>
                  <a:pt x="363" y="649"/>
                  <a:pt x="364" y="650"/>
                  <a:pt x="364" y="650"/>
                </a:cubicBezTo>
                <a:close/>
                <a:moveTo>
                  <a:pt x="365" y="376"/>
                </a:moveTo>
                <a:cubicBezTo>
                  <a:pt x="363" y="376"/>
                  <a:pt x="364" y="373"/>
                  <a:pt x="365" y="376"/>
                </a:cubicBezTo>
                <a:close/>
                <a:moveTo>
                  <a:pt x="361" y="355"/>
                </a:moveTo>
                <a:cubicBezTo>
                  <a:pt x="362" y="354"/>
                  <a:pt x="363" y="356"/>
                  <a:pt x="363" y="357"/>
                </a:cubicBezTo>
                <a:cubicBezTo>
                  <a:pt x="362" y="356"/>
                  <a:pt x="362" y="356"/>
                  <a:pt x="361" y="355"/>
                </a:cubicBezTo>
                <a:close/>
                <a:moveTo>
                  <a:pt x="356" y="702"/>
                </a:moveTo>
                <a:cubicBezTo>
                  <a:pt x="359" y="702"/>
                  <a:pt x="356" y="704"/>
                  <a:pt x="356" y="702"/>
                </a:cubicBezTo>
                <a:close/>
                <a:moveTo>
                  <a:pt x="356" y="683"/>
                </a:moveTo>
                <a:cubicBezTo>
                  <a:pt x="356" y="682"/>
                  <a:pt x="357" y="683"/>
                  <a:pt x="357" y="683"/>
                </a:cubicBezTo>
                <a:cubicBezTo>
                  <a:pt x="358" y="684"/>
                  <a:pt x="355" y="683"/>
                  <a:pt x="356" y="683"/>
                </a:cubicBezTo>
                <a:close/>
                <a:moveTo>
                  <a:pt x="359" y="708"/>
                </a:moveTo>
                <a:cubicBezTo>
                  <a:pt x="360" y="710"/>
                  <a:pt x="356" y="709"/>
                  <a:pt x="356" y="708"/>
                </a:cubicBezTo>
                <a:cubicBezTo>
                  <a:pt x="356" y="707"/>
                  <a:pt x="359" y="707"/>
                  <a:pt x="359" y="708"/>
                </a:cubicBezTo>
                <a:close/>
                <a:moveTo>
                  <a:pt x="358" y="153"/>
                </a:moveTo>
                <a:cubicBezTo>
                  <a:pt x="356" y="152"/>
                  <a:pt x="359" y="153"/>
                  <a:pt x="358" y="153"/>
                </a:cubicBezTo>
                <a:close/>
                <a:moveTo>
                  <a:pt x="358" y="538"/>
                </a:moveTo>
                <a:cubicBezTo>
                  <a:pt x="358" y="539"/>
                  <a:pt x="357" y="539"/>
                  <a:pt x="357" y="539"/>
                </a:cubicBezTo>
                <a:cubicBezTo>
                  <a:pt x="356" y="538"/>
                  <a:pt x="357" y="537"/>
                  <a:pt x="358" y="538"/>
                </a:cubicBezTo>
                <a:close/>
                <a:moveTo>
                  <a:pt x="359" y="673"/>
                </a:moveTo>
                <a:cubicBezTo>
                  <a:pt x="360" y="674"/>
                  <a:pt x="356" y="674"/>
                  <a:pt x="356" y="673"/>
                </a:cubicBezTo>
                <a:cubicBezTo>
                  <a:pt x="357" y="673"/>
                  <a:pt x="358" y="672"/>
                  <a:pt x="359" y="673"/>
                </a:cubicBezTo>
                <a:close/>
                <a:moveTo>
                  <a:pt x="359" y="678"/>
                </a:moveTo>
                <a:cubicBezTo>
                  <a:pt x="359" y="678"/>
                  <a:pt x="356" y="681"/>
                  <a:pt x="355" y="681"/>
                </a:cubicBezTo>
                <a:cubicBezTo>
                  <a:pt x="354" y="682"/>
                  <a:pt x="349" y="681"/>
                  <a:pt x="349" y="680"/>
                </a:cubicBezTo>
                <a:cubicBezTo>
                  <a:pt x="348" y="680"/>
                  <a:pt x="348" y="677"/>
                  <a:pt x="348" y="675"/>
                </a:cubicBezTo>
                <a:cubicBezTo>
                  <a:pt x="349" y="674"/>
                  <a:pt x="352" y="674"/>
                  <a:pt x="355" y="675"/>
                </a:cubicBezTo>
                <a:cubicBezTo>
                  <a:pt x="356" y="675"/>
                  <a:pt x="359" y="677"/>
                  <a:pt x="359" y="678"/>
                </a:cubicBezTo>
                <a:close/>
                <a:moveTo>
                  <a:pt x="354" y="738"/>
                </a:moveTo>
                <a:cubicBezTo>
                  <a:pt x="355" y="738"/>
                  <a:pt x="356" y="738"/>
                  <a:pt x="356" y="739"/>
                </a:cubicBezTo>
                <a:cubicBezTo>
                  <a:pt x="357" y="741"/>
                  <a:pt x="353" y="739"/>
                  <a:pt x="354" y="738"/>
                </a:cubicBezTo>
                <a:close/>
                <a:moveTo>
                  <a:pt x="354" y="757"/>
                </a:moveTo>
                <a:cubicBezTo>
                  <a:pt x="354" y="757"/>
                  <a:pt x="356" y="757"/>
                  <a:pt x="356" y="757"/>
                </a:cubicBezTo>
                <a:cubicBezTo>
                  <a:pt x="357" y="759"/>
                  <a:pt x="353" y="759"/>
                  <a:pt x="354" y="757"/>
                </a:cubicBezTo>
                <a:close/>
                <a:moveTo>
                  <a:pt x="349" y="683"/>
                </a:moveTo>
                <a:cubicBezTo>
                  <a:pt x="350" y="681"/>
                  <a:pt x="354" y="683"/>
                  <a:pt x="354" y="685"/>
                </a:cubicBezTo>
                <a:cubicBezTo>
                  <a:pt x="355" y="688"/>
                  <a:pt x="347" y="685"/>
                  <a:pt x="349" y="683"/>
                </a:cubicBezTo>
                <a:close/>
                <a:moveTo>
                  <a:pt x="348" y="704"/>
                </a:moveTo>
                <a:cubicBezTo>
                  <a:pt x="350" y="703"/>
                  <a:pt x="349" y="705"/>
                  <a:pt x="348" y="704"/>
                </a:cubicBezTo>
                <a:close/>
                <a:moveTo>
                  <a:pt x="352" y="646"/>
                </a:moveTo>
                <a:cubicBezTo>
                  <a:pt x="355" y="644"/>
                  <a:pt x="355" y="648"/>
                  <a:pt x="352" y="646"/>
                </a:cubicBezTo>
                <a:close/>
                <a:moveTo>
                  <a:pt x="354" y="388"/>
                </a:moveTo>
                <a:cubicBezTo>
                  <a:pt x="354" y="388"/>
                  <a:pt x="355" y="389"/>
                  <a:pt x="355" y="389"/>
                </a:cubicBezTo>
                <a:cubicBezTo>
                  <a:pt x="355" y="390"/>
                  <a:pt x="354" y="389"/>
                  <a:pt x="354" y="388"/>
                </a:cubicBezTo>
                <a:close/>
                <a:moveTo>
                  <a:pt x="354" y="626"/>
                </a:moveTo>
                <a:cubicBezTo>
                  <a:pt x="354" y="629"/>
                  <a:pt x="352" y="631"/>
                  <a:pt x="350" y="630"/>
                </a:cubicBezTo>
                <a:cubicBezTo>
                  <a:pt x="350" y="630"/>
                  <a:pt x="349" y="629"/>
                  <a:pt x="349" y="629"/>
                </a:cubicBezTo>
                <a:cubicBezTo>
                  <a:pt x="348" y="630"/>
                  <a:pt x="348" y="632"/>
                  <a:pt x="346" y="632"/>
                </a:cubicBezTo>
                <a:cubicBezTo>
                  <a:pt x="343" y="632"/>
                  <a:pt x="342" y="629"/>
                  <a:pt x="341" y="626"/>
                </a:cubicBezTo>
                <a:cubicBezTo>
                  <a:pt x="341" y="626"/>
                  <a:pt x="340" y="625"/>
                  <a:pt x="339" y="624"/>
                </a:cubicBezTo>
                <a:cubicBezTo>
                  <a:pt x="340" y="625"/>
                  <a:pt x="339" y="621"/>
                  <a:pt x="340" y="621"/>
                </a:cubicBezTo>
                <a:cubicBezTo>
                  <a:pt x="340" y="621"/>
                  <a:pt x="341" y="621"/>
                  <a:pt x="341" y="621"/>
                </a:cubicBezTo>
                <a:cubicBezTo>
                  <a:pt x="342" y="621"/>
                  <a:pt x="341" y="619"/>
                  <a:pt x="342" y="619"/>
                </a:cubicBezTo>
                <a:cubicBezTo>
                  <a:pt x="348" y="618"/>
                  <a:pt x="354" y="623"/>
                  <a:pt x="354" y="626"/>
                </a:cubicBezTo>
                <a:close/>
                <a:moveTo>
                  <a:pt x="346" y="657"/>
                </a:moveTo>
                <a:cubicBezTo>
                  <a:pt x="347" y="656"/>
                  <a:pt x="348" y="658"/>
                  <a:pt x="346" y="657"/>
                </a:cubicBezTo>
                <a:close/>
                <a:moveTo>
                  <a:pt x="341" y="652"/>
                </a:moveTo>
                <a:cubicBezTo>
                  <a:pt x="342" y="652"/>
                  <a:pt x="344" y="653"/>
                  <a:pt x="344" y="653"/>
                </a:cubicBezTo>
                <a:cubicBezTo>
                  <a:pt x="344" y="655"/>
                  <a:pt x="340" y="654"/>
                  <a:pt x="341" y="652"/>
                </a:cubicBezTo>
                <a:close/>
                <a:moveTo>
                  <a:pt x="332" y="599"/>
                </a:moveTo>
                <a:cubicBezTo>
                  <a:pt x="331" y="600"/>
                  <a:pt x="329" y="598"/>
                  <a:pt x="328" y="598"/>
                </a:cubicBezTo>
                <a:cubicBezTo>
                  <a:pt x="330" y="597"/>
                  <a:pt x="331" y="599"/>
                  <a:pt x="332" y="599"/>
                </a:cubicBezTo>
                <a:close/>
                <a:moveTo>
                  <a:pt x="328" y="470"/>
                </a:moveTo>
                <a:cubicBezTo>
                  <a:pt x="328" y="470"/>
                  <a:pt x="329" y="470"/>
                  <a:pt x="329" y="471"/>
                </a:cubicBezTo>
                <a:cubicBezTo>
                  <a:pt x="330" y="473"/>
                  <a:pt x="326" y="471"/>
                  <a:pt x="328" y="470"/>
                </a:cubicBezTo>
                <a:close/>
                <a:moveTo>
                  <a:pt x="331" y="572"/>
                </a:moveTo>
                <a:cubicBezTo>
                  <a:pt x="331" y="573"/>
                  <a:pt x="331" y="573"/>
                  <a:pt x="331" y="573"/>
                </a:cubicBezTo>
                <a:cubicBezTo>
                  <a:pt x="331" y="573"/>
                  <a:pt x="331" y="573"/>
                  <a:pt x="331" y="573"/>
                </a:cubicBezTo>
                <a:cubicBezTo>
                  <a:pt x="331" y="572"/>
                  <a:pt x="331" y="572"/>
                  <a:pt x="331" y="572"/>
                </a:cubicBezTo>
                <a:close/>
                <a:moveTo>
                  <a:pt x="334" y="652"/>
                </a:moveTo>
                <a:cubicBezTo>
                  <a:pt x="335" y="654"/>
                  <a:pt x="331" y="654"/>
                  <a:pt x="331" y="652"/>
                </a:cubicBezTo>
                <a:cubicBezTo>
                  <a:pt x="332" y="651"/>
                  <a:pt x="333" y="652"/>
                  <a:pt x="334" y="652"/>
                </a:cubicBezTo>
                <a:close/>
                <a:moveTo>
                  <a:pt x="334" y="375"/>
                </a:moveTo>
                <a:cubicBezTo>
                  <a:pt x="333" y="374"/>
                  <a:pt x="334" y="377"/>
                  <a:pt x="334" y="375"/>
                </a:cubicBezTo>
                <a:close/>
                <a:moveTo>
                  <a:pt x="331" y="609"/>
                </a:moveTo>
                <a:cubicBezTo>
                  <a:pt x="332" y="609"/>
                  <a:pt x="332" y="611"/>
                  <a:pt x="331" y="609"/>
                </a:cubicBezTo>
                <a:close/>
                <a:moveTo>
                  <a:pt x="331" y="720"/>
                </a:moveTo>
                <a:cubicBezTo>
                  <a:pt x="336" y="719"/>
                  <a:pt x="336" y="723"/>
                  <a:pt x="331" y="720"/>
                </a:cubicBezTo>
                <a:close/>
                <a:moveTo>
                  <a:pt x="332" y="660"/>
                </a:moveTo>
                <a:cubicBezTo>
                  <a:pt x="333" y="659"/>
                  <a:pt x="335" y="661"/>
                  <a:pt x="337" y="662"/>
                </a:cubicBezTo>
                <a:cubicBezTo>
                  <a:pt x="335" y="663"/>
                  <a:pt x="333" y="661"/>
                  <a:pt x="332" y="660"/>
                </a:cubicBezTo>
                <a:close/>
                <a:moveTo>
                  <a:pt x="334" y="653"/>
                </a:moveTo>
                <a:cubicBezTo>
                  <a:pt x="334" y="651"/>
                  <a:pt x="339" y="651"/>
                  <a:pt x="339" y="653"/>
                </a:cubicBezTo>
                <a:cubicBezTo>
                  <a:pt x="340" y="657"/>
                  <a:pt x="334" y="655"/>
                  <a:pt x="334" y="653"/>
                </a:cubicBezTo>
                <a:close/>
                <a:moveTo>
                  <a:pt x="337" y="184"/>
                </a:moveTo>
                <a:cubicBezTo>
                  <a:pt x="338" y="185"/>
                  <a:pt x="336" y="183"/>
                  <a:pt x="337" y="184"/>
                </a:cubicBezTo>
                <a:close/>
                <a:moveTo>
                  <a:pt x="338" y="594"/>
                </a:moveTo>
                <a:cubicBezTo>
                  <a:pt x="339" y="594"/>
                  <a:pt x="337" y="594"/>
                  <a:pt x="337" y="594"/>
                </a:cubicBezTo>
                <a:cubicBezTo>
                  <a:pt x="337" y="593"/>
                  <a:pt x="338" y="593"/>
                  <a:pt x="338" y="594"/>
                </a:cubicBezTo>
                <a:close/>
                <a:moveTo>
                  <a:pt x="337" y="603"/>
                </a:moveTo>
                <a:cubicBezTo>
                  <a:pt x="338" y="605"/>
                  <a:pt x="334" y="603"/>
                  <a:pt x="335" y="602"/>
                </a:cubicBezTo>
                <a:cubicBezTo>
                  <a:pt x="336" y="601"/>
                  <a:pt x="337" y="602"/>
                  <a:pt x="337" y="603"/>
                </a:cubicBezTo>
                <a:close/>
                <a:moveTo>
                  <a:pt x="342" y="350"/>
                </a:moveTo>
                <a:cubicBezTo>
                  <a:pt x="343" y="353"/>
                  <a:pt x="337" y="349"/>
                  <a:pt x="339" y="348"/>
                </a:cubicBezTo>
                <a:cubicBezTo>
                  <a:pt x="340" y="347"/>
                  <a:pt x="342" y="350"/>
                  <a:pt x="342" y="350"/>
                </a:cubicBezTo>
                <a:close/>
                <a:moveTo>
                  <a:pt x="339" y="147"/>
                </a:moveTo>
                <a:cubicBezTo>
                  <a:pt x="340" y="146"/>
                  <a:pt x="343" y="150"/>
                  <a:pt x="340" y="149"/>
                </a:cubicBezTo>
                <a:cubicBezTo>
                  <a:pt x="340" y="148"/>
                  <a:pt x="339" y="148"/>
                  <a:pt x="339" y="147"/>
                </a:cubicBezTo>
                <a:close/>
                <a:moveTo>
                  <a:pt x="340" y="607"/>
                </a:moveTo>
                <a:cubicBezTo>
                  <a:pt x="343" y="607"/>
                  <a:pt x="340" y="609"/>
                  <a:pt x="340" y="607"/>
                </a:cubicBezTo>
                <a:close/>
                <a:moveTo>
                  <a:pt x="339" y="475"/>
                </a:moveTo>
                <a:cubicBezTo>
                  <a:pt x="340" y="474"/>
                  <a:pt x="341" y="475"/>
                  <a:pt x="341" y="475"/>
                </a:cubicBezTo>
                <a:cubicBezTo>
                  <a:pt x="342" y="477"/>
                  <a:pt x="339" y="476"/>
                  <a:pt x="339" y="475"/>
                </a:cubicBezTo>
                <a:close/>
                <a:moveTo>
                  <a:pt x="339" y="735"/>
                </a:moveTo>
                <a:cubicBezTo>
                  <a:pt x="340" y="735"/>
                  <a:pt x="340" y="736"/>
                  <a:pt x="339" y="735"/>
                </a:cubicBezTo>
                <a:cubicBezTo>
                  <a:pt x="339" y="735"/>
                  <a:pt x="339" y="735"/>
                  <a:pt x="339" y="735"/>
                </a:cubicBezTo>
                <a:close/>
                <a:moveTo>
                  <a:pt x="344" y="348"/>
                </a:moveTo>
                <a:cubicBezTo>
                  <a:pt x="344" y="348"/>
                  <a:pt x="343" y="346"/>
                  <a:pt x="344" y="347"/>
                </a:cubicBezTo>
                <a:cubicBezTo>
                  <a:pt x="344" y="347"/>
                  <a:pt x="345" y="348"/>
                  <a:pt x="344" y="348"/>
                </a:cubicBezTo>
                <a:close/>
                <a:moveTo>
                  <a:pt x="346" y="610"/>
                </a:moveTo>
                <a:cubicBezTo>
                  <a:pt x="345" y="612"/>
                  <a:pt x="344" y="609"/>
                  <a:pt x="342" y="609"/>
                </a:cubicBezTo>
                <a:cubicBezTo>
                  <a:pt x="344" y="608"/>
                  <a:pt x="345" y="610"/>
                  <a:pt x="346" y="610"/>
                </a:cubicBezTo>
                <a:close/>
                <a:moveTo>
                  <a:pt x="344" y="176"/>
                </a:moveTo>
                <a:cubicBezTo>
                  <a:pt x="343" y="176"/>
                  <a:pt x="343" y="176"/>
                  <a:pt x="342" y="175"/>
                </a:cubicBezTo>
                <a:cubicBezTo>
                  <a:pt x="341" y="174"/>
                  <a:pt x="344" y="174"/>
                  <a:pt x="344" y="176"/>
                </a:cubicBezTo>
                <a:close/>
                <a:moveTo>
                  <a:pt x="347" y="192"/>
                </a:moveTo>
                <a:cubicBezTo>
                  <a:pt x="347" y="192"/>
                  <a:pt x="347" y="192"/>
                  <a:pt x="347" y="192"/>
                </a:cubicBezTo>
                <a:cubicBezTo>
                  <a:pt x="347" y="192"/>
                  <a:pt x="347" y="192"/>
                  <a:pt x="347" y="192"/>
                </a:cubicBezTo>
                <a:close/>
                <a:moveTo>
                  <a:pt x="348" y="594"/>
                </a:moveTo>
                <a:cubicBezTo>
                  <a:pt x="348" y="593"/>
                  <a:pt x="349" y="594"/>
                  <a:pt x="349" y="594"/>
                </a:cubicBezTo>
                <a:cubicBezTo>
                  <a:pt x="350" y="596"/>
                  <a:pt x="347" y="595"/>
                  <a:pt x="348" y="594"/>
                </a:cubicBezTo>
                <a:close/>
                <a:moveTo>
                  <a:pt x="348" y="564"/>
                </a:moveTo>
                <a:cubicBezTo>
                  <a:pt x="349" y="563"/>
                  <a:pt x="351" y="564"/>
                  <a:pt x="351" y="565"/>
                </a:cubicBezTo>
                <a:cubicBezTo>
                  <a:pt x="352" y="569"/>
                  <a:pt x="347" y="566"/>
                  <a:pt x="348" y="564"/>
                </a:cubicBezTo>
                <a:close/>
                <a:moveTo>
                  <a:pt x="349" y="471"/>
                </a:moveTo>
                <a:cubicBezTo>
                  <a:pt x="350" y="472"/>
                  <a:pt x="349" y="470"/>
                  <a:pt x="349" y="471"/>
                </a:cubicBezTo>
                <a:close/>
                <a:moveTo>
                  <a:pt x="348" y="85"/>
                </a:moveTo>
                <a:cubicBezTo>
                  <a:pt x="349" y="85"/>
                  <a:pt x="350" y="87"/>
                  <a:pt x="351" y="87"/>
                </a:cubicBezTo>
                <a:cubicBezTo>
                  <a:pt x="350" y="87"/>
                  <a:pt x="349" y="86"/>
                  <a:pt x="348" y="85"/>
                </a:cubicBezTo>
                <a:close/>
                <a:moveTo>
                  <a:pt x="330" y="414"/>
                </a:moveTo>
                <a:cubicBezTo>
                  <a:pt x="331" y="414"/>
                  <a:pt x="331" y="415"/>
                  <a:pt x="330" y="416"/>
                </a:cubicBezTo>
                <a:cubicBezTo>
                  <a:pt x="325" y="416"/>
                  <a:pt x="329" y="409"/>
                  <a:pt x="330" y="414"/>
                </a:cubicBezTo>
                <a:close/>
                <a:moveTo>
                  <a:pt x="328" y="177"/>
                </a:moveTo>
                <a:cubicBezTo>
                  <a:pt x="328" y="176"/>
                  <a:pt x="329" y="178"/>
                  <a:pt x="328" y="177"/>
                </a:cubicBezTo>
                <a:close/>
                <a:moveTo>
                  <a:pt x="328" y="658"/>
                </a:moveTo>
                <a:cubicBezTo>
                  <a:pt x="327" y="658"/>
                  <a:pt x="326" y="657"/>
                  <a:pt x="326" y="657"/>
                </a:cubicBezTo>
                <a:cubicBezTo>
                  <a:pt x="327" y="657"/>
                  <a:pt x="327" y="657"/>
                  <a:pt x="328" y="658"/>
                </a:cubicBezTo>
                <a:close/>
                <a:moveTo>
                  <a:pt x="326" y="743"/>
                </a:moveTo>
                <a:cubicBezTo>
                  <a:pt x="325" y="744"/>
                  <a:pt x="324" y="742"/>
                  <a:pt x="326" y="743"/>
                </a:cubicBezTo>
                <a:close/>
                <a:moveTo>
                  <a:pt x="325" y="755"/>
                </a:moveTo>
                <a:cubicBezTo>
                  <a:pt x="325" y="755"/>
                  <a:pt x="326" y="755"/>
                  <a:pt x="326" y="756"/>
                </a:cubicBezTo>
                <a:cubicBezTo>
                  <a:pt x="326" y="758"/>
                  <a:pt x="324" y="753"/>
                  <a:pt x="325" y="755"/>
                </a:cubicBezTo>
                <a:close/>
                <a:moveTo>
                  <a:pt x="325" y="738"/>
                </a:moveTo>
                <a:cubicBezTo>
                  <a:pt x="325" y="737"/>
                  <a:pt x="327" y="737"/>
                  <a:pt x="327" y="738"/>
                </a:cubicBezTo>
                <a:cubicBezTo>
                  <a:pt x="328" y="739"/>
                  <a:pt x="326" y="738"/>
                  <a:pt x="325" y="738"/>
                </a:cubicBezTo>
                <a:close/>
                <a:moveTo>
                  <a:pt x="325" y="124"/>
                </a:moveTo>
                <a:cubicBezTo>
                  <a:pt x="325" y="124"/>
                  <a:pt x="325" y="124"/>
                  <a:pt x="325" y="124"/>
                </a:cubicBezTo>
                <a:cubicBezTo>
                  <a:pt x="323" y="123"/>
                  <a:pt x="328" y="123"/>
                  <a:pt x="325" y="124"/>
                </a:cubicBezTo>
                <a:close/>
                <a:moveTo>
                  <a:pt x="326" y="382"/>
                </a:moveTo>
                <a:cubicBezTo>
                  <a:pt x="326" y="383"/>
                  <a:pt x="325" y="381"/>
                  <a:pt x="326" y="382"/>
                </a:cubicBezTo>
                <a:close/>
                <a:moveTo>
                  <a:pt x="326" y="596"/>
                </a:moveTo>
                <a:cubicBezTo>
                  <a:pt x="327" y="597"/>
                  <a:pt x="323" y="595"/>
                  <a:pt x="324" y="595"/>
                </a:cubicBezTo>
                <a:cubicBezTo>
                  <a:pt x="325" y="594"/>
                  <a:pt x="326" y="596"/>
                  <a:pt x="326" y="596"/>
                </a:cubicBezTo>
                <a:close/>
                <a:moveTo>
                  <a:pt x="326" y="759"/>
                </a:moveTo>
                <a:cubicBezTo>
                  <a:pt x="327" y="760"/>
                  <a:pt x="323" y="760"/>
                  <a:pt x="324" y="758"/>
                </a:cubicBezTo>
                <a:cubicBezTo>
                  <a:pt x="324" y="758"/>
                  <a:pt x="326" y="758"/>
                  <a:pt x="326" y="759"/>
                </a:cubicBezTo>
                <a:close/>
                <a:moveTo>
                  <a:pt x="321" y="769"/>
                </a:moveTo>
                <a:cubicBezTo>
                  <a:pt x="321" y="768"/>
                  <a:pt x="323" y="769"/>
                  <a:pt x="323" y="769"/>
                </a:cubicBezTo>
                <a:cubicBezTo>
                  <a:pt x="323" y="770"/>
                  <a:pt x="322" y="769"/>
                  <a:pt x="321" y="769"/>
                </a:cubicBezTo>
                <a:close/>
                <a:moveTo>
                  <a:pt x="323" y="770"/>
                </a:moveTo>
                <a:cubicBezTo>
                  <a:pt x="324" y="768"/>
                  <a:pt x="330" y="767"/>
                  <a:pt x="330" y="770"/>
                </a:cubicBezTo>
                <a:cubicBezTo>
                  <a:pt x="330" y="773"/>
                  <a:pt x="323" y="772"/>
                  <a:pt x="323" y="770"/>
                </a:cubicBezTo>
                <a:close/>
                <a:moveTo>
                  <a:pt x="336" y="777"/>
                </a:moveTo>
                <a:cubicBezTo>
                  <a:pt x="337" y="778"/>
                  <a:pt x="335" y="776"/>
                  <a:pt x="336" y="777"/>
                </a:cubicBezTo>
                <a:close/>
                <a:moveTo>
                  <a:pt x="326" y="757"/>
                </a:moveTo>
                <a:cubicBezTo>
                  <a:pt x="327" y="757"/>
                  <a:pt x="326" y="754"/>
                  <a:pt x="326" y="755"/>
                </a:cubicBezTo>
                <a:cubicBezTo>
                  <a:pt x="326" y="753"/>
                  <a:pt x="333" y="752"/>
                  <a:pt x="335" y="754"/>
                </a:cubicBezTo>
                <a:cubicBezTo>
                  <a:pt x="335" y="754"/>
                  <a:pt x="336" y="757"/>
                  <a:pt x="337" y="757"/>
                </a:cubicBezTo>
                <a:cubicBezTo>
                  <a:pt x="336" y="758"/>
                  <a:pt x="328" y="759"/>
                  <a:pt x="326" y="757"/>
                </a:cubicBezTo>
                <a:close/>
                <a:moveTo>
                  <a:pt x="335" y="748"/>
                </a:moveTo>
                <a:cubicBezTo>
                  <a:pt x="335" y="747"/>
                  <a:pt x="337" y="747"/>
                  <a:pt x="337" y="748"/>
                </a:cubicBezTo>
                <a:cubicBezTo>
                  <a:pt x="338" y="749"/>
                  <a:pt x="336" y="749"/>
                  <a:pt x="335" y="748"/>
                </a:cubicBezTo>
                <a:close/>
                <a:moveTo>
                  <a:pt x="328" y="744"/>
                </a:moveTo>
                <a:cubicBezTo>
                  <a:pt x="328" y="743"/>
                  <a:pt x="329" y="742"/>
                  <a:pt x="329" y="741"/>
                </a:cubicBezTo>
                <a:cubicBezTo>
                  <a:pt x="329" y="742"/>
                  <a:pt x="332" y="740"/>
                  <a:pt x="332" y="740"/>
                </a:cubicBezTo>
                <a:cubicBezTo>
                  <a:pt x="334" y="740"/>
                  <a:pt x="339" y="741"/>
                  <a:pt x="337" y="745"/>
                </a:cubicBezTo>
                <a:cubicBezTo>
                  <a:pt x="336" y="748"/>
                  <a:pt x="329" y="746"/>
                  <a:pt x="328" y="744"/>
                </a:cubicBezTo>
                <a:close/>
                <a:moveTo>
                  <a:pt x="339" y="774"/>
                </a:moveTo>
                <a:cubicBezTo>
                  <a:pt x="339" y="773"/>
                  <a:pt x="337" y="773"/>
                  <a:pt x="337" y="772"/>
                </a:cubicBezTo>
                <a:cubicBezTo>
                  <a:pt x="338" y="770"/>
                  <a:pt x="344" y="770"/>
                  <a:pt x="344" y="772"/>
                </a:cubicBezTo>
                <a:cubicBezTo>
                  <a:pt x="345" y="775"/>
                  <a:pt x="339" y="775"/>
                  <a:pt x="339" y="774"/>
                </a:cubicBezTo>
                <a:close/>
                <a:moveTo>
                  <a:pt x="353" y="716"/>
                </a:moveTo>
                <a:cubicBezTo>
                  <a:pt x="351" y="716"/>
                  <a:pt x="346" y="715"/>
                  <a:pt x="345" y="713"/>
                </a:cubicBezTo>
                <a:cubicBezTo>
                  <a:pt x="348" y="714"/>
                  <a:pt x="350" y="715"/>
                  <a:pt x="353" y="716"/>
                </a:cubicBezTo>
                <a:close/>
                <a:moveTo>
                  <a:pt x="345" y="744"/>
                </a:moveTo>
                <a:cubicBezTo>
                  <a:pt x="345" y="743"/>
                  <a:pt x="348" y="743"/>
                  <a:pt x="348" y="744"/>
                </a:cubicBezTo>
                <a:cubicBezTo>
                  <a:pt x="349" y="745"/>
                  <a:pt x="345" y="744"/>
                  <a:pt x="345" y="744"/>
                </a:cubicBezTo>
                <a:close/>
                <a:moveTo>
                  <a:pt x="345" y="734"/>
                </a:moveTo>
                <a:cubicBezTo>
                  <a:pt x="346" y="733"/>
                  <a:pt x="349" y="733"/>
                  <a:pt x="349" y="735"/>
                </a:cubicBezTo>
                <a:cubicBezTo>
                  <a:pt x="350" y="737"/>
                  <a:pt x="345" y="735"/>
                  <a:pt x="345" y="734"/>
                </a:cubicBezTo>
                <a:close/>
                <a:moveTo>
                  <a:pt x="349" y="764"/>
                </a:moveTo>
                <a:cubicBezTo>
                  <a:pt x="349" y="763"/>
                  <a:pt x="350" y="763"/>
                  <a:pt x="350" y="764"/>
                </a:cubicBezTo>
                <a:cubicBezTo>
                  <a:pt x="351" y="764"/>
                  <a:pt x="349" y="765"/>
                  <a:pt x="349" y="764"/>
                </a:cubicBezTo>
                <a:close/>
                <a:moveTo>
                  <a:pt x="350" y="725"/>
                </a:moveTo>
                <a:cubicBezTo>
                  <a:pt x="350" y="724"/>
                  <a:pt x="353" y="724"/>
                  <a:pt x="354" y="725"/>
                </a:cubicBezTo>
                <a:cubicBezTo>
                  <a:pt x="355" y="727"/>
                  <a:pt x="350" y="727"/>
                  <a:pt x="350" y="725"/>
                </a:cubicBezTo>
                <a:close/>
                <a:moveTo>
                  <a:pt x="353" y="770"/>
                </a:moveTo>
                <a:cubicBezTo>
                  <a:pt x="353" y="769"/>
                  <a:pt x="358" y="767"/>
                  <a:pt x="359" y="769"/>
                </a:cubicBezTo>
                <a:cubicBezTo>
                  <a:pt x="359" y="772"/>
                  <a:pt x="354" y="771"/>
                  <a:pt x="353" y="770"/>
                </a:cubicBezTo>
                <a:close/>
                <a:moveTo>
                  <a:pt x="359" y="772"/>
                </a:moveTo>
                <a:cubicBezTo>
                  <a:pt x="359" y="772"/>
                  <a:pt x="359" y="771"/>
                  <a:pt x="360" y="771"/>
                </a:cubicBezTo>
                <a:cubicBezTo>
                  <a:pt x="360" y="771"/>
                  <a:pt x="359" y="772"/>
                  <a:pt x="359" y="772"/>
                </a:cubicBezTo>
                <a:close/>
                <a:moveTo>
                  <a:pt x="360" y="723"/>
                </a:moveTo>
                <a:cubicBezTo>
                  <a:pt x="360" y="723"/>
                  <a:pt x="360" y="723"/>
                  <a:pt x="360" y="723"/>
                </a:cubicBezTo>
                <a:cubicBezTo>
                  <a:pt x="360" y="723"/>
                  <a:pt x="359" y="722"/>
                  <a:pt x="360" y="723"/>
                </a:cubicBezTo>
                <a:close/>
                <a:moveTo>
                  <a:pt x="361" y="721"/>
                </a:moveTo>
                <a:cubicBezTo>
                  <a:pt x="363" y="719"/>
                  <a:pt x="365" y="722"/>
                  <a:pt x="361" y="721"/>
                </a:cubicBezTo>
                <a:close/>
                <a:moveTo>
                  <a:pt x="356" y="717"/>
                </a:moveTo>
                <a:cubicBezTo>
                  <a:pt x="358" y="718"/>
                  <a:pt x="362" y="717"/>
                  <a:pt x="364" y="719"/>
                </a:cubicBezTo>
                <a:cubicBezTo>
                  <a:pt x="367" y="721"/>
                  <a:pt x="356" y="719"/>
                  <a:pt x="356" y="717"/>
                </a:cubicBezTo>
                <a:close/>
                <a:moveTo>
                  <a:pt x="365" y="760"/>
                </a:moveTo>
                <a:cubicBezTo>
                  <a:pt x="364" y="760"/>
                  <a:pt x="365" y="759"/>
                  <a:pt x="366" y="760"/>
                </a:cubicBezTo>
                <a:cubicBezTo>
                  <a:pt x="366" y="760"/>
                  <a:pt x="365" y="760"/>
                  <a:pt x="365" y="760"/>
                </a:cubicBezTo>
                <a:close/>
                <a:moveTo>
                  <a:pt x="368" y="740"/>
                </a:moveTo>
                <a:cubicBezTo>
                  <a:pt x="368" y="740"/>
                  <a:pt x="369" y="739"/>
                  <a:pt x="369" y="740"/>
                </a:cubicBezTo>
                <a:cubicBezTo>
                  <a:pt x="370" y="741"/>
                  <a:pt x="368" y="741"/>
                  <a:pt x="368" y="740"/>
                </a:cubicBezTo>
                <a:close/>
                <a:moveTo>
                  <a:pt x="364" y="737"/>
                </a:moveTo>
                <a:cubicBezTo>
                  <a:pt x="364" y="735"/>
                  <a:pt x="369" y="735"/>
                  <a:pt x="369" y="737"/>
                </a:cubicBezTo>
                <a:cubicBezTo>
                  <a:pt x="371" y="739"/>
                  <a:pt x="364" y="738"/>
                  <a:pt x="364" y="737"/>
                </a:cubicBezTo>
                <a:close/>
                <a:moveTo>
                  <a:pt x="370" y="740"/>
                </a:moveTo>
                <a:cubicBezTo>
                  <a:pt x="370" y="739"/>
                  <a:pt x="372" y="739"/>
                  <a:pt x="373" y="740"/>
                </a:cubicBezTo>
                <a:cubicBezTo>
                  <a:pt x="374" y="741"/>
                  <a:pt x="370" y="741"/>
                  <a:pt x="370" y="740"/>
                </a:cubicBezTo>
                <a:close/>
                <a:moveTo>
                  <a:pt x="371" y="748"/>
                </a:moveTo>
                <a:cubicBezTo>
                  <a:pt x="371" y="748"/>
                  <a:pt x="372" y="747"/>
                  <a:pt x="373" y="748"/>
                </a:cubicBezTo>
                <a:cubicBezTo>
                  <a:pt x="374" y="750"/>
                  <a:pt x="371" y="749"/>
                  <a:pt x="371" y="748"/>
                </a:cubicBezTo>
                <a:close/>
                <a:moveTo>
                  <a:pt x="373" y="754"/>
                </a:moveTo>
                <a:cubicBezTo>
                  <a:pt x="373" y="753"/>
                  <a:pt x="375" y="755"/>
                  <a:pt x="373" y="754"/>
                </a:cubicBezTo>
                <a:close/>
                <a:moveTo>
                  <a:pt x="375" y="726"/>
                </a:moveTo>
                <a:cubicBezTo>
                  <a:pt x="376" y="725"/>
                  <a:pt x="376" y="728"/>
                  <a:pt x="375" y="726"/>
                </a:cubicBezTo>
                <a:close/>
                <a:moveTo>
                  <a:pt x="375" y="708"/>
                </a:moveTo>
                <a:cubicBezTo>
                  <a:pt x="378" y="708"/>
                  <a:pt x="375" y="710"/>
                  <a:pt x="375" y="708"/>
                </a:cubicBezTo>
                <a:close/>
                <a:moveTo>
                  <a:pt x="376" y="704"/>
                </a:moveTo>
                <a:cubicBezTo>
                  <a:pt x="377" y="703"/>
                  <a:pt x="380" y="704"/>
                  <a:pt x="380" y="706"/>
                </a:cubicBezTo>
                <a:cubicBezTo>
                  <a:pt x="381" y="709"/>
                  <a:pt x="375" y="706"/>
                  <a:pt x="376" y="704"/>
                </a:cubicBezTo>
                <a:close/>
                <a:moveTo>
                  <a:pt x="380" y="746"/>
                </a:moveTo>
                <a:cubicBezTo>
                  <a:pt x="380" y="747"/>
                  <a:pt x="378" y="746"/>
                  <a:pt x="379" y="746"/>
                </a:cubicBezTo>
                <a:cubicBezTo>
                  <a:pt x="380" y="745"/>
                  <a:pt x="380" y="746"/>
                  <a:pt x="380" y="746"/>
                </a:cubicBezTo>
                <a:close/>
                <a:moveTo>
                  <a:pt x="378" y="716"/>
                </a:moveTo>
                <a:cubicBezTo>
                  <a:pt x="378" y="716"/>
                  <a:pt x="378" y="715"/>
                  <a:pt x="379" y="715"/>
                </a:cubicBezTo>
                <a:cubicBezTo>
                  <a:pt x="382" y="714"/>
                  <a:pt x="380" y="718"/>
                  <a:pt x="378" y="716"/>
                </a:cubicBezTo>
                <a:close/>
                <a:moveTo>
                  <a:pt x="380" y="749"/>
                </a:moveTo>
                <a:cubicBezTo>
                  <a:pt x="380" y="749"/>
                  <a:pt x="381" y="748"/>
                  <a:pt x="382" y="748"/>
                </a:cubicBezTo>
                <a:cubicBezTo>
                  <a:pt x="383" y="749"/>
                  <a:pt x="380" y="750"/>
                  <a:pt x="380" y="749"/>
                </a:cubicBezTo>
                <a:close/>
                <a:moveTo>
                  <a:pt x="381" y="734"/>
                </a:moveTo>
                <a:cubicBezTo>
                  <a:pt x="382" y="734"/>
                  <a:pt x="383" y="734"/>
                  <a:pt x="383" y="735"/>
                </a:cubicBezTo>
                <a:cubicBezTo>
                  <a:pt x="384" y="738"/>
                  <a:pt x="378" y="736"/>
                  <a:pt x="381" y="734"/>
                </a:cubicBezTo>
                <a:close/>
                <a:moveTo>
                  <a:pt x="384" y="754"/>
                </a:moveTo>
                <a:cubicBezTo>
                  <a:pt x="384" y="754"/>
                  <a:pt x="384" y="754"/>
                  <a:pt x="385" y="754"/>
                </a:cubicBezTo>
                <a:cubicBezTo>
                  <a:pt x="385" y="755"/>
                  <a:pt x="384" y="755"/>
                  <a:pt x="384" y="754"/>
                </a:cubicBezTo>
                <a:close/>
                <a:moveTo>
                  <a:pt x="386" y="712"/>
                </a:moveTo>
                <a:cubicBezTo>
                  <a:pt x="386" y="712"/>
                  <a:pt x="386" y="712"/>
                  <a:pt x="386" y="712"/>
                </a:cubicBezTo>
                <a:cubicBezTo>
                  <a:pt x="388" y="712"/>
                  <a:pt x="387" y="713"/>
                  <a:pt x="386" y="712"/>
                </a:cubicBezTo>
                <a:close/>
                <a:moveTo>
                  <a:pt x="387" y="722"/>
                </a:moveTo>
                <a:cubicBezTo>
                  <a:pt x="387" y="722"/>
                  <a:pt x="390" y="721"/>
                  <a:pt x="390" y="723"/>
                </a:cubicBezTo>
                <a:cubicBezTo>
                  <a:pt x="390" y="724"/>
                  <a:pt x="388" y="723"/>
                  <a:pt x="387" y="722"/>
                </a:cubicBezTo>
                <a:close/>
                <a:moveTo>
                  <a:pt x="389" y="709"/>
                </a:moveTo>
                <a:cubicBezTo>
                  <a:pt x="387" y="709"/>
                  <a:pt x="387" y="707"/>
                  <a:pt x="389" y="709"/>
                </a:cubicBezTo>
                <a:close/>
                <a:moveTo>
                  <a:pt x="391" y="719"/>
                </a:moveTo>
                <a:cubicBezTo>
                  <a:pt x="391" y="719"/>
                  <a:pt x="391" y="720"/>
                  <a:pt x="391" y="720"/>
                </a:cubicBezTo>
                <a:cubicBezTo>
                  <a:pt x="390" y="720"/>
                  <a:pt x="391" y="719"/>
                  <a:pt x="391" y="719"/>
                </a:cubicBezTo>
                <a:close/>
                <a:moveTo>
                  <a:pt x="391" y="736"/>
                </a:moveTo>
                <a:cubicBezTo>
                  <a:pt x="389" y="735"/>
                  <a:pt x="393" y="737"/>
                  <a:pt x="391" y="736"/>
                </a:cubicBezTo>
                <a:close/>
                <a:moveTo>
                  <a:pt x="390" y="565"/>
                </a:moveTo>
                <a:cubicBezTo>
                  <a:pt x="391" y="567"/>
                  <a:pt x="389" y="563"/>
                  <a:pt x="390" y="565"/>
                </a:cubicBezTo>
                <a:close/>
                <a:moveTo>
                  <a:pt x="390" y="396"/>
                </a:moveTo>
                <a:cubicBezTo>
                  <a:pt x="389" y="395"/>
                  <a:pt x="391" y="397"/>
                  <a:pt x="390" y="396"/>
                </a:cubicBezTo>
                <a:close/>
                <a:moveTo>
                  <a:pt x="398" y="675"/>
                </a:moveTo>
                <a:cubicBezTo>
                  <a:pt x="398" y="675"/>
                  <a:pt x="397" y="676"/>
                  <a:pt x="397" y="677"/>
                </a:cubicBezTo>
                <a:cubicBezTo>
                  <a:pt x="397" y="679"/>
                  <a:pt x="403" y="680"/>
                  <a:pt x="405" y="682"/>
                </a:cubicBezTo>
                <a:cubicBezTo>
                  <a:pt x="408" y="684"/>
                  <a:pt x="411" y="686"/>
                  <a:pt x="413" y="688"/>
                </a:cubicBezTo>
                <a:cubicBezTo>
                  <a:pt x="407" y="687"/>
                  <a:pt x="401" y="679"/>
                  <a:pt x="396" y="677"/>
                </a:cubicBezTo>
                <a:cubicBezTo>
                  <a:pt x="392" y="676"/>
                  <a:pt x="389" y="677"/>
                  <a:pt x="390" y="671"/>
                </a:cubicBezTo>
                <a:cubicBezTo>
                  <a:pt x="392" y="673"/>
                  <a:pt x="397" y="671"/>
                  <a:pt x="398" y="675"/>
                </a:cubicBezTo>
                <a:close/>
                <a:moveTo>
                  <a:pt x="391" y="523"/>
                </a:moveTo>
                <a:cubicBezTo>
                  <a:pt x="392" y="523"/>
                  <a:pt x="392" y="524"/>
                  <a:pt x="393" y="525"/>
                </a:cubicBezTo>
                <a:cubicBezTo>
                  <a:pt x="392" y="525"/>
                  <a:pt x="391" y="523"/>
                  <a:pt x="391" y="523"/>
                </a:cubicBezTo>
                <a:close/>
                <a:moveTo>
                  <a:pt x="402" y="645"/>
                </a:moveTo>
                <a:cubicBezTo>
                  <a:pt x="402" y="646"/>
                  <a:pt x="397" y="644"/>
                  <a:pt x="398" y="644"/>
                </a:cubicBezTo>
                <a:cubicBezTo>
                  <a:pt x="399" y="643"/>
                  <a:pt x="401" y="645"/>
                  <a:pt x="402" y="645"/>
                </a:cubicBezTo>
                <a:close/>
                <a:moveTo>
                  <a:pt x="401" y="387"/>
                </a:moveTo>
                <a:cubicBezTo>
                  <a:pt x="402" y="388"/>
                  <a:pt x="400" y="385"/>
                  <a:pt x="401" y="387"/>
                </a:cubicBezTo>
                <a:close/>
                <a:moveTo>
                  <a:pt x="408" y="130"/>
                </a:moveTo>
                <a:cubicBezTo>
                  <a:pt x="407" y="131"/>
                  <a:pt x="406" y="130"/>
                  <a:pt x="406" y="129"/>
                </a:cubicBezTo>
                <a:cubicBezTo>
                  <a:pt x="407" y="129"/>
                  <a:pt x="407" y="130"/>
                  <a:pt x="408" y="130"/>
                </a:cubicBezTo>
                <a:close/>
                <a:moveTo>
                  <a:pt x="406" y="94"/>
                </a:moveTo>
                <a:cubicBezTo>
                  <a:pt x="407" y="94"/>
                  <a:pt x="407" y="94"/>
                  <a:pt x="408" y="95"/>
                </a:cubicBezTo>
                <a:cubicBezTo>
                  <a:pt x="407" y="95"/>
                  <a:pt x="406" y="95"/>
                  <a:pt x="406" y="94"/>
                </a:cubicBezTo>
                <a:close/>
                <a:moveTo>
                  <a:pt x="412" y="602"/>
                </a:moveTo>
                <a:cubicBezTo>
                  <a:pt x="413" y="605"/>
                  <a:pt x="408" y="603"/>
                  <a:pt x="407" y="602"/>
                </a:cubicBezTo>
                <a:cubicBezTo>
                  <a:pt x="407" y="599"/>
                  <a:pt x="412" y="600"/>
                  <a:pt x="412" y="602"/>
                </a:cubicBezTo>
                <a:close/>
                <a:moveTo>
                  <a:pt x="409" y="131"/>
                </a:moveTo>
                <a:cubicBezTo>
                  <a:pt x="409" y="132"/>
                  <a:pt x="408" y="130"/>
                  <a:pt x="409" y="131"/>
                </a:cubicBezTo>
                <a:close/>
                <a:moveTo>
                  <a:pt x="421" y="663"/>
                </a:moveTo>
                <a:cubicBezTo>
                  <a:pt x="423" y="664"/>
                  <a:pt x="437" y="669"/>
                  <a:pt x="438" y="671"/>
                </a:cubicBezTo>
                <a:cubicBezTo>
                  <a:pt x="438" y="673"/>
                  <a:pt x="434" y="671"/>
                  <a:pt x="433" y="670"/>
                </a:cubicBezTo>
                <a:cubicBezTo>
                  <a:pt x="431" y="669"/>
                  <a:pt x="417" y="663"/>
                  <a:pt x="417" y="661"/>
                </a:cubicBezTo>
                <a:cubicBezTo>
                  <a:pt x="416" y="659"/>
                  <a:pt x="421" y="663"/>
                  <a:pt x="421" y="663"/>
                </a:cubicBezTo>
                <a:close/>
                <a:moveTo>
                  <a:pt x="420" y="624"/>
                </a:moveTo>
                <a:cubicBezTo>
                  <a:pt x="420" y="623"/>
                  <a:pt x="421" y="624"/>
                  <a:pt x="421" y="625"/>
                </a:cubicBezTo>
                <a:cubicBezTo>
                  <a:pt x="421" y="626"/>
                  <a:pt x="419" y="624"/>
                  <a:pt x="420" y="624"/>
                </a:cubicBezTo>
                <a:close/>
                <a:moveTo>
                  <a:pt x="422" y="659"/>
                </a:moveTo>
                <a:cubicBezTo>
                  <a:pt x="422" y="659"/>
                  <a:pt x="423" y="659"/>
                  <a:pt x="423" y="659"/>
                </a:cubicBezTo>
                <a:cubicBezTo>
                  <a:pt x="423" y="661"/>
                  <a:pt x="421" y="659"/>
                  <a:pt x="422" y="659"/>
                </a:cubicBezTo>
                <a:close/>
                <a:moveTo>
                  <a:pt x="435" y="515"/>
                </a:moveTo>
                <a:cubicBezTo>
                  <a:pt x="435" y="516"/>
                  <a:pt x="435" y="517"/>
                  <a:pt x="436" y="518"/>
                </a:cubicBezTo>
                <a:cubicBezTo>
                  <a:pt x="437" y="521"/>
                  <a:pt x="441" y="526"/>
                  <a:pt x="445" y="530"/>
                </a:cubicBezTo>
                <a:cubicBezTo>
                  <a:pt x="448" y="533"/>
                  <a:pt x="451" y="534"/>
                  <a:pt x="453" y="537"/>
                </a:cubicBezTo>
                <a:cubicBezTo>
                  <a:pt x="453" y="537"/>
                  <a:pt x="453" y="538"/>
                  <a:pt x="453" y="539"/>
                </a:cubicBezTo>
                <a:cubicBezTo>
                  <a:pt x="452" y="539"/>
                  <a:pt x="447" y="534"/>
                  <a:pt x="446" y="532"/>
                </a:cubicBezTo>
                <a:cubicBezTo>
                  <a:pt x="444" y="530"/>
                  <a:pt x="442" y="528"/>
                  <a:pt x="440" y="526"/>
                </a:cubicBezTo>
                <a:cubicBezTo>
                  <a:pt x="438" y="524"/>
                  <a:pt x="437" y="519"/>
                  <a:pt x="434" y="518"/>
                </a:cubicBezTo>
                <a:cubicBezTo>
                  <a:pt x="434" y="518"/>
                  <a:pt x="432" y="519"/>
                  <a:pt x="431" y="519"/>
                </a:cubicBezTo>
                <a:cubicBezTo>
                  <a:pt x="427" y="517"/>
                  <a:pt x="431" y="510"/>
                  <a:pt x="435" y="515"/>
                </a:cubicBezTo>
                <a:close/>
                <a:moveTo>
                  <a:pt x="434" y="370"/>
                </a:moveTo>
                <a:cubicBezTo>
                  <a:pt x="435" y="370"/>
                  <a:pt x="436" y="372"/>
                  <a:pt x="436" y="373"/>
                </a:cubicBezTo>
                <a:cubicBezTo>
                  <a:pt x="435" y="373"/>
                  <a:pt x="435" y="371"/>
                  <a:pt x="434" y="370"/>
                </a:cubicBezTo>
                <a:close/>
                <a:moveTo>
                  <a:pt x="437" y="135"/>
                </a:moveTo>
                <a:cubicBezTo>
                  <a:pt x="437" y="135"/>
                  <a:pt x="438" y="135"/>
                  <a:pt x="438" y="136"/>
                </a:cubicBezTo>
                <a:cubicBezTo>
                  <a:pt x="438" y="136"/>
                  <a:pt x="437" y="136"/>
                  <a:pt x="437" y="135"/>
                </a:cubicBezTo>
                <a:close/>
                <a:moveTo>
                  <a:pt x="448" y="408"/>
                </a:moveTo>
                <a:cubicBezTo>
                  <a:pt x="449" y="411"/>
                  <a:pt x="445" y="407"/>
                  <a:pt x="446" y="406"/>
                </a:cubicBezTo>
                <a:cubicBezTo>
                  <a:pt x="447" y="406"/>
                  <a:pt x="448" y="408"/>
                  <a:pt x="448" y="408"/>
                </a:cubicBezTo>
                <a:close/>
                <a:moveTo>
                  <a:pt x="448" y="167"/>
                </a:moveTo>
                <a:cubicBezTo>
                  <a:pt x="449" y="168"/>
                  <a:pt x="446" y="166"/>
                  <a:pt x="448" y="167"/>
                </a:cubicBezTo>
                <a:close/>
                <a:moveTo>
                  <a:pt x="447" y="435"/>
                </a:moveTo>
                <a:cubicBezTo>
                  <a:pt x="448" y="435"/>
                  <a:pt x="449" y="436"/>
                  <a:pt x="449" y="438"/>
                </a:cubicBezTo>
                <a:cubicBezTo>
                  <a:pt x="449" y="439"/>
                  <a:pt x="448" y="440"/>
                  <a:pt x="447" y="440"/>
                </a:cubicBezTo>
                <a:cubicBezTo>
                  <a:pt x="442" y="441"/>
                  <a:pt x="444" y="433"/>
                  <a:pt x="447" y="435"/>
                </a:cubicBezTo>
                <a:close/>
                <a:moveTo>
                  <a:pt x="446" y="515"/>
                </a:moveTo>
                <a:cubicBezTo>
                  <a:pt x="446" y="514"/>
                  <a:pt x="446" y="515"/>
                  <a:pt x="446" y="515"/>
                </a:cubicBezTo>
                <a:close/>
                <a:moveTo>
                  <a:pt x="445" y="441"/>
                </a:moveTo>
                <a:cubicBezTo>
                  <a:pt x="445" y="443"/>
                  <a:pt x="444" y="439"/>
                  <a:pt x="445" y="441"/>
                </a:cubicBezTo>
                <a:close/>
                <a:moveTo>
                  <a:pt x="445" y="494"/>
                </a:moveTo>
                <a:cubicBezTo>
                  <a:pt x="445" y="494"/>
                  <a:pt x="444" y="495"/>
                  <a:pt x="444" y="495"/>
                </a:cubicBezTo>
                <a:cubicBezTo>
                  <a:pt x="443" y="494"/>
                  <a:pt x="444" y="493"/>
                  <a:pt x="445" y="494"/>
                </a:cubicBezTo>
                <a:close/>
                <a:moveTo>
                  <a:pt x="452" y="150"/>
                </a:moveTo>
                <a:cubicBezTo>
                  <a:pt x="452" y="150"/>
                  <a:pt x="452" y="150"/>
                  <a:pt x="452" y="150"/>
                </a:cubicBezTo>
                <a:cubicBezTo>
                  <a:pt x="452" y="150"/>
                  <a:pt x="452" y="150"/>
                  <a:pt x="452" y="150"/>
                </a:cubicBezTo>
                <a:cubicBezTo>
                  <a:pt x="452" y="150"/>
                  <a:pt x="452" y="150"/>
                  <a:pt x="452" y="150"/>
                </a:cubicBezTo>
                <a:close/>
                <a:moveTo>
                  <a:pt x="456" y="548"/>
                </a:moveTo>
                <a:cubicBezTo>
                  <a:pt x="455" y="548"/>
                  <a:pt x="454" y="546"/>
                  <a:pt x="454" y="546"/>
                </a:cubicBezTo>
                <a:cubicBezTo>
                  <a:pt x="455" y="546"/>
                  <a:pt x="455" y="547"/>
                  <a:pt x="456" y="548"/>
                </a:cubicBezTo>
                <a:close/>
                <a:moveTo>
                  <a:pt x="454" y="436"/>
                </a:moveTo>
                <a:cubicBezTo>
                  <a:pt x="454" y="436"/>
                  <a:pt x="454" y="436"/>
                  <a:pt x="454" y="436"/>
                </a:cubicBezTo>
                <a:cubicBezTo>
                  <a:pt x="455" y="437"/>
                  <a:pt x="454" y="436"/>
                  <a:pt x="454" y="436"/>
                </a:cubicBezTo>
                <a:close/>
                <a:moveTo>
                  <a:pt x="459" y="622"/>
                </a:moveTo>
                <a:cubicBezTo>
                  <a:pt x="459" y="623"/>
                  <a:pt x="459" y="624"/>
                  <a:pt x="457" y="623"/>
                </a:cubicBezTo>
                <a:cubicBezTo>
                  <a:pt x="455" y="622"/>
                  <a:pt x="448" y="615"/>
                  <a:pt x="448" y="614"/>
                </a:cubicBezTo>
                <a:cubicBezTo>
                  <a:pt x="450" y="613"/>
                  <a:pt x="451" y="617"/>
                  <a:pt x="452" y="617"/>
                </a:cubicBezTo>
                <a:cubicBezTo>
                  <a:pt x="454" y="619"/>
                  <a:pt x="459" y="619"/>
                  <a:pt x="459" y="622"/>
                </a:cubicBezTo>
                <a:close/>
                <a:moveTo>
                  <a:pt x="458" y="565"/>
                </a:moveTo>
                <a:cubicBezTo>
                  <a:pt x="456" y="564"/>
                  <a:pt x="457" y="563"/>
                  <a:pt x="458" y="565"/>
                </a:cubicBezTo>
                <a:close/>
                <a:moveTo>
                  <a:pt x="459" y="565"/>
                </a:moveTo>
                <a:cubicBezTo>
                  <a:pt x="460" y="565"/>
                  <a:pt x="458" y="567"/>
                  <a:pt x="459" y="565"/>
                </a:cubicBezTo>
                <a:close/>
                <a:moveTo>
                  <a:pt x="459" y="642"/>
                </a:moveTo>
                <a:cubicBezTo>
                  <a:pt x="459" y="642"/>
                  <a:pt x="458" y="641"/>
                  <a:pt x="458" y="641"/>
                </a:cubicBezTo>
                <a:cubicBezTo>
                  <a:pt x="458" y="640"/>
                  <a:pt x="459" y="641"/>
                  <a:pt x="459" y="642"/>
                </a:cubicBezTo>
                <a:close/>
                <a:moveTo>
                  <a:pt x="454" y="648"/>
                </a:moveTo>
                <a:cubicBezTo>
                  <a:pt x="455" y="648"/>
                  <a:pt x="457" y="649"/>
                  <a:pt x="457" y="649"/>
                </a:cubicBezTo>
                <a:cubicBezTo>
                  <a:pt x="458" y="652"/>
                  <a:pt x="453" y="650"/>
                  <a:pt x="454" y="648"/>
                </a:cubicBezTo>
                <a:close/>
                <a:moveTo>
                  <a:pt x="454" y="659"/>
                </a:moveTo>
                <a:cubicBezTo>
                  <a:pt x="454" y="659"/>
                  <a:pt x="455" y="658"/>
                  <a:pt x="456" y="659"/>
                </a:cubicBezTo>
                <a:cubicBezTo>
                  <a:pt x="457" y="659"/>
                  <a:pt x="455" y="660"/>
                  <a:pt x="454" y="659"/>
                </a:cubicBezTo>
                <a:close/>
                <a:moveTo>
                  <a:pt x="452" y="632"/>
                </a:moveTo>
                <a:cubicBezTo>
                  <a:pt x="452" y="632"/>
                  <a:pt x="453" y="632"/>
                  <a:pt x="453" y="633"/>
                </a:cubicBezTo>
                <a:cubicBezTo>
                  <a:pt x="454" y="635"/>
                  <a:pt x="450" y="634"/>
                  <a:pt x="452" y="632"/>
                </a:cubicBezTo>
                <a:close/>
                <a:moveTo>
                  <a:pt x="449" y="622"/>
                </a:moveTo>
                <a:cubicBezTo>
                  <a:pt x="449" y="622"/>
                  <a:pt x="450" y="622"/>
                  <a:pt x="450" y="623"/>
                </a:cubicBezTo>
                <a:cubicBezTo>
                  <a:pt x="451" y="624"/>
                  <a:pt x="449" y="623"/>
                  <a:pt x="449" y="622"/>
                </a:cubicBezTo>
                <a:close/>
                <a:moveTo>
                  <a:pt x="446" y="640"/>
                </a:moveTo>
                <a:cubicBezTo>
                  <a:pt x="446" y="640"/>
                  <a:pt x="444" y="639"/>
                  <a:pt x="444" y="639"/>
                </a:cubicBezTo>
                <a:cubicBezTo>
                  <a:pt x="445" y="639"/>
                  <a:pt x="446" y="640"/>
                  <a:pt x="446" y="640"/>
                </a:cubicBezTo>
                <a:close/>
                <a:moveTo>
                  <a:pt x="445" y="602"/>
                </a:moveTo>
                <a:cubicBezTo>
                  <a:pt x="447" y="601"/>
                  <a:pt x="447" y="603"/>
                  <a:pt x="445" y="602"/>
                </a:cubicBezTo>
                <a:close/>
                <a:moveTo>
                  <a:pt x="444" y="571"/>
                </a:moveTo>
                <a:cubicBezTo>
                  <a:pt x="446" y="569"/>
                  <a:pt x="449" y="573"/>
                  <a:pt x="449" y="574"/>
                </a:cubicBezTo>
                <a:cubicBezTo>
                  <a:pt x="449" y="579"/>
                  <a:pt x="441" y="574"/>
                  <a:pt x="444" y="571"/>
                </a:cubicBezTo>
                <a:close/>
                <a:moveTo>
                  <a:pt x="429" y="648"/>
                </a:moveTo>
                <a:cubicBezTo>
                  <a:pt x="432" y="648"/>
                  <a:pt x="434" y="647"/>
                  <a:pt x="436" y="649"/>
                </a:cubicBezTo>
                <a:cubicBezTo>
                  <a:pt x="437" y="650"/>
                  <a:pt x="437" y="652"/>
                  <a:pt x="437" y="652"/>
                </a:cubicBezTo>
                <a:cubicBezTo>
                  <a:pt x="438" y="654"/>
                  <a:pt x="441" y="652"/>
                  <a:pt x="442" y="654"/>
                </a:cubicBezTo>
                <a:cubicBezTo>
                  <a:pt x="443" y="657"/>
                  <a:pt x="439" y="658"/>
                  <a:pt x="439" y="658"/>
                </a:cubicBezTo>
                <a:cubicBezTo>
                  <a:pt x="436" y="659"/>
                  <a:pt x="435" y="653"/>
                  <a:pt x="431" y="654"/>
                </a:cubicBezTo>
                <a:cubicBezTo>
                  <a:pt x="430" y="654"/>
                  <a:pt x="429" y="655"/>
                  <a:pt x="428" y="654"/>
                </a:cubicBezTo>
                <a:cubicBezTo>
                  <a:pt x="432" y="653"/>
                  <a:pt x="424" y="648"/>
                  <a:pt x="429" y="648"/>
                </a:cubicBezTo>
                <a:close/>
                <a:moveTo>
                  <a:pt x="428" y="646"/>
                </a:moveTo>
                <a:cubicBezTo>
                  <a:pt x="428" y="646"/>
                  <a:pt x="428" y="646"/>
                  <a:pt x="428" y="646"/>
                </a:cubicBezTo>
                <a:cubicBezTo>
                  <a:pt x="430" y="647"/>
                  <a:pt x="426" y="646"/>
                  <a:pt x="428" y="646"/>
                </a:cubicBezTo>
                <a:close/>
                <a:moveTo>
                  <a:pt x="426" y="638"/>
                </a:moveTo>
                <a:cubicBezTo>
                  <a:pt x="427" y="637"/>
                  <a:pt x="427" y="638"/>
                  <a:pt x="427" y="638"/>
                </a:cubicBezTo>
                <a:cubicBezTo>
                  <a:pt x="428" y="639"/>
                  <a:pt x="426" y="639"/>
                  <a:pt x="426" y="638"/>
                </a:cubicBezTo>
                <a:close/>
                <a:moveTo>
                  <a:pt x="429" y="628"/>
                </a:moveTo>
                <a:cubicBezTo>
                  <a:pt x="429" y="627"/>
                  <a:pt x="431" y="628"/>
                  <a:pt x="432" y="627"/>
                </a:cubicBezTo>
                <a:cubicBezTo>
                  <a:pt x="433" y="625"/>
                  <a:pt x="437" y="628"/>
                  <a:pt x="437" y="630"/>
                </a:cubicBezTo>
                <a:cubicBezTo>
                  <a:pt x="437" y="634"/>
                  <a:pt x="435" y="632"/>
                  <a:pt x="433" y="633"/>
                </a:cubicBezTo>
                <a:cubicBezTo>
                  <a:pt x="434" y="633"/>
                  <a:pt x="432" y="634"/>
                  <a:pt x="432" y="634"/>
                </a:cubicBezTo>
                <a:cubicBezTo>
                  <a:pt x="430" y="633"/>
                  <a:pt x="428" y="630"/>
                  <a:pt x="429" y="628"/>
                </a:cubicBezTo>
                <a:close/>
                <a:moveTo>
                  <a:pt x="429" y="579"/>
                </a:moveTo>
                <a:cubicBezTo>
                  <a:pt x="430" y="579"/>
                  <a:pt x="429" y="581"/>
                  <a:pt x="429" y="580"/>
                </a:cubicBezTo>
                <a:cubicBezTo>
                  <a:pt x="429" y="580"/>
                  <a:pt x="429" y="579"/>
                  <a:pt x="429" y="579"/>
                </a:cubicBezTo>
                <a:close/>
                <a:moveTo>
                  <a:pt x="430" y="612"/>
                </a:moveTo>
                <a:cubicBezTo>
                  <a:pt x="431" y="612"/>
                  <a:pt x="431" y="613"/>
                  <a:pt x="432" y="613"/>
                </a:cubicBezTo>
                <a:cubicBezTo>
                  <a:pt x="431" y="614"/>
                  <a:pt x="430" y="613"/>
                  <a:pt x="430" y="612"/>
                </a:cubicBezTo>
                <a:close/>
                <a:moveTo>
                  <a:pt x="433" y="549"/>
                </a:moveTo>
                <a:cubicBezTo>
                  <a:pt x="434" y="549"/>
                  <a:pt x="434" y="549"/>
                  <a:pt x="434" y="550"/>
                </a:cubicBezTo>
                <a:cubicBezTo>
                  <a:pt x="435" y="551"/>
                  <a:pt x="432" y="549"/>
                  <a:pt x="433" y="549"/>
                </a:cubicBezTo>
                <a:close/>
                <a:moveTo>
                  <a:pt x="443" y="617"/>
                </a:moveTo>
                <a:cubicBezTo>
                  <a:pt x="442" y="618"/>
                  <a:pt x="443" y="618"/>
                  <a:pt x="443" y="618"/>
                </a:cubicBezTo>
                <a:cubicBezTo>
                  <a:pt x="444" y="619"/>
                  <a:pt x="442" y="618"/>
                  <a:pt x="443" y="617"/>
                </a:cubicBezTo>
                <a:close/>
                <a:moveTo>
                  <a:pt x="443" y="632"/>
                </a:moveTo>
                <a:cubicBezTo>
                  <a:pt x="443" y="632"/>
                  <a:pt x="443" y="632"/>
                  <a:pt x="443" y="632"/>
                </a:cubicBezTo>
                <a:cubicBezTo>
                  <a:pt x="442" y="632"/>
                  <a:pt x="443" y="632"/>
                  <a:pt x="443" y="632"/>
                </a:cubicBezTo>
                <a:close/>
                <a:moveTo>
                  <a:pt x="442" y="613"/>
                </a:moveTo>
                <a:cubicBezTo>
                  <a:pt x="442" y="612"/>
                  <a:pt x="443" y="613"/>
                  <a:pt x="443" y="613"/>
                </a:cubicBezTo>
                <a:cubicBezTo>
                  <a:pt x="443" y="615"/>
                  <a:pt x="441" y="613"/>
                  <a:pt x="442" y="613"/>
                </a:cubicBezTo>
                <a:close/>
                <a:moveTo>
                  <a:pt x="443" y="582"/>
                </a:moveTo>
                <a:cubicBezTo>
                  <a:pt x="443" y="583"/>
                  <a:pt x="443" y="583"/>
                  <a:pt x="443" y="583"/>
                </a:cubicBezTo>
                <a:cubicBezTo>
                  <a:pt x="443" y="585"/>
                  <a:pt x="442" y="581"/>
                  <a:pt x="443" y="582"/>
                </a:cubicBezTo>
                <a:close/>
                <a:moveTo>
                  <a:pt x="441" y="554"/>
                </a:moveTo>
                <a:cubicBezTo>
                  <a:pt x="442" y="553"/>
                  <a:pt x="447" y="555"/>
                  <a:pt x="446" y="558"/>
                </a:cubicBezTo>
                <a:cubicBezTo>
                  <a:pt x="445" y="558"/>
                  <a:pt x="440" y="556"/>
                  <a:pt x="441" y="554"/>
                </a:cubicBezTo>
                <a:close/>
                <a:moveTo>
                  <a:pt x="441" y="609"/>
                </a:moveTo>
                <a:cubicBezTo>
                  <a:pt x="442" y="610"/>
                  <a:pt x="440" y="608"/>
                  <a:pt x="441" y="609"/>
                </a:cubicBezTo>
                <a:close/>
                <a:moveTo>
                  <a:pt x="440" y="534"/>
                </a:moveTo>
                <a:cubicBezTo>
                  <a:pt x="441" y="534"/>
                  <a:pt x="441" y="535"/>
                  <a:pt x="441" y="535"/>
                </a:cubicBezTo>
                <a:cubicBezTo>
                  <a:pt x="441" y="536"/>
                  <a:pt x="440" y="535"/>
                  <a:pt x="440" y="534"/>
                </a:cubicBezTo>
                <a:close/>
                <a:moveTo>
                  <a:pt x="442" y="648"/>
                </a:moveTo>
                <a:cubicBezTo>
                  <a:pt x="442" y="651"/>
                  <a:pt x="437" y="649"/>
                  <a:pt x="438" y="646"/>
                </a:cubicBezTo>
                <a:cubicBezTo>
                  <a:pt x="438" y="645"/>
                  <a:pt x="442" y="646"/>
                  <a:pt x="442" y="648"/>
                </a:cubicBezTo>
                <a:close/>
                <a:moveTo>
                  <a:pt x="435" y="615"/>
                </a:moveTo>
                <a:cubicBezTo>
                  <a:pt x="437" y="617"/>
                  <a:pt x="438" y="618"/>
                  <a:pt x="440" y="619"/>
                </a:cubicBezTo>
                <a:cubicBezTo>
                  <a:pt x="439" y="620"/>
                  <a:pt x="436" y="617"/>
                  <a:pt x="435" y="615"/>
                </a:cubicBezTo>
                <a:close/>
                <a:moveTo>
                  <a:pt x="437" y="603"/>
                </a:moveTo>
                <a:cubicBezTo>
                  <a:pt x="436" y="604"/>
                  <a:pt x="436" y="602"/>
                  <a:pt x="437" y="603"/>
                </a:cubicBezTo>
                <a:close/>
                <a:moveTo>
                  <a:pt x="436" y="529"/>
                </a:moveTo>
                <a:cubicBezTo>
                  <a:pt x="438" y="528"/>
                  <a:pt x="438" y="531"/>
                  <a:pt x="439" y="532"/>
                </a:cubicBezTo>
                <a:cubicBezTo>
                  <a:pt x="438" y="531"/>
                  <a:pt x="437" y="529"/>
                  <a:pt x="436" y="529"/>
                </a:cubicBezTo>
                <a:close/>
                <a:moveTo>
                  <a:pt x="435" y="525"/>
                </a:moveTo>
                <a:cubicBezTo>
                  <a:pt x="435" y="526"/>
                  <a:pt x="435" y="527"/>
                  <a:pt x="436" y="527"/>
                </a:cubicBezTo>
                <a:cubicBezTo>
                  <a:pt x="435" y="528"/>
                  <a:pt x="434" y="526"/>
                  <a:pt x="435" y="525"/>
                </a:cubicBezTo>
                <a:close/>
                <a:moveTo>
                  <a:pt x="432" y="638"/>
                </a:moveTo>
                <a:cubicBezTo>
                  <a:pt x="432" y="637"/>
                  <a:pt x="436" y="638"/>
                  <a:pt x="436" y="639"/>
                </a:cubicBezTo>
                <a:cubicBezTo>
                  <a:pt x="437" y="642"/>
                  <a:pt x="432" y="639"/>
                  <a:pt x="432" y="638"/>
                </a:cubicBezTo>
                <a:close/>
                <a:moveTo>
                  <a:pt x="435" y="641"/>
                </a:moveTo>
                <a:cubicBezTo>
                  <a:pt x="435" y="641"/>
                  <a:pt x="436" y="641"/>
                  <a:pt x="436" y="642"/>
                </a:cubicBezTo>
                <a:cubicBezTo>
                  <a:pt x="437" y="643"/>
                  <a:pt x="434" y="643"/>
                  <a:pt x="435" y="641"/>
                </a:cubicBezTo>
                <a:close/>
                <a:moveTo>
                  <a:pt x="444" y="668"/>
                </a:moveTo>
                <a:cubicBezTo>
                  <a:pt x="444" y="669"/>
                  <a:pt x="443" y="670"/>
                  <a:pt x="442" y="668"/>
                </a:cubicBezTo>
                <a:cubicBezTo>
                  <a:pt x="442" y="668"/>
                  <a:pt x="444" y="666"/>
                  <a:pt x="444" y="668"/>
                </a:cubicBezTo>
                <a:close/>
                <a:moveTo>
                  <a:pt x="449" y="565"/>
                </a:moveTo>
                <a:cubicBezTo>
                  <a:pt x="450" y="564"/>
                  <a:pt x="451" y="565"/>
                  <a:pt x="451" y="566"/>
                </a:cubicBezTo>
                <a:cubicBezTo>
                  <a:pt x="453" y="568"/>
                  <a:pt x="448" y="567"/>
                  <a:pt x="449" y="565"/>
                </a:cubicBezTo>
                <a:close/>
                <a:moveTo>
                  <a:pt x="455" y="614"/>
                </a:moveTo>
                <a:cubicBezTo>
                  <a:pt x="456" y="615"/>
                  <a:pt x="454" y="614"/>
                  <a:pt x="454" y="614"/>
                </a:cubicBezTo>
                <a:cubicBezTo>
                  <a:pt x="454" y="613"/>
                  <a:pt x="455" y="613"/>
                  <a:pt x="455" y="614"/>
                </a:cubicBezTo>
                <a:close/>
                <a:moveTo>
                  <a:pt x="452" y="555"/>
                </a:moveTo>
                <a:cubicBezTo>
                  <a:pt x="453" y="554"/>
                  <a:pt x="454" y="555"/>
                  <a:pt x="454" y="556"/>
                </a:cubicBezTo>
                <a:cubicBezTo>
                  <a:pt x="456" y="559"/>
                  <a:pt x="450" y="556"/>
                  <a:pt x="452" y="555"/>
                </a:cubicBezTo>
                <a:close/>
                <a:moveTo>
                  <a:pt x="451" y="548"/>
                </a:moveTo>
                <a:cubicBezTo>
                  <a:pt x="453" y="547"/>
                  <a:pt x="455" y="549"/>
                  <a:pt x="455" y="550"/>
                </a:cubicBezTo>
                <a:cubicBezTo>
                  <a:pt x="455" y="553"/>
                  <a:pt x="450" y="550"/>
                  <a:pt x="451" y="548"/>
                </a:cubicBezTo>
                <a:close/>
                <a:moveTo>
                  <a:pt x="454" y="498"/>
                </a:moveTo>
                <a:cubicBezTo>
                  <a:pt x="454" y="498"/>
                  <a:pt x="454" y="499"/>
                  <a:pt x="454" y="499"/>
                </a:cubicBezTo>
                <a:cubicBezTo>
                  <a:pt x="453" y="499"/>
                  <a:pt x="452" y="496"/>
                  <a:pt x="454" y="498"/>
                </a:cubicBezTo>
                <a:close/>
                <a:moveTo>
                  <a:pt x="454" y="414"/>
                </a:moveTo>
                <a:cubicBezTo>
                  <a:pt x="454" y="416"/>
                  <a:pt x="453" y="412"/>
                  <a:pt x="454" y="414"/>
                </a:cubicBezTo>
                <a:close/>
                <a:moveTo>
                  <a:pt x="452" y="462"/>
                </a:moveTo>
                <a:cubicBezTo>
                  <a:pt x="454" y="463"/>
                  <a:pt x="452" y="464"/>
                  <a:pt x="452" y="462"/>
                </a:cubicBezTo>
                <a:close/>
                <a:moveTo>
                  <a:pt x="453" y="501"/>
                </a:moveTo>
                <a:cubicBezTo>
                  <a:pt x="452" y="500"/>
                  <a:pt x="453" y="502"/>
                  <a:pt x="453" y="501"/>
                </a:cubicBezTo>
                <a:close/>
                <a:moveTo>
                  <a:pt x="429" y="475"/>
                </a:moveTo>
                <a:cubicBezTo>
                  <a:pt x="429" y="474"/>
                  <a:pt x="430" y="475"/>
                  <a:pt x="430" y="476"/>
                </a:cubicBezTo>
                <a:cubicBezTo>
                  <a:pt x="431" y="478"/>
                  <a:pt x="427" y="476"/>
                  <a:pt x="429" y="475"/>
                </a:cubicBezTo>
                <a:close/>
                <a:moveTo>
                  <a:pt x="429" y="611"/>
                </a:moveTo>
                <a:cubicBezTo>
                  <a:pt x="429" y="612"/>
                  <a:pt x="426" y="610"/>
                  <a:pt x="427" y="610"/>
                </a:cubicBezTo>
                <a:cubicBezTo>
                  <a:pt x="427" y="609"/>
                  <a:pt x="428" y="610"/>
                  <a:pt x="429" y="611"/>
                </a:cubicBezTo>
                <a:close/>
                <a:moveTo>
                  <a:pt x="427" y="634"/>
                </a:moveTo>
                <a:cubicBezTo>
                  <a:pt x="428" y="633"/>
                  <a:pt x="429" y="634"/>
                  <a:pt x="429" y="634"/>
                </a:cubicBezTo>
                <a:cubicBezTo>
                  <a:pt x="431" y="637"/>
                  <a:pt x="425" y="636"/>
                  <a:pt x="427" y="634"/>
                </a:cubicBezTo>
                <a:close/>
                <a:moveTo>
                  <a:pt x="425" y="607"/>
                </a:moveTo>
                <a:cubicBezTo>
                  <a:pt x="426" y="606"/>
                  <a:pt x="426" y="607"/>
                  <a:pt x="426" y="607"/>
                </a:cubicBezTo>
                <a:cubicBezTo>
                  <a:pt x="427" y="609"/>
                  <a:pt x="424" y="607"/>
                  <a:pt x="425" y="607"/>
                </a:cubicBezTo>
                <a:close/>
                <a:moveTo>
                  <a:pt x="426" y="620"/>
                </a:moveTo>
                <a:cubicBezTo>
                  <a:pt x="426" y="622"/>
                  <a:pt x="423" y="620"/>
                  <a:pt x="423" y="619"/>
                </a:cubicBezTo>
                <a:cubicBezTo>
                  <a:pt x="423" y="618"/>
                  <a:pt x="426" y="619"/>
                  <a:pt x="426" y="620"/>
                </a:cubicBezTo>
                <a:close/>
                <a:moveTo>
                  <a:pt x="420" y="690"/>
                </a:moveTo>
                <a:cubicBezTo>
                  <a:pt x="420" y="689"/>
                  <a:pt x="411" y="686"/>
                  <a:pt x="416" y="684"/>
                </a:cubicBezTo>
                <a:cubicBezTo>
                  <a:pt x="417" y="683"/>
                  <a:pt x="420" y="684"/>
                  <a:pt x="420" y="685"/>
                </a:cubicBezTo>
                <a:cubicBezTo>
                  <a:pt x="421" y="687"/>
                  <a:pt x="418" y="688"/>
                  <a:pt x="423" y="689"/>
                </a:cubicBezTo>
                <a:cubicBezTo>
                  <a:pt x="421" y="689"/>
                  <a:pt x="420" y="689"/>
                  <a:pt x="420" y="690"/>
                </a:cubicBezTo>
                <a:close/>
                <a:moveTo>
                  <a:pt x="418" y="700"/>
                </a:moveTo>
                <a:cubicBezTo>
                  <a:pt x="417" y="701"/>
                  <a:pt x="418" y="702"/>
                  <a:pt x="417" y="702"/>
                </a:cubicBezTo>
                <a:cubicBezTo>
                  <a:pt x="416" y="703"/>
                  <a:pt x="406" y="701"/>
                  <a:pt x="406" y="698"/>
                </a:cubicBezTo>
                <a:cubicBezTo>
                  <a:pt x="406" y="697"/>
                  <a:pt x="408" y="696"/>
                  <a:pt x="406" y="695"/>
                </a:cubicBezTo>
                <a:cubicBezTo>
                  <a:pt x="405" y="694"/>
                  <a:pt x="416" y="695"/>
                  <a:pt x="419" y="696"/>
                </a:cubicBezTo>
                <a:cubicBezTo>
                  <a:pt x="417" y="696"/>
                  <a:pt x="420" y="699"/>
                  <a:pt x="420" y="699"/>
                </a:cubicBezTo>
                <a:cubicBezTo>
                  <a:pt x="420" y="700"/>
                  <a:pt x="419" y="699"/>
                  <a:pt x="418" y="700"/>
                </a:cubicBezTo>
                <a:close/>
                <a:moveTo>
                  <a:pt x="420" y="714"/>
                </a:moveTo>
                <a:cubicBezTo>
                  <a:pt x="422" y="716"/>
                  <a:pt x="416" y="715"/>
                  <a:pt x="418" y="714"/>
                </a:cubicBezTo>
                <a:cubicBezTo>
                  <a:pt x="418" y="714"/>
                  <a:pt x="419" y="714"/>
                  <a:pt x="420" y="714"/>
                </a:cubicBezTo>
                <a:close/>
                <a:moveTo>
                  <a:pt x="410" y="719"/>
                </a:moveTo>
                <a:cubicBezTo>
                  <a:pt x="410" y="718"/>
                  <a:pt x="411" y="718"/>
                  <a:pt x="411" y="719"/>
                </a:cubicBezTo>
                <a:cubicBezTo>
                  <a:pt x="412" y="720"/>
                  <a:pt x="410" y="719"/>
                  <a:pt x="410" y="719"/>
                </a:cubicBezTo>
                <a:close/>
                <a:moveTo>
                  <a:pt x="403" y="686"/>
                </a:moveTo>
                <a:cubicBezTo>
                  <a:pt x="403" y="685"/>
                  <a:pt x="408" y="686"/>
                  <a:pt x="408" y="687"/>
                </a:cubicBezTo>
                <a:cubicBezTo>
                  <a:pt x="409" y="690"/>
                  <a:pt x="403" y="687"/>
                  <a:pt x="403" y="686"/>
                </a:cubicBezTo>
                <a:close/>
                <a:moveTo>
                  <a:pt x="406" y="697"/>
                </a:moveTo>
                <a:cubicBezTo>
                  <a:pt x="404" y="698"/>
                  <a:pt x="402" y="697"/>
                  <a:pt x="403" y="695"/>
                </a:cubicBezTo>
                <a:cubicBezTo>
                  <a:pt x="404" y="696"/>
                  <a:pt x="405" y="697"/>
                  <a:pt x="406" y="697"/>
                </a:cubicBezTo>
                <a:close/>
                <a:moveTo>
                  <a:pt x="414" y="652"/>
                </a:moveTo>
                <a:cubicBezTo>
                  <a:pt x="415" y="651"/>
                  <a:pt x="417" y="653"/>
                  <a:pt x="417" y="653"/>
                </a:cubicBezTo>
                <a:cubicBezTo>
                  <a:pt x="418" y="656"/>
                  <a:pt x="412" y="653"/>
                  <a:pt x="414" y="652"/>
                </a:cubicBezTo>
                <a:close/>
                <a:moveTo>
                  <a:pt x="418" y="679"/>
                </a:moveTo>
                <a:cubicBezTo>
                  <a:pt x="418" y="679"/>
                  <a:pt x="415" y="680"/>
                  <a:pt x="415" y="678"/>
                </a:cubicBezTo>
                <a:cubicBezTo>
                  <a:pt x="414" y="677"/>
                  <a:pt x="418" y="676"/>
                  <a:pt x="418" y="679"/>
                </a:cubicBezTo>
                <a:close/>
                <a:moveTo>
                  <a:pt x="414" y="669"/>
                </a:moveTo>
                <a:cubicBezTo>
                  <a:pt x="413" y="667"/>
                  <a:pt x="415" y="670"/>
                  <a:pt x="414" y="669"/>
                </a:cubicBezTo>
                <a:close/>
                <a:moveTo>
                  <a:pt x="411" y="641"/>
                </a:moveTo>
                <a:cubicBezTo>
                  <a:pt x="412" y="639"/>
                  <a:pt x="414" y="640"/>
                  <a:pt x="414" y="641"/>
                </a:cubicBezTo>
                <a:cubicBezTo>
                  <a:pt x="415" y="643"/>
                  <a:pt x="411" y="642"/>
                  <a:pt x="411" y="641"/>
                </a:cubicBezTo>
                <a:close/>
                <a:moveTo>
                  <a:pt x="420" y="682"/>
                </a:moveTo>
                <a:cubicBezTo>
                  <a:pt x="419" y="681"/>
                  <a:pt x="420" y="682"/>
                  <a:pt x="421" y="682"/>
                </a:cubicBezTo>
                <a:cubicBezTo>
                  <a:pt x="421" y="683"/>
                  <a:pt x="420" y="683"/>
                  <a:pt x="420" y="682"/>
                </a:cubicBezTo>
                <a:close/>
                <a:moveTo>
                  <a:pt x="422" y="683"/>
                </a:moveTo>
                <a:cubicBezTo>
                  <a:pt x="423" y="683"/>
                  <a:pt x="424" y="684"/>
                  <a:pt x="425" y="684"/>
                </a:cubicBezTo>
                <a:cubicBezTo>
                  <a:pt x="424" y="685"/>
                  <a:pt x="422" y="684"/>
                  <a:pt x="422" y="683"/>
                </a:cubicBezTo>
                <a:close/>
                <a:moveTo>
                  <a:pt x="425" y="673"/>
                </a:moveTo>
                <a:cubicBezTo>
                  <a:pt x="426" y="672"/>
                  <a:pt x="427" y="673"/>
                  <a:pt x="428" y="673"/>
                </a:cubicBezTo>
                <a:cubicBezTo>
                  <a:pt x="429" y="676"/>
                  <a:pt x="424" y="674"/>
                  <a:pt x="425" y="673"/>
                </a:cubicBezTo>
                <a:close/>
                <a:moveTo>
                  <a:pt x="426" y="681"/>
                </a:moveTo>
                <a:cubicBezTo>
                  <a:pt x="427" y="680"/>
                  <a:pt x="427" y="683"/>
                  <a:pt x="426" y="681"/>
                </a:cubicBezTo>
                <a:close/>
                <a:moveTo>
                  <a:pt x="427" y="693"/>
                </a:moveTo>
                <a:cubicBezTo>
                  <a:pt x="427" y="693"/>
                  <a:pt x="427" y="694"/>
                  <a:pt x="427" y="694"/>
                </a:cubicBezTo>
                <a:cubicBezTo>
                  <a:pt x="424" y="696"/>
                  <a:pt x="425" y="691"/>
                  <a:pt x="427" y="693"/>
                </a:cubicBezTo>
                <a:close/>
                <a:moveTo>
                  <a:pt x="426" y="685"/>
                </a:moveTo>
                <a:cubicBezTo>
                  <a:pt x="427" y="686"/>
                  <a:pt x="429" y="686"/>
                  <a:pt x="430" y="687"/>
                </a:cubicBezTo>
                <a:cubicBezTo>
                  <a:pt x="428" y="686"/>
                  <a:pt x="426" y="686"/>
                  <a:pt x="426" y="685"/>
                </a:cubicBezTo>
                <a:close/>
                <a:moveTo>
                  <a:pt x="416" y="649"/>
                </a:moveTo>
                <a:cubicBezTo>
                  <a:pt x="420" y="650"/>
                  <a:pt x="417" y="652"/>
                  <a:pt x="416" y="649"/>
                </a:cubicBezTo>
                <a:close/>
                <a:moveTo>
                  <a:pt x="418" y="563"/>
                </a:moveTo>
                <a:cubicBezTo>
                  <a:pt x="417" y="563"/>
                  <a:pt x="417" y="562"/>
                  <a:pt x="416" y="562"/>
                </a:cubicBezTo>
                <a:cubicBezTo>
                  <a:pt x="417" y="561"/>
                  <a:pt x="418" y="562"/>
                  <a:pt x="418" y="563"/>
                </a:cubicBezTo>
                <a:close/>
                <a:moveTo>
                  <a:pt x="414" y="556"/>
                </a:moveTo>
                <a:cubicBezTo>
                  <a:pt x="415" y="555"/>
                  <a:pt x="417" y="556"/>
                  <a:pt x="417" y="557"/>
                </a:cubicBezTo>
                <a:cubicBezTo>
                  <a:pt x="417" y="558"/>
                  <a:pt x="414" y="557"/>
                  <a:pt x="414" y="556"/>
                </a:cubicBezTo>
                <a:close/>
                <a:moveTo>
                  <a:pt x="415" y="631"/>
                </a:moveTo>
                <a:cubicBezTo>
                  <a:pt x="416" y="633"/>
                  <a:pt x="415" y="635"/>
                  <a:pt x="414" y="635"/>
                </a:cubicBezTo>
                <a:cubicBezTo>
                  <a:pt x="414" y="635"/>
                  <a:pt x="410" y="636"/>
                  <a:pt x="409" y="635"/>
                </a:cubicBezTo>
                <a:cubicBezTo>
                  <a:pt x="408" y="634"/>
                  <a:pt x="411" y="632"/>
                  <a:pt x="410" y="631"/>
                </a:cubicBezTo>
                <a:cubicBezTo>
                  <a:pt x="409" y="631"/>
                  <a:pt x="407" y="632"/>
                  <a:pt x="407" y="631"/>
                </a:cubicBezTo>
                <a:cubicBezTo>
                  <a:pt x="405" y="627"/>
                  <a:pt x="414" y="627"/>
                  <a:pt x="415" y="631"/>
                </a:cubicBezTo>
                <a:close/>
                <a:moveTo>
                  <a:pt x="410" y="640"/>
                </a:moveTo>
                <a:cubicBezTo>
                  <a:pt x="410" y="642"/>
                  <a:pt x="408" y="641"/>
                  <a:pt x="408" y="639"/>
                </a:cubicBezTo>
                <a:cubicBezTo>
                  <a:pt x="408" y="638"/>
                  <a:pt x="411" y="637"/>
                  <a:pt x="410" y="640"/>
                </a:cubicBezTo>
                <a:close/>
                <a:moveTo>
                  <a:pt x="408" y="660"/>
                </a:moveTo>
                <a:cubicBezTo>
                  <a:pt x="407" y="661"/>
                  <a:pt x="407" y="658"/>
                  <a:pt x="408" y="659"/>
                </a:cubicBezTo>
                <a:cubicBezTo>
                  <a:pt x="408" y="660"/>
                  <a:pt x="408" y="660"/>
                  <a:pt x="408" y="660"/>
                </a:cubicBezTo>
                <a:close/>
                <a:moveTo>
                  <a:pt x="407" y="611"/>
                </a:moveTo>
                <a:cubicBezTo>
                  <a:pt x="408" y="611"/>
                  <a:pt x="408" y="611"/>
                  <a:pt x="408" y="611"/>
                </a:cubicBezTo>
                <a:cubicBezTo>
                  <a:pt x="409" y="613"/>
                  <a:pt x="406" y="612"/>
                  <a:pt x="407" y="611"/>
                </a:cubicBezTo>
                <a:close/>
                <a:moveTo>
                  <a:pt x="408" y="568"/>
                </a:moveTo>
                <a:cubicBezTo>
                  <a:pt x="407" y="567"/>
                  <a:pt x="409" y="569"/>
                  <a:pt x="408" y="568"/>
                </a:cubicBezTo>
                <a:close/>
                <a:moveTo>
                  <a:pt x="408" y="164"/>
                </a:moveTo>
                <a:cubicBezTo>
                  <a:pt x="406" y="164"/>
                  <a:pt x="406" y="162"/>
                  <a:pt x="405" y="162"/>
                </a:cubicBezTo>
                <a:cubicBezTo>
                  <a:pt x="406" y="161"/>
                  <a:pt x="407" y="163"/>
                  <a:pt x="408" y="164"/>
                </a:cubicBezTo>
                <a:close/>
                <a:moveTo>
                  <a:pt x="405" y="462"/>
                </a:moveTo>
                <a:cubicBezTo>
                  <a:pt x="407" y="463"/>
                  <a:pt x="405" y="464"/>
                  <a:pt x="405" y="462"/>
                </a:cubicBezTo>
                <a:close/>
                <a:moveTo>
                  <a:pt x="404" y="93"/>
                </a:moveTo>
                <a:cubicBezTo>
                  <a:pt x="405" y="93"/>
                  <a:pt x="405" y="93"/>
                  <a:pt x="406" y="94"/>
                </a:cubicBezTo>
                <a:cubicBezTo>
                  <a:pt x="405" y="94"/>
                  <a:pt x="404" y="94"/>
                  <a:pt x="404" y="93"/>
                </a:cubicBezTo>
                <a:close/>
                <a:moveTo>
                  <a:pt x="404" y="393"/>
                </a:moveTo>
                <a:cubicBezTo>
                  <a:pt x="403" y="393"/>
                  <a:pt x="404" y="392"/>
                  <a:pt x="403" y="391"/>
                </a:cubicBezTo>
                <a:cubicBezTo>
                  <a:pt x="403" y="391"/>
                  <a:pt x="404" y="392"/>
                  <a:pt x="404" y="393"/>
                </a:cubicBezTo>
                <a:close/>
                <a:moveTo>
                  <a:pt x="408" y="622"/>
                </a:moveTo>
                <a:cubicBezTo>
                  <a:pt x="408" y="626"/>
                  <a:pt x="401" y="622"/>
                  <a:pt x="402" y="620"/>
                </a:cubicBezTo>
                <a:cubicBezTo>
                  <a:pt x="403" y="617"/>
                  <a:pt x="408" y="620"/>
                  <a:pt x="408" y="622"/>
                </a:cubicBezTo>
                <a:close/>
                <a:moveTo>
                  <a:pt x="406" y="655"/>
                </a:moveTo>
                <a:cubicBezTo>
                  <a:pt x="407" y="657"/>
                  <a:pt x="403" y="656"/>
                  <a:pt x="403" y="655"/>
                </a:cubicBezTo>
                <a:cubicBezTo>
                  <a:pt x="403" y="654"/>
                  <a:pt x="405" y="655"/>
                  <a:pt x="406" y="655"/>
                </a:cubicBezTo>
                <a:close/>
                <a:moveTo>
                  <a:pt x="403" y="640"/>
                </a:moveTo>
                <a:cubicBezTo>
                  <a:pt x="402" y="641"/>
                  <a:pt x="402" y="639"/>
                  <a:pt x="403" y="639"/>
                </a:cubicBezTo>
                <a:cubicBezTo>
                  <a:pt x="403" y="640"/>
                  <a:pt x="403" y="640"/>
                  <a:pt x="403" y="640"/>
                </a:cubicBezTo>
                <a:close/>
                <a:moveTo>
                  <a:pt x="402" y="649"/>
                </a:moveTo>
                <a:cubicBezTo>
                  <a:pt x="402" y="651"/>
                  <a:pt x="398" y="649"/>
                  <a:pt x="399" y="648"/>
                </a:cubicBezTo>
                <a:cubicBezTo>
                  <a:pt x="400" y="647"/>
                  <a:pt x="402" y="649"/>
                  <a:pt x="402" y="649"/>
                </a:cubicBezTo>
                <a:close/>
                <a:moveTo>
                  <a:pt x="402" y="492"/>
                </a:moveTo>
                <a:cubicBezTo>
                  <a:pt x="403" y="493"/>
                  <a:pt x="401" y="490"/>
                  <a:pt x="402" y="492"/>
                </a:cubicBezTo>
                <a:close/>
                <a:moveTo>
                  <a:pt x="397" y="651"/>
                </a:moveTo>
                <a:cubicBezTo>
                  <a:pt x="397" y="650"/>
                  <a:pt x="398" y="651"/>
                  <a:pt x="398" y="651"/>
                </a:cubicBezTo>
                <a:cubicBezTo>
                  <a:pt x="399" y="652"/>
                  <a:pt x="397" y="651"/>
                  <a:pt x="397" y="651"/>
                </a:cubicBezTo>
                <a:close/>
                <a:moveTo>
                  <a:pt x="396" y="629"/>
                </a:moveTo>
                <a:cubicBezTo>
                  <a:pt x="397" y="628"/>
                  <a:pt x="398" y="630"/>
                  <a:pt x="398" y="630"/>
                </a:cubicBezTo>
                <a:cubicBezTo>
                  <a:pt x="398" y="631"/>
                  <a:pt x="397" y="629"/>
                  <a:pt x="396" y="629"/>
                </a:cubicBezTo>
                <a:close/>
                <a:moveTo>
                  <a:pt x="402" y="683"/>
                </a:moveTo>
                <a:cubicBezTo>
                  <a:pt x="401" y="683"/>
                  <a:pt x="401" y="683"/>
                  <a:pt x="400" y="682"/>
                </a:cubicBezTo>
                <a:cubicBezTo>
                  <a:pt x="400" y="682"/>
                  <a:pt x="402" y="683"/>
                  <a:pt x="402" y="683"/>
                </a:cubicBezTo>
                <a:close/>
                <a:moveTo>
                  <a:pt x="399" y="681"/>
                </a:moveTo>
                <a:cubicBezTo>
                  <a:pt x="400" y="682"/>
                  <a:pt x="397" y="681"/>
                  <a:pt x="399" y="681"/>
                </a:cubicBezTo>
                <a:close/>
                <a:moveTo>
                  <a:pt x="394" y="689"/>
                </a:moveTo>
                <a:cubicBezTo>
                  <a:pt x="394" y="688"/>
                  <a:pt x="396" y="689"/>
                  <a:pt x="396" y="689"/>
                </a:cubicBezTo>
                <a:cubicBezTo>
                  <a:pt x="397" y="690"/>
                  <a:pt x="395" y="689"/>
                  <a:pt x="394" y="689"/>
                </a:cubicBezTo>
                <a:close/>
                <a:moveTo>
                  <a:pt x="393" y="724"/>
                </a:moveTo>
                <a:cubicBezTo>
                  <a:pt x="394" y="724"/>
                  <a:pt x="390" y="723"/>
                  <a:pt x="393" y="724"/>
                </a:cubicBezTo>
                <a:close/>
                <a:moveTo>
                  <a:pt x="391" y="742"/>
                </a:moveTo>
                <a:cubicBezTo>
                  <a:pt x="391" y="740"/>
                  <a:pt x="392" y="742"/>
                  <a:pt x="393" y="742"/>
                </a:cubicBezTo>
                <a:cubicBezTo>
                  <a:pt x="394" y="743"/>
                  <a:pt x="391" y="742"/>
                  <a:pt x="391" y="742"/>
                </a:cubicBezTo>
                <a:close/>
                <a:moveTo>
                  <a:pt x="399" y="697"/>
                </a:moveTo>
                <a:cubicBezTo>
                  <a:pt x="399" y="701"/>
                  <a:pt x="393" y="699"/>
                  <a:pt x="393" y="697"/>
                </a:cubicBezTo>
                <a:cubicBezTo>
                  <a:pt x="393" y="695"/>
                  <a:pt x="399" y="695"/>
                  <a:pt x="399" y="697"/>
                </a:cubicBezTo>
                <a:close/>
                <a:moveTo>
                  <a:pt x="394" y="717"/>
                </a:moveTo>
                <a:cubicBezTo>
                  <a:pt x="394" y="717"/>
                  <a:pt x="394" y="716"/>
                  <a:pt x="394" y="717"/>
                </a:cubicBezTo>
                <a:cubicBezTo>
                  <a:pt x="394" y="717"/>
                  <a:pt x="394" y="717"/>
                  <a:pt x="394" y="717"/>
                </a:cubicBezTo>
                <a:close/>
                <a:moveTo>
                  <a:pt x="394" y="727"/>
                </a:moveTo>
                <a:cubicBezTo>
                  <a:pt x="393" y="727"/>
                  <a:pt x="394" y="726"/>
                  <a:pt x="394" y="726"/>
                </a:cubicBezTo>
                <a:cubicBezTo>
                  <a:pt x="395" y="726"/>
                  <a:pt x="394" y="728"/>
                  <a:pt x="394" y="727"/>
                </a:cubicBezTo>
                <a:close/>
                <a:moveTo>
                  <a:pt x="395" y="745"/>
                </a:moveTo>
                <a:cubicBezTo>
                  <a:pt x="396" y="746"/>
                  <a:pt x="393" y="745"/>
                  <a:pt x="395" y="745"/>
                </a:cubicBezTo>
                <a:close/>
                <a:moveTo>
                  <a:pt x="396" y="726"/>
                </a:moveTo>
                <a:cubicBezTo>
                  <a:pt x="396" y="726"/>
                  <a:pt x="397" y="726"/>
                  <a:pt x="397" y="726"/>
                </a:cubicBezTo>
                <a:cubicBezTo>
                  <a:pt x="397" y="729"/>
                  <a:pt x="395" y="723"/>
                  <a:pt x="396" y="726"/>
                </a:cubicBezTo>
                <a:close/>
                <a:moveTo>
                  <a:pt x="404" y="726"/>
                </a:moveTo>
                <a:cubicBezTo>
                  <a:pt x="404" y="725"/>
                  <a:pt x="405" y="725"/>
                  <a:pt x="405" y="726"/>
                </a:cubicBezTo>
                <a:cubicBezTo>
                  <a:pt x="406" y="727"/>
                  <a:pt x="404" y="726"/>
                  <a:pt x="404" y="726"/>
                </a:cubicBezTo>
                <a:close/>
                <a:moveTo>
                  <a:pt x="399" y="722"/>
                </a:moveTo>
                <a:cubicBezTo>
                  <a:pt x="404" y="727"/>
                  <a:pt x="392" y="723"/>
                  <a:pt x="394" y="719"/>
                </a:cubicBezTo>
                <a:cubicBezTo>
                  <a:pt x="394" y="719"/>
                  <a:pt x="395" y="719"/>
                  <a:pt x="396" y="719"/>
                </a:cubicBezTo>
                <a:cubicBezTo>
                  <a:pt x="396" y="719"/>
                  <a:pt x="396" y="716"/>
                  <a:pt x="396" y="715"/>
                </a:cubicBezTo>
                <a:cubicBezTo>
                  <a:pt x="396" y="715"/>
                  <a:pt x="399" y="714"/>
                  <a:pt x="400" y="714"/>
                </a:cubicBezTo>
                <a:cubicBezTo>
                  <a:pt x="404" y="713"/>
                  <a:pt x="405" y="717"/>
                  <a:pt x="408" y="718"/>
                </a:cubicBezTo>
                <a:cubicBezTo>
                  <a:pt x="406" y="720"/>
                  <a:pt x="403" y="723"/>
                  <a:pt x="399" y="722"/>
                </a:cubicBezTo>
                <a:close/>
                <a:moveTo>
                  <a:pt x="409" y="735"/>
                </a:moveTo>
                <a:cubicBezTo>
                  <a:pt x="408" y="733"/>
                  <a:pt x="410" y="736"/>
                  <a:pt x="409" y="735"/>
                </a:cubicBezTo>
                <a:close/>
                <a:moveTo>
                  <a:pt x="415" y="738"/>
                </a:moveTo>
                <a:cubicBezTo>
                  <a:pt x="415" y="739"/>
                  <a:pt x="413" y="737"/>
                  <a:pt x="415" y="738"/>
                </a:cubicBezTo>
                <a:close/>
                <a:moveTo>
                  <a:pt x="408" y="727"/>
                </a:moveTo>
                <a:cubicBezTo>
                  <a:pt x="408" y="724"/>
                  <a:pt x="415" y="723"/>
                  <a:pt x="415" y="727"/>
                </a:cubicBezTo>
                <a:cubicBezTo>
                  <a:pt x="416" y="731"/>
                  <a:pt x="408" y="729"/>
                  <a:pt x="408" y="727"/>
                </a:cubicBezTo>
                <a:close/>
                <a:moveTo>
                  <a:pt x="417" y="733"/>
                </a:moveTo>
                <a:cubicBezTo>
                  <a:pt x="415" y="733"/>
                  <a:pt x="417" y="731"/>
                  <a:pt x="417" y="733"/>
                </a:cubicBezTo>
                <a:close/>
                <a:moveTo>
                  <a:pt x="419" y="726"/>
                </a:moveTo>
                <a:cubicBezTo>
                  <a:pt x="419" y="727"/>
                  <a:pt x="419" y="727"/>
                  <a:pt x="418" y="727"/>
                </a:cubicBezTo>
                <a:cubicBezTo>
                  <a:pt x="418" y="727"/>
                  <a:pt x="418" y="726"/>
                  <a:pt x="418" y="726"/>
                </a:cubicBezTo>
                <a:cubicBezTo>
                  <a:pt x="415" y="724"/>
                  <a:pt x="411" y="721"/>
                  <a:pt x="411" y="721"/>
                </a:cubicBezTo>
                <a:cubicBezTo>
                  <a:pt x="412" y="720"/>
                  <a:pt x="418" y="725"/>
                  <a:pt x="421" y="726"/>
                </a:cubicBezTo>
                <a:cubicBezTo>
                  <a:pt x="421" y="726"/>
                  <a:pt x="420" y="726"/>
                  <a:pt x="419" y="726"/>
                </a:cubicBezTo>
                <a:close/>
                <a:moveTo>
                  <a:pt x="420" y="705"/>
                </a:moveTo>
                <a:cubicBezTo>
                  <a:pt x="420" y="704"/>
                  <a:pt x="423" y="707"/>
                  <a:pt x="423" y="707"/>
                </a:cubicBezTo>
                <a:cubicBezTo>
                  <a:pt x="423" y="710"/>
                  <a:pt x="417" y="706"/>
                  <a:pt x="420" y="705"/>
                </a:cubicBezTo>
                <a:close/>
                <a:moveTo>
                  <a:pt x="422" y="709"/>
                </a:moveTo>
                <a:cubicBezTo>
                  <a:pt x="420" y="708"/>
                  <a:pt x="423" y="710"/>
                  <a:pt x="422" y="709"/>
                </a:cubicBezTo>
                <a:close/>
                <a:moveTo>
                  <a:pt x="422" y="712"/>
                </a:moveTo>
                <a:cubicBezTo>
                  <a:pt x="422" y="711"/>
                  <a:pt x="423" y="711"/>
                  <a:pt x="423" y="711"/>
                </a:cubicBezTo>
                <a:cubicBezTo>
                  <a:pt x="423" y="710"/>
                  <a:pt x="423" y="708"/>
                  <a:pt x="425" y="711"/>
                </a:cubicBezTo>
                <a:cubicBezTo>
                  <a:pt x="425" y="711"/>
                  <a:pt x="425" y="711"/>
                  <a:pt x="425" y="711"/>
                </a:cubicBezTo>
                <a:cubicBezTo>
                  <a:pt x="424" y="712"/>
                  <a:pt x="424" y="712"/>
                  <a:pt x="424" y="712"/>
                </a:cubicBezTo>
                <a:cubicBezTo>
                  <a:pt x="424" y="712"/>
                  <a:pt x="424" y="712"/>
                  <a:pt x="424" y="712"/>
                </a:cubicBezTo>
                <a:cubicBezTo>
                  <a:pt x="425" y="715"/>
                  <a:pt x="420" y="713"/>
                  <a:pt x="422" y="712"/>
                </a:cubicBezTo>
                <a:close/>
                <a:moveTo>
                  <a:pt x="425" y="708"/>
                </a:moveTo>
                <a:cubicBezTo>
                  <a:pt x="425" y="707"/>
                  <a:pt x="426" y="707"/>
                  <a:pt x="426" y="708"/>
                </a:cubicBezTo>
                <a:cubicBezTo>
                  <a:pt x="427" y="709"/>
                  <a:pt x="424" y="709"/>
                  <a:pt x="425" y="708"/>
                </a:cubicBezTo>
                <a:close/>
                <a:moveTo>
                  <a:pt x="426" y="712"/>
                </a:moveTo>
                <a:cubicBezTo>
                  <a:pt x="428" y="712"/>
                  <a:pt x="428" y="714"/>
                  <a:pt x="426" y="712"/>
                </a:cubicBezTo>
                <a:close/>
                <a:moveTo>
                  <a:pt x="422" y="722"/>
                </a:moveTo>
                <a:cubicBezTo>
                  <a:pt x="422" y="721"/>
                  <a:pt x="424" y="722"/>
                  <a:pt x="424" y="722"/>
                </a:cubicBezTo>
                <a:cubicBezTo>
                  <a:pt x="425" y="724"/>
                  <a:pt x="421" y="723"/>
                  <a:pt x="422" y="722"/>
                </a:cubicBezTo>
                <a:close/>
                <a:moveTo>
                  <a:pt x="429" y="731"/>
                </a:moveTo>
                <a:cubicBezTo>
                  <a:pt x="425" y="733"/>
                  <a:pt x="428" y="726"/>
                  <a:pt x="428" y="730"/>
                </a:cubicBezTo>
                <a:cubicBezTo>
                  <a:pt x="428" y="730"/>
                  <a:pt x="429" y="731"/>
                  <a:pt x="429" y="731"/>
                </a:cubicBezTo>
                <a:close/>
                <a:moveTo>
                  <a:pt x="428" y="722"/>
                </a:moveTo>
                <a:cubicBezTo>
                  <a:pt x="428" y="721"/>
                  <a:pt x="430" y="723"/>
                  <a:pt x="429" y="723"/>
                </a:cubicBezTo>
                <a:cubicBezTo>
                  <a:pt x="429" y="724"/>
                  <a:pt x="427" y="723"/>
                  <a:pt x="428" y="722"/>
                </a:cubicBezTo>
                <a:cubicBezTo>
                  <a:pt x="427" y="723"/>
                  <a:pt x="424" y="722"/>
                  <a:pt x="424" y="720"/>
                </a:cubicBezTo>
                <a:cubicBezTo>
                  <a:pt x="424" y="720"/>
                  <a:pt x="426" y="718"/>
                  <a:pt x="425" y="718"/>
                </a:cubicBezTo>
                <a:cubicBezTo>
                  <a:pt x="426" y="718"/>
                  <a:pt x="429" y="721"/>
                  <a:pt x="428" y="722"/>
                </a:cubicBezTo>
                <a:close/>
                <a:moveTo>
                  <a:pt x="427" y="702"/>
                </a:moveTo>
                <a:cubicBezTo>
                  <a:pt x="427" y="702"/>
                  <a:pt x="428" y="702"/>
                  <a:pt x="428" y="702"/>
                </a:cubicBezTo>
                <a:cubicBezTo>
                  <a:pt x="428" y="704"/>
                  <a:pt x="426" y="702"/>
                  <a:pt x="427" y="702"/>
                </a:cubicBezTo>
                <a:close/>
                <a:moveTo>
                  <a:pt x="424" y="697"/>
                </a:moveTo>
                <a:cubicBezTo>
                  <a:pt x="425" y="697"/>
                  <a:pt x="429" y="698"/>
                  <a:pt x="430" y="699"/>
                </a:cubicBezTo>
                <a:cubicBezTo>
                  <a:pt x="430" y="700"/>
                  <a:pt x="425" y="699"/>
                  <a:pt x="424" y="697"/>
                </a:cubicBezTo>
                <a:close/>
                <a:moveTo>
                  <a:pt x="430" y="690"/>
                </a:moveTo>
                <a:cubicBezTo>
                  <a:pt x="430" y="690"/>
                  <a:pt x="431" y="690"/>
                  <a:pt x="431" y="690"/>
                </a:cubicBezTo>
                <a:cubicBezTo>
                  <a:pt x="432" y="691"/>
                  <a:pt x="429" y="691"/>
                  <a:pt x="430" y="690"/>
                </a:cubicBezTo>
                <a:close/>
                <a:moveTo>
                  <a:pt x="435" y="698"/>
                </a:moveTo>
                <a:cubicBezTo>
                  <a:pt x="435" y="698"/>
                  <a:pt x="436" y="698"/>
                  <a:pt x="436" y="698"/>
                </a:cubicBezTo>
                <a:cubicBezTo>
                  <a:pt x="436" y="699"/>
                  <a:pt x="435" y="699"/>
                  <a:pt x="435" y="698"/>
                </a:cubicBezTo>
                <a:close/>
                <a:moveTo>
                  <a:pt x="437" y="693"/>
                </a:moveTo>
                <a:cubicBezTo>
                  <a:pt x="435" y="692"/>
                  <a:pt x="438" y="694"/>
                  <a:pt x="437" y="693"/>
                </a:cubicBezTo>
                <a:close/>
                <a:moveTo>
                  <a:pt x="438" y="696"/>
                </a:moveTo>
                <a:cubicBezTo>
                  <a:pt x="439" y="697"/>
                  <a:pt x="437" y="694"/>
                  <a:pt x="438" y="696"/>
                </a:cubicBezTo>
                <a:close/>
                <a:moveTo>
                  <a:pt x="432" y="689"/>
                </a:moveTo>
                <a:cubicBezTo>
                  <a:pt x="429" y="687"/>
                  <a:pt x="433" y="688"/>
                  <a:pt x="434" y="689"/>
                </a:cubicBezTo>
                <a:cubicBezTo>
                  <a:pt x="437" y="690"/>
                  <a:pt x="443" y="691"/>
                  <a:pt x="443" y="693"/>
                </a:cubicBezTo>
                <a:cubicBezTo>
                  <a:pt x="440" y="691"/>
                  <a:pt x="436" y="691"/>
                  <a:pt x="432" y="689"/>
                </a:cubicBezTo>
                <a:close/>
                <a:moveTo>
                  <a:pt x="439" y="682"/>
                </a:moveTo>
                <a:cubicBezTo>
                  <a:pt x="439" y="682"/>
                  <a:pt x="439" y="682"/>
                  <a:pt x="439" y="682"/>
                </a:cubicBezTo>
                <a:cubicBezTo>
                  <a:pt x="438" y="684"/>
                  <a:pt x="437" y="680"/>
                  <a:pt x="439" y="682"/>
                </a:cubicBezTo>
                <a:close/>
                <a:moveTo>
                  <a:pt x="446" y="681"/>
                </a:moveTo>
                <a:cubicBezTo>
                  <a:pt x="446" y="681"/>
                  <a:pt x="447" y="681"/>
                  <a:pt x="447" y="681"/>
                </a:cubicBezTo>
                <a:cubicBezTo>
                  <a:pt x="447" y="682"/>
                  <a:pt x="445" y="682"/>
                  <a:pt x="446" y="681"/>
                </a:cubicBezTo>
                <a:close/>
                <a:moveTo>
                  <a:pt x="442" y="678"/>
                </a:moveTo>
                <a:cubicBezTo>
                  <a:pt x="440" y="677"/>
                  <a:pt x="440" y="675"/>
                  <a:pt x="440" y="674"/>
                </a:cubicBezTo>
                <a:cubicBezTo>
                  <a:pt x="439" y="674"/>
                  <a:pt x="436" y="675"/>
                  <a:pt x="437" y="673"/>
                </a:cubicBezTo>
                <a:cubicBezTo>
                  <a:pt x="438" y="672"/>
                  <a:pt x="438" y="674"/>
                  <a:pt x="439" y="673"/>
                </a:cubicBezTo>
                <a:cubicBezTo>
                  <a:pt x="441" y="673"/>
                  <a:pt x="441" y="672"/>
                  <a:pt x="442" y="672"/>
                </a:cubicBezTo>
                <a:cubicBezTo>
                  <a:pt x="444" y="671"/>
                  <a:pt x="447" y="673"/>
                  <a:pt x="447" y="675"/>
                </a:cubicBezTo>
                <a:cubicBezTo>
                  <a:pt x="447" y="678"/>
                  <a:pt x="445" y="679"/>
                  <a:pt x="442" y="678"/>
                </a:cubicBezTo>
                <a:close/>
                <a:moveTo>
                  <a:pt x="445" y="642"/>
                </a:moveTo>
                <a:cubicBezTo>
                  <a:pt x="446" y="641"/>
                  <a:pt x="447" y="641"/>
                  <a:pt x="447" y="642"/>
                </a:cubicBezTo>
                <a:cubicBezTo>
                  <a:pt x="448" y="643"/>
                  <a:pt x="445" y="642"/>
                  <a:pt x="445" y="642"/>
                </a:cubicBezTo>
                <a:close/>
                <a:moveTo>
                  <a:pt x="447" y="580"/>
                </a:moveTo>
                <a:cubicBezTo>
                  <a:pt x="448" y="579"/>
                  <a:pt x="449" y="581"/>
                  <a:pt x="449" y="581"/>
                </a:cubicBezTo>
                <a:cubicBezTo>
                  <a:pt x="450" y="583"/>
                  <a:pt x="446" y="581"/>
                  <a:pt x="447" y="580"/>
                </a:cubicBezTo>
                <a:close/>
                <a:moveTo>
                  <a:pt x="448" y="651"/>
                </a:moveTo>
                <a:cubicBezTo>
                  <a:pt x="448" y="651"/>
                  <a:pt x="447" y="651"/>
                  <a:pt x="447" y="651"/>
                </a:cubicBezTo>
                <a:cubicBezTo>
                  <a:pt x="448" y="651"/>
                  <a:pt x="448" y="651"/>
                  <a:pt x="448" y="651"/>
                </a:cubicBezTo>
                <a:cubicBezTo>
                  <a:pt x="448" y="651"/>
                  <a:pt x="448" y="651"/>
                  <a:pt x="448" y="651"/>
                </a:cubicBezTo>
                <a:close/>
                <a:moveTo>
                  <a:pt x="448" y="640"/>
                </a:moveTo>
                <a:cubicBezTo>
                  <a:pt x="448" y="640"/>
                  <a:pt x="449" y="640"/>
                  <a:pt x="450" y="641"/>
                </a:cubicBezTo>
                <a:cubicBezTo>
                  <a:pt x="450" y="642"/>
                  <a:pt x="448" y="641"/>
                  <a:pt x="448" y="640"/>
                </a:cubicBezTo>
                <a:close/>
                <a:moveTo>
                  <a:pt x="450" y="636"/>
                </a:moveTo>
                <a:cubicBezTo>
                  <a:pt x="451" y="636"/>
                  <a:pt x="451" y="636"/>
                  <a:pt x="451" y="636"/>
                </a:cubicBezTo>
                <a:cubicBezTo>
                  <a:pt x="452" y="638"/>
                  <a:pt x="449" y="636"/>
                  <a:pt x="450" y="636"/>
                </a:cubicBezTo>
                <a:close/>
                <a:moveTo>
                  <a:pt x="451" y="642"/>
                </a:moveTo>
                <a:cubicBezTo>
                  <a:pt x="452" y="641"/>
                  <a:pt x="453" y="642"/>
                  <a:pt x="454" y="643"/>
                </a:cubicBezTo>
                <a:cubicBezTo>
                  <a:pt x="456" y="646"/>
                  <a:pt x="448" y="644"/>
                  <a:pt x="451" y="642"/>
                </a:cubicBezTo>
                <a:close/>
                <a:moveTo>
                  <a:pt x="451" y="666"/>
                </a:moveTo>
                <a:cubicBezTo>
                  <a:pt x="452" y="665"/>
                  <a:pt x="452" y="666"/>
                  <a:pt x="453" y="666"/>
                </a:cubicBezTo>
                <a:cubicBezTo>
                  <a:pt x="454" y="668"/>
                  <a:pt x="450" y="666"/>
                  <a:pt x="451" y="666"/>
                </a:cubicBezTo>
                <a:close/>
                <a:moveTo>
                  <a:pt x="453" y="682"/>
                </a:moveTo>
                <a:cubicBezTo>
                  <a:pt x="453" y="682"/>
                  <a:pt x="453" y="682"/>
                  <a:pt x="453" y="681"/>
                </a:cubicBezTo>
                <a:cubicBezTo>
                  <a:pt x="454" y="681"/>
                  <a:pt x="454" y="683"/>
                  <a:pt x="453" y="682"/>
                </a:cubicBezTo>
                <a:close/>
                <a:moveTo>
                  <a:pt x="456" y="685"/>
                </a:moveTo>
                <a:cubicBezTo>
                  <a:pt x="456" y="684"/>
                  <a:pt x="457" y="685"/>
                  <a:pt x="458" y="685"/>
                </a:cubicBezTo>
                <a:cubicBezTo>
                  <a:pt x="459" y="686"/>
                  <a:pt x="456" y="686"/>
                  <a:pt x="456" y="685"/>
                </a:cubicBezTo>
                <a:close/>
                <a:moveTo>
                  <a:pt x="458" y="702"/>
                </a:moveTo>
                <a:cubicBezTo>
                  <a:pt x="458" y="701"/>
                  <a:pt x="459" y="701"/>
                  <a:pt x="459" y="702"/>
                </a:cubicBezTo>
                <a:cubicBezTo>
                  <a:pt x="460" y="704"/>
                  <a:pt x="456" y="703"/>
                  <a:pt x="458" y="702"/>
                </a:cubicBezTo>
                <a:close/>
                <a:moveTo>
                  <a:pt x="460" y="691"/>
                </a:moveTo>
                <a:cubicBezTo>
                  <a:pt x="460" y="689"/>
                  <a:pt x="464" y="690"/>
                  <a:pt x="464" y="690"/>
                </a:cubicBezTo>
                <a:cubicBezTo>
                  <a:pt x="466" y="692"/>
                  <a:pt x="460" y="691"/>
                  <a:pt x="460" y="691"/>
                </a:cubicBezTo>
                <a:close/>
                <a:moveTo>
                  <a:pt x="466" y="690"/>
                </a:moveTo>
                <a:cubicBezTo>
                  <a:pt x="465" y="692"/>
                  <a:pt x="465" y="689"/>
                  <a:pt x="466" y="690"/>
                </a:cubicBezTo>
                <a:close/>
                <a:moveTo>
                  <a:pt x="459" y="679"/>
                </a:moveTo>
                <a:cubicBezTo>
                  <a:pt x="459" y="678"/>
                  <a:pt x="459" y="677"/>
                  <a:pt x="459" y="677"/>
                </a:cubicBezTo>
                <a:cubicBezTo>
                  <a:pt x="457" y="676"/>
                  <a:pt x="456" y="677"/>
                  <a:pt x="454" y="677"/>
                </a:cubicBezTo>
                <a:cubicBezTo>
                  <a:pt x="460" y="675"/>
                  <a:pt x="449" y="672"/>
                  <a:pt x="453" y="669"/>
                </a:cubicBezTo>
                <a:cubicBezTo>
                  <a:pt x="454" y="668"/>
                  <a:pt x="457" y="670"/>
                  <a:pt x="457" y="667"/>
                </a:cubicBezTo>
                <a:cubicBezTo>
                  <a:pt x="457" y="671"/>
                  <a:pt x="461" y="666"/>
                  <a:pt x="465" y="667"/>
                </a:cubicBezTo>
                <a:cubicBezTo>
                  <a:pt x="467" y="668"/>
                  <a:pt x="469" y="671"/>
                  <a:pt x="469" y="673"/>
                </a:cubicBezTo>
                <a:cubicBezTo>
                  <a:pt x="469" y="673"/>
                  <a:pt x="462" y="681"/>
                  <a:pt x="459" y="679"/>
                </a:cubicBezTo>
                <a:close/>
                <a:moveTo>
                  <a:pt x="460" y="633"/>
                </a:moveTo>
                <a:cubicBezTo>
                  <a:pt x="461" y="633"/>
                  <a:pt x="458" y="632"/>
                  <a:pt x="460" y="633"/>
                </a:cubicBezTo>
                <a:close/>
                <a:moveTo>
                  <a:pt x="460" y="643"/>
                </a:moveTo>
                <a:cubicBezTo>
                  <a:pt x="459" y="644"/>
                  <a:pt x="459" y="641"/>
                  <a:pt x="460" y="643"/>
                </a:cubicBezTo>
                <a:close/>
                <a:moveTo>
                  <a:pt x="471" y="641"/>
                </a:moveTo>
                <a:cubicBezTo>
                  <a:pt x="467" y="642"/>
                  <a:pt x="468" y="638"/>
                  <a:pt x="471" y="641"/>
                </a:cubicBezTo>
                <a:close/>
                <a:moveTo>
                  <a:pt x="469" y="656"/>
                </a:moveTo>
                <a:cubicBezTo>
                  <a:pt x="470" y="656"/>
                  <a:pt x="467" y="655"/>
                  <a:pt x="469" y="656"/>
                </a:cubicBezTo>
                <a:close/>
                <a:moveTo>
                  <a:pt x="467" y="622"/>
                </a:moveTo>
                <a:cubicBezTo>
                  <a:pt x="467" y="621"/>
                  <a:pt x="468" y="622"/>
                  <a:pt x="468" y="622"/>
                </a:cubicBezTo>
                <a:cubicBezTo>
                  <a:pt x="469" y="624"/>
                  <a:pt x="466" y="622"/>
                  <a:pt x="467" y="622"/>
                </a:cubicBezTo>
                <a:close/>
                <a:moveTo>
                  <a:pt x="466" y="598"/>
                </a:moveTo>
                <a:cubicBezTo>
                  <a:pt x="467" y="598"/>
                  <a:pt x="467" y="599"/>
                  <a:pt x="467" y="599"/>
                </a:cubicBezTo>
                <a:cubicBezTo>
                  <a:pt x="468" y="601"/>
                  <a:pt x="465" y="599"/>
                  <a:pt x="466" y="598"/>
                </a:cubicBezTo>
                <a:close/>
                <a:moveTo>
                  <a:pt x="470" y="684"/>
                </a:moveTo>
                <a:cubicBezTo>
                  <a:pt x="472" y="686"/>
                  <a:pt x="466" y="685"/>
                  <a:pt x="467" y="683"/>
                </a:cubicBezTo>
                <a:cubicBezTo>
                  <a:pt x="468" y="682"/>
                  <a:pt x="470" y="683"/>
                  <a:pt x="470" y="684"/>
                </a:cubicBezTo>
                <a:close/>
                <a:moveTo>
                  <a:pt x="469" y="666"/>
                </a:moveTo>
                <a:cubicBezTo>
                  <a:pt x="469" y="665"/>
                  <a:pt x="470" y="665"/>
                  <a:pt x="470" y="666"/>
                </a:cubicBezTo>
                <a:cubicBezTo>
                  <a:pt x="471" y="667"/>
                  <a:pt x="469" y="666"/>
                  <a:pt x="469" y="666"/>
                </a:cubicBezTo>
                <a:close/>
                <a:moveTo>
                  <a:pt x="470" y="689"/>
                </a:moveTo>
                <a:cubicBezTo>
                  <a:pt x="475" y="693"/>
                  <a:pt x="467" y="695"/>
                  <a:pt x="467" y="690"/>
                </a:cubicBezTo>
                <a:cubicBezTo>
                  <a:pt x="467" y="690"/>
                  <a:pt x="468" y="687"/>
                  <a:pt x="468" y="687"/>
                </a:cubicBezTo>
                <a:cubicBezTo>
                  <a:pt x="472" y="685"/>
                  <a:pt x="474" y="691"/>
                  <a:pt x="470" y="689"/>
                </a:cubicBezTo>
                <a:close/>
                <a:moveTo>
                  <a:pt x="472" y="667"/>
                </a:moveTo>
                <a:cubicBezTo>
                  <a:pt x="472" y="667"/>
                  <a:pt x="473" y="668"/>
                  <a:pt x="473" y="668"/>
                </a:cubicBezTo>
                <a:cubicBezTo>
                  <a:pt x="475" y="670"/>
                  <a:pt x="470" y="668"/>
                  <a:pt x="472" y="667"/>
                </a:cubicBezTo>
                <a:close/>
                <a:moveTo>
                  <a:pt x="474" y="664"/>
                </a:moveTo>
                <a:cubicBezTo>
                  <a:pt x="474" y="664"/>
                  <a:pt x="475" y="664"/>
                  <a:pt x="475" y="665"/>
                </a:cubicBezTo>
                <a:cubicBezTo>
                  <a:pt x="476" y="667"/>
                  <a:pt x="472" y="665"/>
                  <a:pt x="474" y="664"/>
                </a:cubicBezTo>
                <a:close/>
                <a:moveTo>
                  <a:pt x="476" y="687"/>
                </a:moveTo>
                <a:cubicBezTo>
                  <a:pt x="475" y="687"/>
                  <a:pt x="475" y="684"/>
                  <a:pt x="476" y="685"/>
                </a:cubicBezTo>
                <a:cubicBezTo>
                  <a:pt x="476" y="685"/>
                  <a:pt x="476" y="686"/>
                  <a:pt x="476" y="687"/>
                </a:cubicBezTo>
                <a:close/>
                <a:moveTo>
                  <a:pt x="476" y="673"/>
                </a:moveTo>
                <a:cubicBezTo>
                  <a:pt x="476" y="673"/>
                  <a:pt x="477" y="672"/>
                  <a:pt x="477" y="673"/>
                </a:cubicBezTo>
                <a:cubicBezTo>
                  <a:pt x="478" y="674"/>
                  <a:pt x="476" y="674"/>
                  <a:pt x="476" y="673"/>
                </a:cubicBezTo>
                <a:close/>
                <a:moveTo>
                  <a:pt x="481" y="671"/>
                </a:moveTo>
                <a:cubicBezTo>
                  <a:pt x="477" y="671"/>
                  <a:pt x="479" y="668"/>
                  <a:pt x="481" y="671"/>
                </a:cubicBezTo>
                <a:close/>
                <a:moveTo>
                  <a:pt x="482" y="658"/>
                </a:moveTo>
                <a:cubicBezTo>
                  <a:pt x="477" y="657"/>
                  <a:pt x="479" y="654"/>
                  <a:pt x="482" y="658"/>
                </a:cubicBezTo>
                <a:close/>
                <a:moveTo>
                  <a:pt x="480" y="668"/>
                </a:moveTo>
                <a:cubicBezTo>
                  <a:pt x="481" y="667"/>
                  <a:pt x="481" y="669"/>
                  <a:pt x="480" y="668"/>
                </a:cubicBezTo>
                <a:close/>
                <a:moveTo>
                  <a:pt x="487" y="691"/>
                </a:moveTo>
                <a:cubicBezTo>
                  <a:pt x="488" y="690"/>
                  <a:pt x="489" y="692"/>
                  <a:pt x="489" y="692"/>
                </a:cubicBezTo>
                <a:cubicBezTo>
                  <a:pt x="490" y="695"/>
                  <a:pt x="486" y="693"/>
                  <a:pt x="487" y="691"/>
                </a:cubicBezTo>
                <a:close/>
                <a:moveTo>
                  <a:pt x="493" y="686"/>
                </a:moveTo>
                <a:cubicBezTo>
                  <a:pt x="493" y="686"/>
                  <a:pt x="493" y="686"/>
                  <a:pt x="493" y="686"/>
                </a:cubicBezTo>
                <a:cubicBezTo>
                  <a:pt x="493" y="686"/>
                  <a:pt x="493" y="686"/>
                  <a:pt x="493" y="686"/>
                </a:cubicBezTo>
                <a:cubicBezTo>
                  <a:pt x="493" y="686"/>
                  <a:pt x="493" y="686"/>
                  <a:pt x="493" y="686"/>
                </a:cubicBezTo>
                <a:close/>
                <a:moveTo>
                  <a:pt x="495" y="682"/>
                </a:moveTo>
                <a:cubicBezTo>
                  <a:pt x="497" y="683"/>
                  <a:pt x="494" y="681"/>
                  <a:pt x="495" y="682"/>
                </a:cubicBezTo>
                <a:close/>
                <a:moveTo>
                  <a:pt x="497" y="681"/>
                </a:moveTo>
                <a:cubicBezTo>
                  <a:pt x="497" y="681"/>
                  <a:pt x="497" y="681"/>
                  <a:pt x="497" y="681"/>
                </a:cubicBezTo>
                <a:cubicBezTo>
                  <a:pt x="496" y="680"/>
                  <a:pt x="497" y="681"/>
                  <a:pt x="497" y="681"/>
                </a:cubicBezTo>
                <a:close/>
                <a:moveTo>
                  <a:pt x="496" y="673"/>
                </a:moveTo>
                <a:cubicBezTo>
                  <a:pt x="497" y="674"/>
                  <a:pt x="494" y="674"/>
                  <a:pt x="495" y="673"/>
                </a:cubicBezTo>
                <a:cubicBezTo>
                  <a:pt x="495" y="673"/>
                  <a:pt x="496" y="672"/>
                  <a:pt x="496" y="673"/>
                </a:cubicBezTo>
                <a:close/>
                <a:moveTo>
                  <a:pt x="494" y="670"/>
                </a:moveTo>
                <a:cubicBezTo>
                  <a:pt x="494" y="670"/>
                  <a:pt x="495" y="669"/>
                  <a:pt x="495" y="670"/>
                </a:cubicBezTo>
                <a:cubicBezTo>
                  <a:pt x="496" y="671"/>
                  <a:pt x="492" y="670"/>
                  <a:pt x="494" y="670"/>
                </a:cubicBezTo>
                <a:close/>
                <a:moveTo>
                  <a:pt x="492" y="681"/>
                </a:moveTo>
                <a:cubicBezTo>
                  <a:pt x="492" y="682"/>
                  <a:pt x="494" y="684"/>
                  <a:pt x="494" y="685"/>
                </a:cubicBezTo>
                <a:cubicBezTo>
                  <a:pt x="493" y="685"/>
                  <a:pt x="489" y="685"/>
                  <a:pt x="492" y="682"/>
                </a:cubicBezTo>
                <a:cubicBezTo>
                  <a:pt x="488" y="683"/>
                  <a:pt x="489" y="680"/>
                  <a:pt x="492" y="681"/>
                </a:cubicBezTo>
                <a:close/>
                <a:moveTo>
                  <a:pt x="488" y="684"/>
                </a:moveTo>
                <a:cubicBezTo>
                  <a:pt x="488" y="684"/>
                  <a:pt x="490" y="685"/>
                  <a:pt x="490" y="685"/>
                </a:cubicBezTo>
                <a:cubicBezTo>
                  <a:pt x="491" y="687"/>
                  <a:pt x="486" y="686"/>
                  <a:pt x="488" y="684"/>
                </a:cubicBezTo>
                <a:close/>
                <a:moveTo>
                  <a:pt x="485" y="687"/>
                </a:moveTo>
                <a:cubicBezTo>
                  <a:pt x="485" y="686"/>
                  <a:pt x="486" y="685"/>
                  <a:pt x="487" y="687"/>
                </a:cubicBezTo>
                <a:cubicBezTo>
                  <a:pt x="489" y="688"/>
                  <a:pt x="485" y="688"/>
                  <a:pt x="485" y="687"/>
                </a:cubicBezTo>
                <a:close/>
                <a:moveTo>
                  <a:pt x="485" y="684"/>
                </a:moveTo>
                <a:cubicBezTo>
                  <a:pt x="485" y="683"/>
                  <a:pt x="486" y="683"/>
                  <a:pt x="486" y="683"/>
                </a:cubicBezTo>
                <a:cubicBezTo>
                  <a:pt x="487" y="685"/>
                  <a:pt x="485" y="684"/>
                  <a:pt x="485" y="684"/>
                </a:cubicBezTo>
                <a:close/>
                <a:moveTo>
                  <a:pt x="485" y="683"/>
                </a:moveTo>
                <a:cubicBezTo>
                  <a:pt x="480" y="684"/>
                  <a:pt x="485" y="678"/>
                  <a:pt x="487" y="680"/>
                </a:cubicBezTo>
                <a:cubicBezTo>
                  <a:pt x="487" y="680"/>
                  <a:pt x="485" y="683"/>
                  <a:pt x="485" y="683"/>
                </a:cubicBezTo>
                <a:close/>
                <a:moveTo>
                  <a:pt x="484" y="665"/>
                </a:moveTo>
                <a:cubicBezTo>
                  <a:pt x="484" y="665"/>
                  <a:pt x="485" y="666"/>
                  <a:pt x="485" y="666"/>
                </a:cubicBezTo>
                <a:cubicBezTo>
                  <a:pt x="486" y="667"/>
                  <a:pt x="483" y="666"/>
                  <a:pt x="484" y="665"/>
                </a:cubicBezTo>
                <a:close/>
                <a:moveTo>
                  <a:pt x="486" y="676"/>
                </a:moveTo>
                <a:cubicBezTo>
                  <a:pt x="485" y="676"/>
                  <a:pt x="483" y="672"/>
                  <a:pt x="481" y="672"/>
                </a:cubicBezTo>
                <a:cubicBezTo>
                  <a:pt x="484" y="671"/>
                  <a:pt x="487" y="675"/>
                  <a:pt x="486" y="676"/>
                </a:cubicBezTo>
                <a:close/>
                <a:moveTo>
                  <a:pt x="484" y="651"/>
                </a:moveTo>
                <a:cubicBezTo>
                  <a:pt x="482" y="653"/>
                  <a:pt x="480" y="649"/>
                  <a:pt x="479" y="648"/>
                </a:cubicBezTo>
                <a:cubicBezTo>
                  <a:pt x="480" y="648"/>
                  <a:pt x="485" y="650"/>
                  <a:pt x="484" y="651"/>
                </a:cubicBezTo>
                <a:close/>
                <a:moveTo>
                  <a:pt x="482" y="644"/>
                </a:moveTo>
                <a:cubicBezTo>
                  <a:pt x="484" y="644"/>
                  <a:pt x="483" y="646"/>
                  <a:pt x="482" y="644"/>
                </a:cubicBezTo>
                <a:close/>
                <a:moveTo>
                  <a:pt x="482" y="639"/>
                </a:moveTo>
                <a:cubicBezTo>
                  <a:pt x="483" y="642"/>
                  <a:pt x="477" y="641"/>
                  <a:pt x="478" y="639"/>
                </a:cubicBezTo>
                <a:cubicBezTo>
                  <a:pt x="479" y="637"/>
                  <a:pt x="482" y="638"/>
                  <a:pt x="482" y="639"/>
                </a:cubicBezTo>
                <a:close/>
                <a:moveTo>
                  <a:pt x="481" y="637"/>
                </a:moveTo>
                <a:cubicBezTo>
                  <a:pt x="480" y="636"/>
                  <a:pt x="481" y="635"/>
                  <a:pt x="481" y="637"/>
                </a:cubicBezTo>
                <a:close/>
                <a:moveTo>
                  <a:pt x="482" y="621"/>
                </a:moveTo>
                <a:cubicBezTo>
                  <a:pt x="481" y="622"/>
                  <a:pt x="481" y="621"/>
                  <a:pt x="480" y="621"/>
                </a:cubicBezTo>
                <a:cubicBezTo>
                  <a:pt x="481" y="620"/>
                  <a:pt x="481" y="621"/>
                  <a:pt x="482" y="621"/>
                </a:cubicBezTo>
                <a:close/>
                <a:moveTo>
                  <a:pt x="480" y="622"/>
                </a:moveTo>
                <a:cubicBezTo>
                  <a:pt x="481" y="622"/>
                  <a:pt x="480" y="623"/>
                  <a:pt x="479" y="622"/>
                </a:cubicBezTo>
                <a:cubicBezTo>
                  <a:pt x="479" y="622"/>
                  <a:pt x="480" y="621"/>
                  <a:pt x="480" y="622"/>
                </a:cubicBezTo>
                <a:close/>
                <a:moveTo>
                  <a:pt x="479" y="615"/>
                </a:moveTo>
                <a:cubicBezTo>
                  <a:pt x="480" y="616"/>
                  <a:pt x="477" y="615"/>
                  <a:pt x="477" y="615"/>
                </a:cubicBezTo>
                <a:cubicBezTo>
                  <a:pt x="477" y="614"/>
                  <a:pt x="479" y="614"/>
                  <a:pt x="479" y="615"/>
                </a:cubicBezTo>
                <a:close/>
                <a:moveTo>
                  <a:pt x="477" y="640"/>
                </a:moveTo>
                <a:cubicBezTo>
                  <a:pt x="478" y="641"/>
                  <a:pt x="476" y="638"/>
                  <a:pt x="477" y="640"/>
                </a:cubicBezTo>
                <a:close/>
                <a:moveTo>
                  <a:pt x="477" y="654"/>
                </a:moveTo>
                <a:cubicBezTo>
                  <a:pt x="478" y="655"/>
                  <a:pt x="476" y="654"/>
                  <a:pt x="476" y="654"/>
                </a:cubicBezTo>
                <a:cubicBezTo>
                  <a:pt x="475" y="653"/>
                  <a:pt x="477" y="654"/>
                  <a:pt x="477" y="654"/>
                </a:cubicBezTo>
                <a:close/>
                <a:moveTo>
                  <a:pt x="476" y="611"/>
                </a:moveTo>
                <a:cubicBezTo>
                  <a:pt x="477" y="612"/>
                  <a:pt x="475" y="609"/>
                  <a:pt x="476" y="611"/>
                </a:cubicBezTo>
                <a:close/>
                <a:moveTo>
                  <a:pt x="476" y="642"/>
                </a:moveTo>
                <a:cubicBezTo>
                  <a:pt x="475" y="643"/>
                  <a:pt x="475" y="640"/>
                  <a:pt x="476" y="642"/>
                </a:cubicBezTo>
                <a:close/>
                <a:moveTo>
                  <a:pt x="474" y="617"/>
                </a:moveTo>
                <a:cubicBezTo>
                  <a:pt x="475" y="617"/>
                  <a:pt x="474" y="618"/>
                  <a:pt x="473" y="617"/>
                </a:cubicBezTo>
                <a:cubicBezTo>
                  <a:pt x="473" y="617"/>
                  <a:pt x="474" y="616"/>
                  <a:pt x="474" y="617"/>
                </a:cubicBezTo>
                <a:close/>
                <a:moveTo>
                  <a:pt x="476" y="646"/>
                </a:moveTo>
                <a:cubicBezTo>
                  <a:pt x="475" y="645"/>
                  <a:pt x="474" y="644"/>
                  <a:pt x="473" y="644"/>
                </a:cubicBezTo>
                <a:cubicBezTo>
                  <a:pt x="474" y="644"/>
                  <a:pt x="476" y="645"/>
                  <a:pt x="476" y="646"/>
                </a:cubicBezTo>
                <a:close/>
                <a:moveTo>
                  <a:pt x="475" y="654"/>
                </a:moveTo>
                <a:cubicBezTo>
                  <a:pt x="475" y="654"/>
                  <a:pt x="474" y="657"/>
                  <a:pt x="473" y="656"/>
                </a:cubicBezTo>
                <a:cubicBezTo>
                  <a:pt x="471" y="655"/>
                  <a:pt x="474" y="651"/>
                  <a:pt x="475" y="654"/>
                </a:cubicBezTo>
                <a:close/>
                <a:moveTo>
                  <a:pt x="474" y="661"/>
                </a:moveTo>
                <a:cubicBezTo>
                  <a:pt x="476" y="667"/>
                  <a:pt x="462" y="660"/>
                  <a:pt x="467" y="656"/>
                </a:cubicBezTo>
                <a:cubicBezTo>
                  <a:pt x="466" y="657"/>
                  <a:pt x="470" y="657"/>
                  <a:pt x="469" y="657"/>
                </a:cubicBezTo>
                <a:cubicBezTo>
                  <a:pt x="470" y="657"/>
                  <a:pt x="474" y="660"/>
                  <a:pt x="474" y="661"/>
                </a:cubicBezTo>
                <a:close/>
                <a:moveTo>
                  <a:pt x="468" y="591"/>
                </a:moveTo>
                <a:cubicBezTo>
                  <a:pt x="466" y="590"/>
                  <a:pt x="467" y="589"/>
                  <a:pt x="466" y="588"/>
                </a:cubicBezTo>
                <a:cubicBezTo>
                  <a:pt x="466" y="587"/>
                  <a:pt x="465" y="586"/>
                  <a:pt x="465" y="585"/>
                </a:cubicBezTo>
                <a:cubicBezTo>
                  <a:pt x="466" y="581"/>
                  <a:pt x="472" y="585"/>
                  <a:pt x="471" y="589"/>
                </a:cubicBezTo>
                <a:cubicBezTo>
                  <a:pt x="471" y="590"/>
                  <a:pt x="470" y="593"/>
                  <a:pt x="468" y="591"/>
                </a:cubicBezTo>
                <a:close/>
                <a:moveTo>
                  <a:pt x="466" y="483"/>
                </a:moveTo>
                <a:cubicBezTo>
                  <a:pt x="468" y="484"/>
                  <a:pt x="467" y="485"/>
                  <a:pt x="469" y="486"/>
                </a:cubicBezTo>
                <a:cubicBezTo>
                  <a:pt x="468" y="486"/>
                  <a:pt x="466" y="485"/>
                  <a:pt x="466" y="483"/>
                </a:cubicBezTo>
                <a:close/>
                <a:moveTo>
                  <a:pt x="475" y="566"/>
                </a:moveTo>
                <a:cubicBezTo>
                  <a:pt x="476" y="565"/>
                  <a:pt x="478" y="567"/>
                  <a:pt x="478" y="567"/>
                </a:cubicBezTo>
                <a:cubicBezTo>
                  <a:pt x="479" y="569"/>
                  <a:pt x="474" y="567"/>
                  <a:pt x="475" y="566"/>
                </a:cubicBezTo>
                <a:close/>
                <a:moveTo>
                  <a:pt x="477" y="592"/>
                </a:moveTo>
                <a:cubicBezTo>
                  <a:pt x="477" y="592"/>
                  <a:pt x="476" y="591"/>
                  <a:pt x="477" y="592"/>
                </a:cubicBezTo>
                <a:cubicBezTo>
                  <a:pt x="477" y="593"/>
                  <a:pt x="477" y="592"/>
                  <a:pt x="477" y="592"/>
                </a:cubicBezTo>
                <a:close/>
                <a:moveTo>
                  <a:pt x="477" y="587"/>
                </a:moveTo>
                <a:cubicBezTo>
                  <a:pt x="478" y="586"/>
                  <a:pt x="479" y="588"/>
                  <a:pt x="480" y="588"/>
                </a:cubicBezTo>
                <a:cubicBezTo>
                  <a:pt x="480" y="591"/>
                  <a:pt x="475" y="588"/>
                  <a:pt x="477" y="587"/>
                </a:cubicBezTo>
                <a:close/>
                <a:moveTo>
                  <a:pt x="479" y="454"/>
                </a:moveTo>
                <a:cubicBezTo>
                  <a:pt x="478" y="453"/>
                  <a:pt x="480" y="456"/>
                  <a:pt x="479" y="454"/>
                </a:cubicBezTo>
                <a:close/>
                <a:moveTo>
                  <a:pt x="496" y="587"/>
                </a:moveTo>
                <a:cubicBezTo>
                  <a:pt x="497" y="588"/>
                  <a:pt x="495" y="587"/>
                  <a:pt x="495" y="586"/>
                </a:cubicBezTo>
                <a:cubicBezTo>
                  <a:pt x="496" y="586"/>
                  <a:pt x="496" y="586"/>
                  <a:pt x="496" y="587"/>
                </a:cubicBezTo>
                <a:close/>
                <a:moveTo>
                  <a:pt x="496" y="580"/>
                </a:moveTo>
                <a:cubicBezTo>
                  <a:pt x="495" y="578"/>
                  <a:pt x="496" y="582"/>
                  <a:pt x="496" y="580"/>
                </a:cubicBezTo>
                <a:close/>
                <a:moveTo>
                  <a:pt x="496" y="559"/>
                </a:moveTo>
                <a:cubicBezTo>
                  <a:pt x="496" y="559"/>
                  <a:pt x="496" y="559"/>
                  <a:pt x="496" y="560"/>
                </a:cubicBezTo>
                <a:cubicBezTo>
                  <a:pt x="497" y="561"/>
                  <a:pt x="496" y="560"/>
                  <a:pt x="496" y="559"/>
                </a:cubicBezTo>
                <a:close/>
                <a:moveTo>
                  <a:pt x="496" y="596"/>
                </a:moveTo>
                <a:cubicBezTo>
                  <a:pt x="495" y="595"/>
                  <a:pt x="497" y="597"/>
                  <a:pt x="496" y="596"/>
                </a:cubicBezTo>
                <a:close/>
                <a:moveTo>
                  <a:pt x="496" y="590"/>
                </a:moveTo>
                <a:cubicBezTo>
                  <a:pt x="497" y="589"/>
                  <a:pt x="498" y="592"/>
                  <a:pt x="496" y="592"/>
                </a:cubicBezTo>
                <a:cubicBezTo>
                  <a:pt x="495" y="593"/>
                  <a:pt x="495" y="591"/>
                  <a:pt x="496" y="590"/>
                </a:cubicBezTo>
                <a:close/>
                <a:moveTo>
                  <a:pt x="499" y="609"/>
                </a:moveTo>
                <a:cubicBezTo>
                  <a:pt x="502" y="612"/>
                  <a:pt x="502" y="609"/>
                  <a:pt x="504" y="609"/>
                </a:cubicBezTo>
                <a:cubicBezTo>
                  <a:pt x="504" y="609"/>
                  <a:pt x="506" y="610"/>
                  <a:pt x="506" y="611"/>
                </a:cubicBezTo>
                <a:cubicBezTo>
                  <a:pt x="508" y="615"/>
                  <a:pt x="499" y="614"/>
                  <a:pt x="499" y="609"/>
                </a:cubicBezTo>
                <a:close/>
                <a:moveTo>
                  <a:pt x="505" y="598"/>
                </a:moveTo>
                <a:cubicBezTo>
                  <a:pt x="505" y="600"/>
                  <a:pt x="503" y="601"/>
                  <a:pt x="501" y="601"/>
                </a:cubicBezTo>
                <a:cubicBezTo>
                  <a:pt x="498" y="601"/>
                  <a:pt x="497" y="598"/>
                  <a:pt x="497" y="595"/>
                </a:cubicBezTo>
                <a:cubicBezTo>
                  <a:pt x="497" y="595"/>
                  <a:pt x="497" y="594"/>
                  <a:pt x="496" y="594"/>
                </a:cubicBezTo>
                <a:cubicBezTo>
                  <a:pt x="497" y="593"/>
                  <a:pt x="500" y="593"/>
                  <a:pt x="500" y="593"/>
                </a:cubicBezTo>
                <a:cubicBezTo>
                  <a:pt x="501" y="591"/>
                  <a:pt x="496" y="591"/>
                  <a:pt x="497" y="589"/>
                </a:cubicBezTo>
                <a:cubicBezTo>
                  <a:pt x="498" y="587"/>
                  <a:pt x="500" y="590"/>
                  <a:pt x="500" y="591"/>
                </a:cubicBezTo>
                <a:cubicBezTo>
                  <a:pt x="502" y="592"/>
                  <a:pt x="503" y="590"/>
                  <a:pt x="503" y="593"/>
                </a:cubicBezTo>
                <a:cubicBezTo>
                  <a:pt x="503" y="594"/>
                  <a:pt x="506" y="597"/>
                  <a:pt x="506" y="597"/>
                </a:cubicBezTo>
                <a:cubicBezTo>
                  <a:pt x="507" y="597"/>
                  <a:pt x="507" y="595"/>
                  <a:pt x="508" y="597"/>
                </a:cubicBezTo>
                <a:cubicBezTo>
                  <a:pt x="508" y="596"/>
                  <a:pt x="507" y="600"/>
                  <a:pt x="508" y="600"/>
                </a:cubicBezTo>
                <a:cubicBezTo>
                  <a:pt x="507" y="600"/>
                  <a:pt x="506" y="600"/>
                  <a:pt x="505" y="598"/>
                </a:cubicBezTo>
                <a:close/>
                <a:moveTo>
                  <a:pt x="499" y="528"/>
                </a:moveTo>
                <a:cubicBezTo>
                  <a:pt x="500" y="528"/>
                  <a:pt x="500" y="529"/>
                  <a:pt x="501" y="529"/>
                </a:cubicBezTo>
                <a:cubicBezTo>
                  <a:pt x="502" y="530"/>
                  <a:pt x="498" y="529"/>
                  <a:pt x="499" y="528"/>
                </a:cubicBezTo>
                <a:close/>
                <a:moveTo>
                  <a:pt x="501" y="521"/>
                </a:moveTo>
                <a:cubicBezTo>
                  <a:pt x="502" y="520"/>
                  <a:pt x="502" y="522"/>
                  <a:pt x="502" y="522"/>
                </a:cubicBezTo>
                <a:cubicBezTo>
                  <a:pt x="502" y="523"/>
                  <a:pt x="500" y="521"/>
                  <a:pt x="501" y="521"/>
                </a:cubicBezTo>
                <a:close/>
                <a:moveTo>
                  <a:pt x="509" y="616"/>
                </a:moveTo>
                <a:cubicBezTo>
                  <a:pt x="508" y="616"/>
                  <a:pt x="507" y="614"/>
                  <a:pt x="508" y="614"/>
                </a:cubicBezTo>
                <a:cubicBezTo>
                  <a:pt x="510" y="614"/>
                  <a:pt x="510" y="616"/>
                  <a:pt x="509" y="616"/>
                </a:cubicBezTo>
                <a:close/>
                <a:moveTo>
                  <a:pt x="510" y="615"/>
                </a:moveTo>
                <a:cubicBezTo>
                  <a:pt x="510" y="615"/>
                  <a:pt x="511" y="615"/>
                  <a:pt x="511" y="616"/>
                </a:cubicBezTo>
                <a:cubicBezTo>
                  <a:pt x="512" y="617"/>
                  <a:pt x="510" y="616"/>
                  <a:pt x="510" y="615"/>
                </a:cubicBezTo>
                <a:close/>
                <a:moveTo>
                  <a:pt x="515" y="611"/>
                </a:moveTo>
                <a:cubicBezTo>
                  <a:pt x="514" y="610"/>
                  <a:pt x="516" y="610"/>
                  <a:pt x="515" y="611"/>
                </a:cubicBezTo>
                <a:close/>
                <a:moveTo>
                  <a:pt x="518" y="606"/>
                </a:moveTo>
                <a:cubicBezTo>
                  <a:pt x="517" y="604"/>
                  <a:pt x="519" y="603"/>
                  <a:pt x="518" y="606"/>
                </a:cubicBezTo>
                <a:close/>
                <a:moveTo>
                  <a:pt x="518" y="567"/>
                </a:moveTo>
                <a:cubicBezTo>
                  <a:pt x="517" y="568"/>
                  <a:pt x="518" y="565"/>
                  <a:pt x="518" y="567"/>
                </a:cubicBezTo>
                <a:close/>
                <a:moveTo>
                  <a:pt x="520" y="607"/>
                </a:moveTo>
                <a:cubicBezTo>
                  <a:pt x="519" y="607"/>
                  <a:pt x="520" y="607"/>
                  <a:pt x="520" y="607"/>
                </a:cubicBezTo>
                <a:close/>
                <a:moveTo>
                  <a:pt x="520" y="607"/>
                </a:moveTo>
                <a:cubicBezTo>
                  <a:pt x="520" y="608"/>
                  <a:pt x="520" y="608"/>
                  <a:pt x="520" y="608"/>
                </a:cubicBezTo>
                <a:cubicBezTo>
                  <a:pt x="520" y="608"/>
                  <a:pt x="520" y="608"/>
                  <a:pt x="520" y="608"/>
                </a:cubicBezTo>
                <a:cubicBezTo>
                  <a:pt x="520" y="608"/>
                  <a:pt x="520" y="608"/>
                  <a:pt x="520" y="607"/>
                </a:cubicBezTo>
                <a:close/>
                <a:moveTo>
                  <a:pt x="520" y="587"/>
                </a:moveTo>
                <a:cubicBezTo>
                  <a:pt x="520" y="587"/>
                  <a:pt x="521" y="588"/>
                  <a:pt x="521" y="588"/>
                </a:cubicBezTo>
                <a:cubicBezTo>
                  <a:pt x="522" y="589"/>
                  <a:pt x="519" y="588"/>
                  <a:pt x="520" y="587"/>
                </a:cubicBezTo>
                <a:close/>
                <a:moveTo>
                  <a:pt x="524" y="590"/>
                </a:moveTo>
                <a:cubicBezTo>
                  <a:pt x="523" y="591"/>
                  <a:pt x="524" y="588"/>
                  <a:pt x="524" y="590"/>
                </a:cubicBezTo>
                <a:close/>
                <a:moveTo>
                  <a:pt x="525" y="609"/>
                </a:moveTo>
                <a:cubicBezTo>
                  <a:pt x="528" y="610"/>
                  <a:pt x="527" y="613"/>
                  <a:pt x="529" y="615"/>
                </a:cubicBezTo>
                <a:cubicBezTo>
                  <a:pt x="527" y="614"/>
                  <a:pt x="526" y="611"/>
                  <a:pt x="525" y="609"/>
                </a:cubicBezTo>
                <a:close/>
                <a:moveTo>
                  <a:pt x="525" y="580"/>
                </a:moveTo>
                <a:cubicBezTo>
                  <a:pt x="525" y="582"/>
                  <a:pt x="522" y="580"/>
                  <a:pt x="523" y="579"/>
                </a:cubicBezTo>
                <a:cubicBezTo>
                  <a:pt x="524" y="578"/>
                  <a:pt x="525" y="579"/>
                  <a:pt x="525" y="580"/>
                </a:cubicBezTo>
                <a:close/>
                <a:moveTo>
                  <a:pt x="524" y="565"/>
                </a:moveTo>
                <a:cubicBezTo>
                  <a:pt x="524" y="564"/>
                  <a:pt x="525" y="566"/>
                  <a:pt x="525" y="566"/>
                </a:cubicBezTo>
                <a:cubicBezTo>
                  <a:pt x="525" y="568"/>
                  <a:pt x="523" y="566"/>
                  <a:pt x="524" y="565"/>
                </a:cubicBezTo>
                <a:close/>
                <a:moveTo>
                  <a:pt x="524" y="549"/>
                </a:moveTo>
                <a:cubicBezTo>
                  <a:pt x="525" y="547"/>
                  <a:pt x="529" y="549"/>
                  <a:pt x="529" y="551"/>
                </a:cubicBezTo>
                <a:cubicBezTo>
                  <a:pt x="530" y="557"/>
                  <a:pt x="524" y="550"/>
                  <a:pt x="524" y="549"/>
                </a:cubicBezTo>
                <a:close/>
                <a:moveTo>
                  <a:pt x="525" y="541"/>
                </a:moveTo>
                <a:cubicBezTo>
                  <a:pt x="523" y="541"/>
                  <a:pt x="525" y="539"/>
                  <a:pt x="525" y="541"/>
                </a:cubicBezTo>
                <a:close/>
                <a:moveTo>
                  <a:pt x="526" y="576"/>
                </a:moveTo>
                <a:cubicBezTo>
                  <a:pt x="526" y="576"/>
                  <a:pt x="526" y="576"/>
                  <a:pt x="526" y="576"/>
                </a:cubicBezTo>
                <a:cubicBezTo>
                  <a:pt x="526" y="574"/>
                  <a:pt x="526" y="576"/>
                  <a:pt x="526" y="576"/>
                </a:cubicBezTo>
                <a:close/>
                <a:moveTo>
                  <a:pt x="530" y="596"/>
                </a:moveTo>
                <a:cubicBezTo>
                  <a:pt x="530" y="596"/>
                  <a:pt x="530" y="597"/>
                  <a:pt x="531" y="597"/>
                </a:cubicBezTo>
                <a:cubicBezTo>
                  <a:pt x="531" y="599"/>
                  <a:pt x="528" y="596"/>
                  <a:pt x="530" y="596"/>
                </a:cubicBezTo>
                <a:close/>
                <a:moveTo>
                  <a:pt x="527" y="595"/>
                </a:moveTo>
                <a:cubicBezTo>
                  <a:pt x="526" y="594"/>
                  <a:pt x="528" y="590"/>
                  <a:pt x="530" y="591"/>
                </a:cubicBezTo>
                <a:cubicBezTo>
                  <a:pt x="532" y="592"/>
                  <a:pt x="531" y="598"/>
                  <a:pt x="527" y="595"/>
                </a:cubicBezTo>
                <a:close/>
                <a:moveTo>
                  <a:pt x="533" y="617"/>
                </a:moveTo>
                <a:cubicBezTo>
                  <a:pt x="533" y="618"/>
                  <a:pt x="532" y="616"/>
                  <a:pt x="533" y="617"/>
                </a:cubicBezTo>
                <a:close/>
                <a:moveTo>
                  <a:pt x="533" y="600"/>
                </a:moveTo>
                <a:cubicBezTo>
                  <a:pt x="534" y="601"/>
                  <a:pt x="531" y="600"/>
                  <a:pt x="532" y="599"/>
                </a:cubicBezTo>
                <a:cubicBezTo>
                  <a:pt x="532" y="598"/>
                  <a:pt x="533" y="599"/>
                  <a:pt x="533" y="600"/>
                </a:cubicBezTo>
                <a:close/>
                <a:moveTo>
                  <a:pt x="531" y="579"/>
                </a:moveTo>
                <a:cubicBezTo>
                  <a:pt x="530" y="577"/>
                  <a:pt x="529" y="575"/>
                  <a:pt x="529" y="572"/>
                </a:cubicBezTo>
                <a:cubicBezTo>
                  <a:pt x="530" y="574"/>
                  <a:pt x="531" y="576"/>
                  <a:pt x="531" y="579"/>
                </a:cubicBezTo>
                <a:close/>
                <a:moveTo>
                  <a:pt x="532" y="541"/>
                </a:moveTo>
                <a:cubicBezTo>
                  <a:pt x="533" y="541"/>
                  <a:pt x="530" y="540"/>
                  <a:pt x="532" y="541"/>
                </a:cubicBezTo>
                <a:close/>
                <a:moveTo>
                  <a:pt x="531" y="502"/>
                </a:moveTo>
                <a:cubicBezTo>
                  <a:pt x="529" y="501"/>
                  <a:pt x="529" y="499"/>
                  <a:pt x="529" y="498"/>
                </a:cubicBezTo>
                <a:cubicBezTo>
                  <a:pt x="530" y="499"/>
                  <a:pt x="530" y="500"/>
                  <a:pt x="531" y="502"/>
                </a:cubicBezTo>
                <a:close/>
                <a:moveTo>
                  <a:pt x="526" y="400"/>
                </a:moveTo>
                <a:cubicBezTo>
                  <a:pt x="528" y="399"/>
                  <a:pt x="530" y="401"/>
                  <a:pt x="529" y="402"/>
                </a:cubicBezTo>
                <a:cubicBezTo>
                  <a:pt x="529" y="406"/>
                  <a:pt x="525" y="401"/>
                  <a:pt x="526" y="400"/>
                </a:cubicBezTo>
                <a:close/>
                <a:moveTo>
                  <a:pt x="529" y="495"/>
                </a:moveTo>
                <a:cubicBezTo>
                  <a:pt x="528" y="491"/>
                  <a:pt x="529" y="498"/>
                  <a:pt x="529" y="495"/>
                </a:cubicBezTo>
                <a:close/>
                <a:moveTo>
                  <a:pt x="528" y="472"/>
                </a:moveTo>
                <a:cubicBezTo>
                  <a:pt x="528" y="473"/>
                  <a:pt x="528" y="472"/>
                  <a:pt x="528" y="473"/>
                </a:cubicBezTo>
                <a:cubicBezTo>
                  <a:pt x="529" y="474"/>
                  <a:pt x="526" y="471"/>
                  <a:pt x="528" y="472"/>
                </a:cubicBezTo>
                <a:close/>
                <a:moveTo>
                  <a:pt x="527" y="451"/>
                </a:moveTo>
                <a:cubicBezTo>
                  <a:pt x="527" y="452"/>
                  <a:pt x="527" y="453"/>
                  <a:pt x="527" y="454"/>
                </a:cubicBezTo>
                <a:cubicBezTo>
                  <a:pt x="527" y="452"/>
                  <a:pt x="527" y="452"/>
                  <a:pt x="527" y="451"/>
                </a:cubicBezTo>
                <a:close/>
                <a:moveTo>
                  <a:pt x="526" y="427"/>
                </a:moveTo>
                <a:cubicBezTo>
                  <a:pt x="525" y="428"/>
                  <a:pt x="526" y="425"/>
                  <a:pt x="526" y="427"/>
                </a:cubicBezTo>
                <a:close/>
                <a:moveTo>
                  <a:pt x="525" y="423"/>
                </a:moveTo>
                <a:cubicBezTo>
                  <a:pt x="525" y="424"/>
                  <a:pt x="526" y="425"/>
                  <a:pt x="525" y="426"/>
                </a:cubicBezTo>
                <a:cubicBezTo>
                  <a:pt x="525" y="425"/>
                  <a:pt x="524" y="424"/>
                  <a:pt x="525" y="423"/>
                </a:cubicBezTo>
                <a:close/>
                <a:moveTo>
                  <a:pt x="523" y="458"/>
                </a:moveTo>
                <a:cubicBezTo>
                  <a:pt x="523" y="458"/>
                  <a:pt x="523" y="458"/>
                  <a:pt x="523" y="458"/>
                </a:cubicBezTo>
                <a:cubicBezTo>
                  <a:pt x="523" y="458"/>
                  <a:pt x="523" y="458"/>
                  <a:pt x="523" y="458"/>
                </a:cubicBezTo>
                <a:cubicBezTo>
                  <a:pt x="523" y="458"/>
                  <a:pt x="523" y="458"/>
                  <a:pt x="523" y="458"/>
                </a:cubicBezTo>
                <a:close/>
                <a:moveTo>
                  <a:pt x="530" y="536"/>
                </a:moveTo>
                <a:cubicBezTo>
                  <a:pt x="527" y="532"/>
                  <a:pt x="525" y="528"/>
                  <a:pt x="523" y="523"/>
                </a:cubicBezTo>
                <a:cubicBezTo>
                  <a:pt x="526" y="527"/>
                  <a:pt x="529" y="531"/>
                  <a:pt x="530" y="536"/>
                </a:cubicBezTo>
                <a:close/>
                <a:moveTo>
                  <a:pt x="525" y="586"/>
                </a:moveTo>
                <a:cubicBezTo>
                  <a:pt x="525" y="586"/>
                  <a:pt x="525" y="587"/>
                  <a:pt x="524" y="587"/>
                </a:cubicBezTo>
                <a:cubicBezTo>
                  <a:pt x="520" y="589"/>
                  <a:pt x="523" y="581"/>
                  <a:pt x="525" y="586"/>
                </a:cubicBezTo>
                <a:close/>
                <a:moveTo>
                  <a:pt x="521" y="487"/>
                </a:moveTo>
                <a:cubicBezTo>
                  <a:pt x="522" y="487"/>
                  <a:pt x="522" y="487"/>
                  <a:pt x="522" y="487"/>
                </a:cubicBezTo>
                <a:cubicBezTo>
                  <a:pt x="523" y="489"/>
                  <a:pt x="520" y="487"/>
                  <a:pt x="521" y="487"/>
                </a:cubicBezTo>
                <a:close/>
                <a:moveTo>
                  <a:pt x="520" y="406"/>
                </a:moveTo>
                <a:cubicBezTo>
                  <a:pt x="519" y="407"/>
                  <a:pt x="519" y="405"/>
                  <a:pt x="519" y="404"/>
                </a:cubicBezTo>
                <a:cubicBezTo>
                  <a:pt x="520" y="404"/>
                  <a:pt x="520" y="406"/>
                  <a:pt x="520" y="406"/>
                </a:cubicBezTo>
                <a:close/>
                <a:moveTo>
                  <a:pt x="518" y="118"/>
                </a:moveTo>
                <a:cubicBezTo>
                  <a:pt x="516" y="117"/>
                  <a:pt x="520" y="119"/>
                  <a:pt x="518" y="118"/>
                </a:cubicBezTo>
                <a:close/>
                <a:moveTo>
                  <a:pt x="520" y="517"/>
                </a:moveTo>
                <a:cubicBezTo>
                  <a:pt x="520" y="517"/>
                  <a:pt x="523" y="522"/>
                  <a:pt x="521" y="521"/>
                </a:cubicBezTo>
                <a:cubicBezTo>
                  <a:pt x="519" y="520"/>
                  <a:pt x="518" y="514"/>
                  <a:pt x="517" y="511"/>
                </a:cubicBezTo>
                <a:cubicBezTo>
                  <a:pt x="518" y="512"/>
                  <a:pt x="519" y="515"/>
                  <a:pt x="520" y="517"/>
                </a:cubicBezTo>
                <a:close/>
                <a:moveTo>
                  <a:pt x="517" y="510"/>
                </a:moveTo>
                <a:cubicBezTo>
                  <a:pt x="516" y="508"/>
                  <a:pt x="515" y="507"/>
                  <a:pt x="515" y="506"/>
                </a:cubicBezTo>
                <a:cubicBezTo>
                  <a:pt x="516" y="506"/>
                  <a:pt x="517" y="508"/>
                  <a:pt x="517" y="510"/>
                </a:cubicBezTo>
                <a:close/>
                <a:moveTo>
                  <a:pt x="517" y="585"/>
                </a:moveTo>
                <a:cubicBezTo>
                  <a:pt x="516" y="585"/>
                  <a:pt x="516" y="584"/>
                  <a:pt x="516" y="584"/>
                </a:cubicBezTo>
                <a:cubicBezTo>
                  <a:pt x="517" y="584"/>
                  <a:pt x="517" y="585"/>
                  <a:pt x="517" y="585"/>
                </a:cubicBezTo>
                <a:close/>
                <a:moveTo>
                  <a:pt x="513" y="496"/>
                </a:moveTo>
                <a:cubicBezTo>
                  <a:pt x="514" y="498"/>
                  <a:pt x="515" y="500"/>
                  <a:pt x="516" y="502"/>
                </a:cubicBezTo>
                <a:cubicBezTo>
                  <a:pt x="516" y="502"/>
                  <a:pt x="513" y="498"/>
                  <a:pt x="513" y="496"/>
                </a:cubicBezTo>
                <a:close/>
                <a:moveTo>
                  <a:pt x="513" y="532"/>
                </a:moveTo>
                <a:cubicBezTo>
                  <a:pt x="513" y="532"/>
                  <a:pt x="513" y="531"/>
                  <a:pt x="513" y="532"/>
                </a:cubicBezTo>
                <a:cubicBezTo>
                  <a:pt x="513" y="532"/>
                  <a:pt x="513" y="532"/>
                  <a:pt x="513" y="532"/>
                </a:cubicBezTo>
                <a:close/>
                <a:moveTo>
                  <a:pt x="514" y="115"/>
                </a:moveTo>
                <a:cubicBezTo>
                  <a:pt x="514" y="116"/>
                  <a:pt x="512" y="115"/>
                  <a:pt x="512" y="114"/>
                </a:cubicBezTo>
                <a:cubicBezTo>
                  <a:pt x="513" y="114"/>
                  <a:pt x="513" y="115"/>
                  <a:pt x="514" y="115"/>
                </a:cubicBezTo>
                <a:close/>
                <a:moveTo>
                  <a:pt x="513" y="495"/>
                </a:moveTo>
                <a:cubicBezTo>
                  <a:pt x="513" y="496"/>
                  <a:pt x="512" y="493"/>
                  <a:pt x="513" y="495"/>
                </a:cubicBezTo>
                <a:close/>
                <a:moveTo>
                  <a:pt x="515" y="592"/>
                </a:moveTo>
                <a:cubicBezTo>
                  <a:pt x="516" y="594"/>
                  <a:pt x="518" y="595"/>
                  <a:pt x="518" y="598"/>
                </a:cubicBezTo>
                <a:cubicBezTo>
                  <a:pt x="514" y="592"/>
                  <a:pt x="511" y="585"/>
                  <a:pt x="507" y="580"/>
                </a:cubicBezTo>
                <a:cubicBezTo>
                  <a:pt x="504" y="575"/>
                  <a:pt x="511" y="583"/>
                  <a:pt x="512" y="584"/>
                </a:cubicBezTo>
                <a:cubicBezTo>
                  <a:pt x="513" y="586"/>
                  <a:pt x="514" y="590"/>
                  <a:pt x="515" y="592"/>
                </a:cubicBezTo>
                <a:close/>
                <a:moveTo>
                  <a:pt x="509" y="537"/>
                </a:moveTo>
                <a:cubicBezTo>
                  <a:pt x="509" y="539"/>
                  <a:pt x="507" y="537"/>
                  <a:pt x="508" y="537"/>
                </a:cubicBezTo>
                <a:cubicBezTo>
                  <a:pt x="508" y="536"/>
                  <a:pt x="509" y="537"/>
                  <a:pt x="509" y="537"/>
                </a:cubicBezTo>
                <a:close/>
                <a:moveTo>
                  <a:pt x="508" y="484"/>
                </a:moveTo>
                <a:cubicBezTo>
                  <a:pt x="509" y="485"/>
                  <a:pt x="508" y="483"/>
                  <a:pt x="508" y="484"/>
                </a:cubicBezTo>
                <a:close/>
                <a:moveTo>
                  <a:pt x="510" y="544"/>
                </a:moveTo>
                <a:cubicBezTo>
                  <a:pt x="510" y="544"/>
                  <a:pt x="510" y="545"/>
                  <a:pt x="510" y="545"/>
                </a:cubicBezTo>
                <a:cubicBezTo>
                  <a:pt x="507" y="546"/>
                  <a:pt x="508" y="541"/>
                  <a:pt x="510" y="544"/>
                </a:cubicBezTo>
                <a:close/>
                <a:moveTo>
                  <a:pt x="507" y="463"/>
                </a:moveTo>
                <a:cubicBezTo>
                  <a:pt x="508" y="467"/>
                  <a:pt x="511" y="471"/>
                  <a:pt x="511" y="476"/>
                </a:cubicBezTo>
                <a:cubicBezTo>
                  <a:pt x="509" y="472"/>
                  <a:pt x="508" y="468"/>
                  <a:pt x="507" y="463"/>
                </a:cubicBezTo>
                <a:close/>
                <a:moveTo>
                  <a:pt x="508" y="387"/>
                </a:moveTo>
                <a:cubicBezTo>
                  <a:pt x="506" y="384"/>
                  <a:pt x="505" y="381"/>
                  <a:pt x="505" y="378"/>
                </a:cubicBezTo>
                <a:cubicBezTo>
                  <a:pt x="506" y="381"/>
                  <a:pt x="507" y="383"/>
                  <a:pt x="508" y="387"/>
                </a:cubicBezTo>
                <a:close/>
                <a:moveTo>
                  <a:pt x="507" y="528"/>
                </a:moveTo>
                <a:cubicBezTo>
                  <a:pt x="506" y="529"/>
                  <a:pt x="505" y="527"/>
                  <a:pt x="504" y="526"/>
                </a:cubicBezTo>
                <a:cubicBezTo>
                  <a:pt x="506" y="525"/>
                  <a:pt x="506" y="528"/>
                  <a:pt x="507" y="528"/>
                </a:cubicBezTo>
                <a:close/>
                <a:moveTo>
                  <a:pt x="504" y="525"/>
                </a:moveTo>
                <a:cubicBezTo>
                  <a:pt x="504" y="525"/>
                  <a:pt x="502" y="524"/>
                  <a:pt x="503" y="523"/>
                </a:cubicBezTo>
                <a:cubicBezTo>
                  <a:pt x="504" y="523"/>
                  <a:pt x="503" y="524"/>
                  <a:pt x="504" y="525"/>
                </a:cubicBezTo>
                <a:close/>
                <a:moveTo>
                  <a:pt x="503" y="434"/>
                </a:moveTo>
                <a:cubicBezTo>
                  <a:pt x="502" y="434"/>
                  <a:pt x="502" y="433"/>
                  <a:pt x="502" y="432"/>
                </a:cubicBezTo>
                <a:cubicBezTo>
                  <a:pt x="503" y="433"/>
                  <a:pt x="503" y="434"/>
                  <a:pt x="503" y="434"/>
                </a:cubicBezTo>
                <a:close/>
                <a:moveTo>
                  <a:pt x="501" y="431"/>
                </a:moveTo>
                <a:cubicBezTo>
                  <a:pt x="502" y="430"/>
                  <a:pt x="502" y="432"/>
                  <a:pt x="501" y="431"/>
                </a:cubicBezTo>
                <a:close/>
                <a:moveTo>
                  <a:pt x="500" y="448"/>
                </a:moveTo>
                <a:cubicBezTo>
                  <a:pt x="500" y="447"/>
                  <a:pt x="501" y="447"/>
                  <a:pt x="501" y="447"/>
                </a:cubicBezTo>
                <a:cubicBezTo>
                  <a:pt x="502" y="448"/>
                  <a:pt x="500" y="448"/>
                  <a:pt x="500" y="448"/>
                </a:cubicBezTo>
                <a:close/>
                <a:moveTo>
                  <a:pt x="501" y="429"/>
                </a:moveTo>
                <a:cubicBezTo>
                  <a:pt x="500" y="429"/>
                  <a:pt x="499" y="427"/>
                  <a:pt x="499" y="426"/>
                </a:cubicBezTo>
                <a:cubicBezTo>
                  <a:pt x="500" y="427"/>
                  <a:pt x="500" y="428"/>
                  <a:pt x="501" y="429"/>
                </a:cubicBezTo>
                <a:close/>
                <a:moveTo>
                  <a:pt x="499" y="566"/>
                </a:moveTo>
                <a:cubicBezTo>
                  <a:pt x="500" y="568"/>
                  <a:pt x="495" y="566"/>
                  <a:pt x="497" y="565"/>
                </a:cubicBezTo>
                <a:cubicBezTo>
                  <a:pt x="498" y="564"/>
                  <a:pt x="499" y="565"/>
                  <a:pt x="499" y="566"/>
                </a:cubicBezTo>
                <a:close/>
                <a:moveTo>
                  <a:pt x="498" y="149"/>
                </a:moveTo>
                <a:cubicBezTo>
                  <a:pt x="497" y="149"/>
                  <a:pt x="496" y="149"/>
                  <a:pt x="495" y="148"/>
                </a:cubicBezTo>
                <a:cubicBezTo>
                  <a:pt x="496" y="147"/>
                  <a:pt x="497" y="149"/>
                  <a:pt x="498" y="149"/>
                </a:cubicBezTo>
                <a:close/>
                <a:moveTo>
                  <a:pt x="494" y="480"/>
                </a:moveTo>
                <a:cubicBezTo>
                  <a:pt x="495" y="480"/>
                  <a:pt x="494" y="482"/>
                  <a:pt x="494" y="481"/>
                </a:cubicBezTo>
                <a:cubicBezTo>
                  <a:pt x="494" y="481"/>
                  <a:pt x="494" y="480"/>
                  <a:pt x="494" y="480"/>
                </a:cubicBezTo>
                <a:close/>
                <a:moveTo>
                  <a:pt x="487" y="591"/>
                </a:moveTo>
                <a:cubicBezTo>
                  <a:pt x="488" y="592"/>
                  <a:pt x="491" y="594"/>
                  <a:pt x="491" y="595"/>
                </a:cubicBezTo>
                <a:cubicBezTo>
                  <a:pt x="491" y="596"/>
                  <a:pt x="487" y="593"/>
                  <a:pt x="487" y="591"/>
                </a:cubicBezTo>
                <a:close/>
                <a:moveTo>
                  <a:pt x="487" y="573"/>
                </a:moveTo>
                <a:cubicBezTo>
                  <a:pt x="486" y="573"/>
                  <a:pt x="488" y="573"/>
                  <a:pt x="487" y="573"/>
                </a:cubicBezTo>
                <a:close/>
                <a:moveTo>
                  <a:pt x="490" y="482"/>
                </a:moveTo>
                <a:cubicBezTo>
                  <a:pt x="490" y="485"/>
                  <a:pt x="485" y="482"/>
                  <a:pt x="487" y="481"/>
                </a:cubicBezTo>
                <a:cubicBezTo>
                  <a:pt x="488" y="480"/>
                  <a:pt x="490" y="482"/>
                  <a:pt x="490" y="482"/>
                </a:cubicBezTo>
                <a:close/>
                <a:moveTo>
                  <a:pt x="487" y="468"/>
                </a:moveTo>
                <a:cubicBezTo>
                  <a:pt x="487" y="469"/>
                  <a:pt x="486" y="466"/>
                  <a:pt x="487" y="468"/>
                </a:cubicBezTo>
                <a:close/>
                <a:moveTo>
                  <a:pt x="486" y="380"/>
                </a:moveTo>
                <a:cubicBezTo>
                  <a:pt x="486" y="379"/>
                  <a:pt x="488" y="382"/>
                  <a:pt x="486" y="380"/>
                </a:cubicBezTo>
                <a:close/>
                <a:moveTo>
                  <a:pt x="486" y="467"/>
                </a:moveTo>
                <a:cubicBezTo>
                  <a:pt x="486" y="466"/>
                  <a:pt x="485" y="466"/>
                  <a:pt x="485" y="465"/>
                </a:cubicBezTo>
                <a:cubicBezTo>
                  <a:pt x="486" y="465"/>
                  <a:pt x="486" y="466"/>
                  <a:pt x="486" y="467"/>
                </a:cubicBezTo>
                <a:close/>
                <a:moveTo>
                  <a:pt x="486" y="560"/>
                </a:moveTo>
                <a:cubicBezTo>
                  <a:pt x="485" y="561"/>
                  <a:pt x="485" y="558"/>
                  <a:pt x="486" y="560"/>
                </a:cubicBezTo>
                <a:close/>
                <a:moveTo>
                  <a:pt x="484" y="463"/>
                </a:moveTo>
                <a:cubicBezTo>
                  <a:pt x="485" y="463"/>
                  <a:pt x="485" y="464"/>
                  <a:pt x="485" y="464"/>
                </a:cubicBezTo>
                <a:cubicBezTo>
                  <a:pt x="485" y="464"/>
                  <a:pt x="484" y="464"/>
                  <a:pt x="484" y="463"/>
                </a:cubicBezTo>
                <a:close/>
                <a:moveTo>
                  <a:pt x="484" y="462"/>
                </a:moveTo>
                <a:cubicBezTo>
                  <a:pt x="483" y="461"/>
                  <a:pt x="484" y="460"/>
                  <a:pt x="484" y="462"/>
                </a:cubicBezTo>
                <a:close/>
                <a:moveTo>
                  <a:pt x="484" y="465"/>
                </a:moveTo>
                <a:cubicBezTo>
                  <a:pt x="483" y="465"/>
                  <a:pt x="483" y="464"/>
                  <a:pt x="483" y="463"/>
                </a:cubicBezTo>
                <a:cubicBezTo>
                  <a:pt x="484" y="463"/>
                  <a:pt x="484" y="464"/>
                  <a:pt x="484" y="465"/>
                </a:cubicBezTo>
                <a:close/>
                <a:moveTo>
                  <a:pt x="483" y="460"/>
                </a:moveTo>
                <a:cubicBezTo>
                  <a:pt x="482" y="459"/>
                  <a:pt x="481" y="458"/>
                  <a:pt x="482" y="456"/>
                </a:cubicBezTo>
                <a:cubicBezTo>
                  <a:pt x="482" y="457"/>
                  <a:pt x="483" y="458"/>
                  <a:pt x="483" y="460"/>
                </a:cubicBezTo>
                <a:close/>
                <a:moveTo>
                  <a:pt x="482" y="461"/>
                </a:moveTo>
                <a:cubicBezTo>
                  <a:pt x="483" y="462"/>
                  <a:pt x="481" y="460"/>
                  <a:pt x="482" y="461"/>
                </a:cubicBezTo>
                <a:close/>
                <a:moveTo>
                  <a:pt x="486" y="590"/>
                </a:moveTo>
                <a:cubicBezTo>
                  <a:pt x="484" y="587"/>
                  <a:pt x="482" y="585"/>
                  <a:pt x="481" y="582"/>
                </a:cubicBezTo>
                <a:cubicBezTo>
                  <a:pt x="483" y="584"/>
                  <a:pt x="485" y="587"/>
                  <a:pt x="486" y="590"/>
                </a:cubicBezTo>
                <a:close/>
                <a:moveTo>
                  <a:pt x="480" y="457"/>
                </a:moveTo>
                <a:cubicBezTo>
                  <a:pt x="480" y="457"/>
                  <a:pt x="479" y="454"/>
                  <a:pt x="480" y="457"/>
                </a:cubicBezTo>
                <a:close/>
                <a:moveTo>
                  <a:pt x="479" y="414"/>
                </a:moveTo>
                <a:cubicBezTo>
                  <a:pt x="479" y="413"/>
                  <a:pt x="478" y="413"/>
                  <a:pt x="479" y="412"/>
                </a:cubicBezTo>
                <a:cubicBezTo>
                  <a:pt x="479" y="413"/>
                  <a:pt x="480" y="413"/>
                  <a:pt x="479" y="414"/>
                </a:cubicBezTo>
                <a:close/>
                <a:moveTo>
                  <a:pt x="478" y="401"/>
                </a:moveTo>
                <a:cubicBezTo>
                  <a:pt x="477" y="400"/>
                  <a:pt x="475" y="397"/>
                  <a:pt x="475" y="394"/>
                </a:cubicBezTo>
                <a:cubicBezTo>
                  <a:pt x="477" y="396"/>
                  <a:pt x="480" y="404"/>
                  <a:pt x="478" y="401"/>
                </a:cubicBezTo>
                <a:close/>
                <a:moveTo>
                  <a:pt x="474" y="393"/>
                </a:moveTo>
                <a:cubicBezTo>
                  <a:pt x="474" y="393"/>
                  <a:pt x="474" y="393"/>
                  <a:pt x="474" y="393"/>
                </a:cubicBezTo>
                <a:cubicBezTo>
                  <a:pt x="474" y="393"/>
                  <a:pt x="474" y="393"/>
                  <a:pt x="474" y="393"/>
                </a:cubicBezTo>
                <a:cubicBezTo>
                  <a:pt x="474" y="393"/>
                  <a:pt x="474" y="393"/>
                  <a:pt x="474" y="393"/>
                </a:cubicBezTo>
                <a:close/>
                <a:moveTo>
                  <a:pt x="469" y="488"/>
                </a:moveTo>
                <a:cubicBezTo>
                  <a:pt x="471" y="488"/>
                  <a:pt x="472" y="491"/>
                  <a:pt x="473" y="493"/>
                </a:cubicBezTo>
                <a:cubicBezTo>
                  <a:pt x="471" y="492"/>
                  <a:pt x="470" y="489"/>
                  <a:pt x="469" y="488"/>
                </a:cubicBezTo>
                <a:close/>
                <a:moveTo>
                  <a:pt x="472" y="391"/>
                </a:moveTo>
                <a:cubicBezTo>
                  <a:pt x="471" y="389"/>
                  <a:pt x="470" y="388"/>
                  <a:pt x="469" y="385"/>
                </a:cubicBezTo>
                <a:cubicBezTo>
                  <a:pt x="471" y="386"/>
                  <a:pt x="472" y="389"/>
                  <a:pt x="472" y="391"/>
                </a:cubicBezTo>
                <a:close/>
                <a:moveTo>
                  <a:pt x="469" y="124"/>
                </a:moveTo>
                <a:cubicBezTo>
                  <a:pt x="469" y="125"/>
                  <a:pt x="467" y="124"/>
                  <a:pt x="467" y="124"/>
                </a:cubicBezTo>
                <a:cubicBezTo>
                  <a:pt x="464" y="122"/>
                  <a:pt x="470" y="123"/>
                  <a:pt x="469" y="124"/>
                </a:cubicBezTo>
                <a:close/>
                <a:moveTo>
                  <a:pt x="466" y="430"/>
                </a:moveTo>
                <a:cubicBezTo>
                  <a:pt x="466" y="434"/>
                  <a:pt x="471" y="437"/>
                  <a:pt x="470" y="440"/>
                </a:cubicBezTo>
                <a:cubicBezTo>
                  <a:pt x="470" y="440"/>
                  <a:pt x="465" y="433"/>
                  <a:pt x="466" y="430"/>
                </a:cubicBezTo>
                <a:close/>
                <a:moveTo>
                  <a:pt x="465" y="555"/>
                </a:moveTo>
                <a:cubicBezTo>
                  <a:pt x="465" y="555"/>
                  <a:pt x="466" y="556"/>
                  <a:pt x="466" y="556"/>
                </a:cubicBezTo>
                <a:cubicBezTo>
                  <a:pt x="467" y="557"/>
                  <a:pt x="464" y="556"/>
                  <a:pt x="465" y="555"/>
                </a:cubicBezTo>
                <a:close/>
                <a:moveTo>
                  <a:pt x="465" y="575"/>
                </a:moveTo>
                <a:cubicBezTo>
                  <a:pt x="465" y="575"/>
                  <a:pt x="465" y="575"/>
                  <a:pt x="466" y="576"/>
                </a:cubicBezTo>
                <a:cubicBezTo>
                  <a:pt x="467" y="577"/>
                  <a:pt x="464" y="576"/>
                  <a:pt x="465" y="575"/>
                </a:cubicBezTo>
                <a:close/>
                <a:moveTo>
                  <a:pt x="463" y="584"/>
                </a:moveTo>
                <a:cubicBezTo>
                  <a:pt x="464" y="583"/>
                  <a:pt x="464" y="584"/>
                  <a:pt x="465" y="585"/>
                </a:cubicBezTo>
                <a:cubicBezTo>
                  <a:pt x="465" y="586"/>
                  <a:pt x="463" y="585"/>
                  <a:pt x="463" y="584"/>
                </a:cubicBezTo>
                <a:close/>
                <a:moveTo>
                  <a:pt x="464" y="655"/>
                </a:moveTo>
                <a:cubicBezTo>
                  <a:pt x="464" y="656"/>
                  <a:pt x="462" y="656"/>
                  <a:pt x="462" y="655"/>
                </a:cubicBezTo>
                <a:cubicBezTo>
                  <a:pt x="462" y="655"/>
                  <a:pt x="464" y="654"/>
                  <a:pt x="464" y="655"/>
                </a:cubicBezTo>
                <a:close/>
                <a:moveTo>
                  <a:pt x="463" y="619"/>
                </a:moveTo>
                <a:cubicBezTo>
                  <a:pt x="462" y="620"/>
                  <a:pt x="461" y="619"/>
                  <a:pt x="461" y="618"/>
                </a:cubicBezTo>
                <a:cubicBezTo>
                  <a:pt x="462" y="619"/>
                  <a:pt x="462" y="619"/>
                  <a:pt x="463" y="619"/>
                </a:cubicBezTo>
                <a:close/>
                <a:moveTo>
                  <a:pt x="461" y="536"/>
                </a:moveTo>
                <a:cubicBezTo>
                  <a:pt x="462" y="537"/>
                  <a:pt x="458" y="535"/>
                  <a:pt x="459" y="534"/>
                </a:cubicBezTo>
                <a:cubicBezTo>
                  <a:pt x="461" y="533"/>
                  <a:pt x="461" y="535"/>
                  <a:pt x="461" y="536"/>
                </a:cubicBezTo>
                <a:close/>
                <a:moveTo>
                  <a:pt x="454" y="150"/>
                </a:moveTo>
                <a:cubicBezTo>
                  <a:pt x="456" y="152"/>
                  <a:pt x="459" y="152"/>
                  <a:pt x="460" y="154"/>
                </a:cubicBezTo>
                <a:cubicBezTo>
                  <a:pt x="458" y="154"/>
                  <a:pt x="456" y="152"/>
                  <a:pt x="454" y="150"/>
                </a:cubicBezTo>
                <a:close/>
                <a:moveTo>
                  <a:pt x="459" y="122"/>
                </a:moveTo>
                <a:cubicBezTo>
                  <a:pt x="457" y="120"/>
                  <a:pt x="461" y="123"/>
                  <a:pt x="459" y="122"/>
                </a:cubicBezTo>
                <a:close/>
                <a:moveTo>
                  <a:pt x="453" y="94"/>
                </a:moveTo>
                <a:cubicBezTo>
                  <a:pt x="451" y="92"/>
                  <a:pt x="455" y="96"/>
                  <a:pt x="453" y="94"/>
                </a:cubicBezTo>
                <a:close/>
                <a:moveTo>
                  <a:pt x="451" y="96"/>
                </a:moveTo>
                <a:cubicBezTo>
                  <a:pt x="455" y="93"/>
                  <a:pt x="458" y="100"/>
                  <a:pt x="454" y="100"/>
                </a:cubicBezTo>
                <a:cubicBezTo>
                  <a:pt x="453" y="101"/>
                  <a:pt x="452" y="100"/>
                  <a:pt x="451" y="98"/>
                </a:cubicBezTo>
                <a:cubicBezTo>
                  <a:pt x="450" y="97"/>
                  <a:pt x="450" y="96"/>
                  <a:pt x="451" y="96"/>
                </a:cubicBezTo>
                <a:close/>
                <a:moveTo>
                  <a:pt x="447" y="103"/>
                </a:moveTo>
                <a:cubicBezTo>
                  <a:pt x="447" y="103"/>
                  <a:pt x="447" y="103"/>
                  <a:pt x="447" y="103"/>
                </a:cubicBezTo>
                <a:cubicBezTo>
                  <a:pt x="446" y="103"/>
                  <a:pt x="447" y="103"/>
                  <a:pt x="447" y="103"/>
                </a:cubicBezTo>
                <a:close/>
                <a:moveTo>
                  <a:pt x="444" y="145"/>
                </a:moveTo>
                <a:cubicBezTo>
                  <a:pt x="446" y="145"/>
                  <a:pt x="449" y="147"/>
                  <a:pt x="451" y="149"/>
                </a:cubicBezTo>
                <a:cubicBezTo>
                  <a:pt x="448" y="149"/>
                  <a:pt x="441" y="143"/>
                  <a:pt x="444" y="145"/>
                </a:cubicBezTo>
                <a:close/>
                <a:moveTo>
                  <a:pt x="442" y="515"/>
                </a:moveTo>
                <a:cubicBezTo>
                  <a:pt x="440" y="516"/>
                  <a:pt x="441" y="513"/>
                  <a:pt x="442" y="515"/>
                </a:cubicBezTo>
                <a:close/>
                <a:moveTo>
                  <a:pt x="436" y="80"/>
                </a:moveTo>
                <a:cubicBezTo>
                  <a:pt x="434" y="80"/>
                  <a:pt x="435" y="78"/>
                  <a:pt x="436" y="80"/>
                </a:cubicBezTo>
                <a:close/>
                <a:moveTo>
                  <a:pt x="440" y="114"/>
                </a:moveTo>
                <a:cubicBezTo>
                  <a:pt x="438" y="111"/>
                  <a:pt x="432" y="110"/>
                  <a:pt x="431" y="107"/>
                </a:cubicBezTo>
                <a:cubicBezTo>
                  <a:pt x="432" y="108"/>
                  <a:pt x="439" y="111"/>
                  <a:pt x="440" y="114"/>
                </a:cubicBezTo>
                <a:close/>
                <a:moveTo>
                  <a:pt x="433" y="179"/>
                </a:moveTo>
                <a:cubicBezTo>
                  <a:pt x="431" y="177"/>
                  <a:pt x="428" y="175"/>
                  <a:pt x="426" y="172"/>
                </a:cubicBezTo>
                <a:cubicBezTo>
                  <a:pt x="429" y="174"/>
                  <a:pt x="432" y="176"/>
                  <a:pt x="433" y="179"/>
                </a:cubicBezTo>
                <a:close/>
                <a:moveTo>
                  <a:pt x="425" y="594"/>
                </a:moveTo>
                <a:cubicBezTo>
                  <a:pt x="425" y="595"/>
                  <a:pt x="426" y="595"/>
                  <a:pt x="426" y="595"/>
                </a:cubicBezTo>
                <a:cubicBezTo>
                  <a:pt x="426" y="596"/>
                  <a:pt x="424" y="595"/>
                  <a:pt x="425" y="594"/>
                </a:cubicBezTo>
                <a:close/>
                <a:moveTo>
                  <a:pt x="426" y="549"/>
                </a:moveTo>
                <a:cubicBezTo>
                  <a:pt x="426" y="550"/>
                  <a:pt x="425" y="548"/>
                  <a:pt x="426" y="549"/>
                </a:cubicBezTo>
                <a:close/>
                <a:moveTo>
                  <a:pt x="426" y="468"/>
                </a:moveTo>
                <a:cubicBezTo>
                  <a:pt x="423" y="467"/>
                  <a:pt x="426" y="466"/>
                  <a:pt x="426" y="468"/>
                </a:cubicBezTo>
                <a:close/>
                <a:moveTo>
                  <a:pt x="425" y="542"/>
                </a:moveTo>
                <a:cubicBezTo>
                  <a:pt x="424" y="541"/>
                  <a:pt x="424" y="539"/>
                  <a:pt x="424" y="538"/>
                </a:cubicBezTo>
                <a:cubicBezTo>
                  <a:pt x="426" y="538"/>
                  <a:pt x="425" y="541"/>
                  <a:pt x="425" y="542"/>
                </a:cubicBezTo>
                <a:close/>
                <a:moveTo>
                  <a:pt x="423" y="592"/>
                </a:moveTo>
                <a:cubicBezTo>
                  <a:pt x="421" y="592"/>
                  <a:pt x="420" y="590"/>
                  <a:pt x="418" y="589"/>
                </a:cubicBezTo>
                <a:cubicBezTo>
                  <a:pt x="420" y="590"/>
                  <a:pt x="419" y="589"/>
                  <a:pt x="420" y="588"/>
                </a:cubicBezTo>
                <a:cubicBezTo>
                  <a:pt x="423" y="587"/>
                  <a:pt x="425" y="591"/>
                  <a:pt x="423" y="592"/>
                </a:cubicBezTo>
                <a:close/>
                <a:moveTo>
                  <a:pt x="420" y="499"/>
                </a:moveTo>
                <a:cubicBezTo>
                  <a:pt x="419" y="500"/>
                  <a:pt x="417" y="496"/>
                  <a:pt x="416" y="494"/>
                </a:cubicBezTo>
                <a:cubicBezTo>
                  <a:pt x="418" y="496"/>
                  <a:pt x="419" y="497"/>
                  <a:pt x="420" y="499"/>
                </a:cubicBezTo>
                <a:close/>
                <a:moveTo>
                  <a:pt x="417" y="100"/>
                </a:moveTo>
                <a:cubicBezTo>
                  <a:pt x="418" y="101"/>
                  <a:pt x="415" y="99"/>
                  <a:pt x="417" y="100"/>
                </a:cubicBezTo>
                <a:close/>
                <a:moveTo>
                  <a:pt x="416" y="49"/>
                </a:moveTo>
                <a:cubicBezTo>
                  <a:pt x="416" y="49"/>
                  <a:pt x="415" y="49"/>
                  <a:pt x="416" y="49"/>
                </a:cubicBezTo>
                <a:cubicBezTo>
                  <a:pt x="416" y="48"/>
                  <a:pt x="418" y="50"/>
                  <a:pt x="416" y="49"/>
                </a:cubicBezTo>
                <a:close/>
                <a:moveTo>
                  <a:pt x="413" y="491"/>
                </a:moveTo>
                <a:cubicBezTo>
                  <a:pt x="414" y="491"/>
                  <a:pt x="414" y="493"/>
                  <a:pt x="416" y="494"/>
                </a:cubicBezTo>
                <a:cubicBezTo>
                  <a:pt x="415" y="494"/>
                  <a:pt x="413" y="492"/>
                  <a:pt x="413" y="491"/>
                </a:cubicBezTo>
                <a:close/>
                <a:moveTo>
                  <a:pt x="415" y="46"/>
                </a:moveTo>
                <a:cubicBezTo>
                  <a:pt x="417" y="47"/>
                  <a:pt x="414" y="45"/>
                  <a:pt x="415" y="46"/>
                </a:cubicBezTo>
                <a:close/>
                <a:moveTo>
                  <a:pt x="414" y="98"/>
                </a:moveTo>
                <a:cubicBezTo>
                  <a:pt x="414" y="97"/>
                  <a:pt x="417" y="100"/>
                  <a:pt x="414" y="98"/>
                </a:cubicBezTo>
                <a:close/>
                <a:moveTo>
                  <a:pt x="414" y="134"/>
                </a:moveTo>
                <a:cubicBezTo>
                  <a:pt x="413" y="134"/>
                  <a:pt x="412" y="133"/>
                  <a:pt x="411" y="133"/>
                </a:cubicBezTo>
                <a:cubicBezTo>
                  <a:pt x="411" y="132"/>
                  <a:pt x="413" y="133"/>
                  <a:pt x="414" y="134"/>
                </a:cubicBezTo>
                <a:close/>
                <a:moveTo>
                  <a:pt x="413" y="99"/>
                </a:moveTo>
                <a:cubicBezTo>
                  <a:pt x="412" y="99"/>
                  <a:pt x="411" y="98"/>
                  <a:pt x="411" y="97"/>
                </a:cubicBezTo>
                <a:cubicBezTo>
                  <a:pt x="412" y="98"/>
                  <a:pt x="413" y="98"/>
                  <a:pt x="413" y="99"/>
                </a:cubicBezTo>
                <a:close/>
                <a:moveTo>
                  <a:pt x="411" y="96"/>
                </a:moveTo>
                <a:cubicBezTo>
                  <a:pt x="409" y="95"/>
                  <a:pt x="412" y="96"/>
                  <a:pt x="411" y="96"/>
                </a:cubicBezTo>
                <a:close/>
                <a:moveTo>
                  <a:pt x="412" y="68"/>
                </a:moveTo>
                <a:cubicBezTo>
                  <a:pt x="411" y="68"/>
                  <a:pt x="410" y="67"/>
                  <a:pt x="409" y="67"/>
                </a:cubicBezTo>
                <a:cubicBezTo>
                  <a:pt x="410" y="66"/>
                  <a:pt x="412" y="67"/>
                  <a:pt x="412" y="68"/>
                </a:cubicBezTo>
                <a:close/>
                <a:moveTo>
                  <a:pt x="408" y="95"/>
                </a:moveTo>
                <a:cubicBezTo>
                  <a:pt x="410" y="96"/>
                  <a:pt x="409" y="97"/>
                  <a:pt x="408" y="95"/>
                </a:cubicBezTo>
                <a:close/>
                <a:moveTo>
                  <a:pt x="406" y="93"/>
                </a:moveTo>
                <a:cubicBezTo>
                  <a:pt x="407" y="93"/>
                  <a:pt x="408" y="94"/>
                  <a:pt x="409" y="95"/>
                </a:cubicBezTo>
                <a:cubicBezTo>
                  <a:pt x="408" y="94"/>
                  <a:pt x="407" y="94"/>
                  <a:pt x="406" y="93"/>
                </a:cubicBezTo>
                <a:close/>
                <a:moveTo>
                  <a:pt x="408" y="66"/>
                </a:moveTo>
                <a:cubicBezTo>
                  <a:pt x="406" y="66"/>
                  <a:pt x="404" y="64"/>
                  <a:pt x="402" y="63"/>
                </a:cubicBezTo>
                <a:cubicBezTo>
                  <a:pt x="404" y="63"/>
                  <a:pt x="406" y="65"/>
                  <a:pt x="408" y="66"/>
                </a:cubicBezTo>
                <a:close/>
                <a:moveTo>
                  <a:pt x="403" y="92"/>
                </a:moveTo>
                <a:cubicBezTo>
                  <a:pt x="402" y="91"/>
                  <a:pt x="404" y="94"/>
                  <a:pt x="403" y="92"/>
                </a:cubicBezTo>
                <a:close/>
                <a:moveTo>
                  <a:pt x="402" y="116"/>
                </a:moveTo>
                <a:cubicBezTo>
                  <a:pt x="402" y="116"/>
                  <a:pt x="401" y="117"/>
                  <a:pt x="401" y="117"/>
                </a:cubicBezTo>
                <a:cubicBezTo>
                  <a:pt x="400" y="117"/>
                  <a:pt x="401" y="115"/>
                  <a:pt x="402" y="116"/>
                </a:cubicBezTo>
                <a:close/>
                <a:moveTo>
                  <a:pt x="404" y="171"/>
                </a:moveTo>
                <a:cubicBezTo>
                  <a:pt x="403" y="173"/>
                  <a:pt x="400" y="171"/>
                  <a:pt x="400" y="170"/>
                </a:cubicBezTo>
                <a:cubicBezTo>
                  <a:pt x="398" y="167"/>
                  <a:pt x="404" y="169"/>
                  <a:pt x="404" y="171"/>
                </a:cubicBezTo>
                <a:close/>
                <a:moveTo>
                  <a:pt x="398" y="513"/>
                </a:moveTo>
                <a:cubicBezTo>
                  <a:pt x="398" y="512"/>
                  <a:pt x="399" y="513"/>
                  <a:pt x="400" y="513"/>
                </a:cubicBezTo>
                <a:cubicBezTo>
                  <a:pt x="401" y="516"/>
                  <a:pt x="396" y="514"/>
                  <a:pt x="398" y="513"/>
                </a:cubicBezTo>
                <a:close/>
                <a:moveTo>
                  <a:pt x="397" y="471"/>
                </a:moveTo>
                <a:cubicBezTo>
                  <a:pt x="396" y="472"/>
                  <a:pt x="396" y="469"/>
                  <a:pt x="397" y="470"/>
                </a:cubicBezTo>
                <a:cubicBezTo>
                  <a:pt x="397" y="470"/>
                  <a:pt x="397" y="471"/>
                  <a:pt x="397" y="471"/>
                </a:cubicBezTo>
                <a:close/>
                <a:moveTo>
                  <a:pt x="397" y="427"/>
                </a:moveTo>
                <a:cubicBezTo>
                  <a:pt x="398" y="428"/>
                  <a:pt x="394" y="427"/>
                  <a:pt x="396" y="426"/>
                </a:cubicBezTo>
                <a:cubicBezTo>
                  <a:pt x="396" y="426"/>
                  <a:pt x="397" y="427"/>
                  <a:pt x="397" y="427"/>
                </a:cubicBezTo>
                <a:close/>
                <a:moveTo>
                  <a:pt x="396" y="81"/>
                </a:moveTo>
                <a:cubicBezTo>
                  <a:pt x="396" y="82"/>
                  <a:pt x="393" y="82"/>
                  <a:pt x="393" y="81"/>
                </a:cubicBezTo>
                <a:cubicBezTo>
                  <a:pt x="391" y="79"/>
                  <a:pt x="397" y="79"/>
                  <a:pt x="396" y="81"/>
                </a:cubicBezTo>
                <a:close/>
                <a:moveTo>
                  <a:pt x="393" y="150"/>
                </a:moveTo>
                <a:cubicBezTo>
                  <a:pt x="392" y="150"/>
                  <a:pt x="391" y="149"/>
                  <a:pt x="391" y="148"/>
                </a:cubicBezTo>
                <a:cubicBezTo>
                  <a:pt x="392" y="148"/>
                  <a:pt x="393" y="149"/>
                  <a:pt x="393" y="150"/>
                </a:cubicBezTo>
                <a:close/>
                <a:moveTo>
                  <a:pt x="395" y="400"/>
                </a:moveTo>
                <a:cubicBezTo>
                  <a:pt x="394" y="403"/>
                  <a:pt x="389" y="398"/>
                  <a:pt x="390" y="397"/>
                </a:cubicBezTo>
                <a:cubicBezTo>
                  <a:pt x="392" y="395"/>
                  <a:pt x="395" y="399"/>
                  <a:pt x="395" y="400"/>
                </a:cubicBezTo>
                <a:close/>
                <a:moveTo>
                  <a:pt x="391" y="167"/>
                </a:moveTo>
                <a:cubicBezTo>
                  <a:pt x="390" y="168"/>
                  <a:pt x="389" y="166"/>
                  <a:pt x="391" y="167"/>
                </a:cubicBezTo>
                <a:close/>
                <a:moveTo>
                  <a:pt x="390" y="147"/>
                </a:moveTo>
                <a:cubicBezTo>
                  <a:pt x="390" y="146"/>
                  <a:pt x="391" y="149"/>
                  <a:pt x="390" y="147"/>
                </a:cubicBezTo>
                <a:close/>
                <a:moveTo>
                  <a:pt x="390" y="84"/>
                </a:moveTo>
                <a:cubicBezTo>
                  <a:pt x="390" y="85"/>
                  <a:pt x="390" y="85"/>
                  <a:pt x="390" y="85"/>
                </a:cubicBezTo>
                <a:cubicBezTo>
                  <a:pt x="389" y="86"/>
                  <a:pt x="389" y="84"/>
                  <a:pt x="390" y="84"/>
                </a:cubicBezTo>
                <a:close/>
                <a:moveTo>
                  <a:pt x="391" y="691"/>
                </a:moveTo>
                <a:cubicBezTo>
                  <a:pt x="391" y="691"/>
                  <a:pt x="391" y="691"/>
                  <a:pt x="391" y="692"/>
                </a:cubicBezTo>
                <a:cubicBezTo>
                  <a:pt x="388" y="691"/>
                  <a:pt x="382" y="691"/>
                  <a:pt x="384" y="687"/>
                </a:cubicBezTo>
                <a:cubicBezTo>
                  <a:pt x="384" y="687"/>
                  <a:pt x="387" y="686"/>
                  <a:pt x="388" y="687"/>
                </a:cubicBezTo>
                <a:cubicBezTo>
                  <a:pt x="391" y="688"/>
                  <a:pt x="388" y="691"/>
                  <a:pt x="391" y="691"/>
                </a:cubicBezTo>
                <a:close/>
                <a:moveTo>
                  <a:pt x="381" y="643"/>
                </a:moveTo>
                <a:cubicBezTo>
                  <a:pt x="381" y="642"/>
                  <a:pt x="381" y="641"/>
                  <a:pt x="381" y="641"/>
                </a:cubicBezTo>
                <a:cubicBezTo>
                  <a:pt x="381" y="641"/>
                  <a:pt x="379" y="641"/>
                  <a:pt x="379" y="640"/>
                </a:cubicBezTo>
                <a:cubicBezTo>
                  <a:pt x="380" y="637"/>
                  <a:pt x="387" y="642"/>
                  <a:pt x="388" y="643"/>
                </a:cubicBezTo>
                <a:cubicBezTo>
                  <a:pt x="387" y="642"/>
                  <a:pt x="383" y="646"/>
                  <a:pt x="381" y="643"/>
                </a:cubicBezTo>
                <a:close/>
                <a:moveTo>
                  <a:pt x="382" y="615"/>
                </a:moveTo>
                <a:cubicBezTo>
                  <a:pt x="383" y="616"/>
                  <a:pt x="381" y="614"/>
                  <a:pt x="382" y="615"/>
                </a:cubicBezTo>
                <a:close/>
                <a:moveTo>
                  <a:pt x="383" y="159"/>
                </a:moveTo>
                <a:cubicBezTo>
                  <a:pt x="383" y="158"/>
                  <a:pt x="385" y="161"/>
                  <a:pt x="383" y="160"/>
                </a:cubicBezTo>
                <a:cubicBezTo>
                  <a:pt x="383" y="160"/>
                  <a:pt x="382" y="159"/>
                  <a:pt x="383" y="159"/>
                </a:cubicBezTo>
                <a:close/>
                <a:moveTo>
                  <a:pt x="387" y="432"/>
                </a:moveTo>
                <a:cubicBezTo>
                  <a:pt x="387" y="432"/>
                  <a:pt x="387" y="433"/>
                  <a:pt x="387" y="433"/>
                </a:cubicBezTo>
                <a:cubicBezTo>
                  <a:pt x="386" y="434"/>
                  <a:pt x="386" y="432"/>
                  <a:pt x="387" y="432"/>
                </a:cubicBezTo>
                <a:close/>
                <a:moveTo>
                  <a:pt x="387" y="159"/>
                </a:moveTo>
                <a:cubicBezTo>
                  <a:pt x="388" y="159"/>
                  <a:pt x="387" y="161"/>
                  <a:pt x="387" y="159"/>
                </a:cubicBezTo>
                <a:close/>
                <a:moveTo>
                  <a:pt x="388" y="106"/>
                </a:moveTo>
                <a:cubicBezTo>
                  <a:pt x="384" y="103"/>
                  <a:pt x="381" y="102"/>
                  <a:pt x="378" y="97"/>
                </a:cubicBezTo>
                <a:cubicBezTo>
                  <a:pt x="382" y="99"/>
                  <a:pt x="385" y="103"/>
                  <a:pt x="388" y="106"/>
                </a:cubicBezTo>
                <a:close/>
                <a:moveTo>
                  <a:pt x="377" y="583"/>
                </a:moveTo>
                <a:cubicBezTo>
                  <a:pt x="379" y="584"/>
                  <a:pt x="377" y="585"/>
                  <a:pt x="377" y="583"/>
                </a:cubicBezTo>
                <a:close/>
                <a:moveTo>
                  <a:pt x="376" y="149"/>
                </a:moveTo>
                <a:cubicBezTo>
                  <a:pt x="376" y="149"/>
                  <a:pt x="375" y="149"/>
                  <a:pt x="376" y="148"/>
                </a:cubicBezTo>
                <a:cubicBezTo>
                  <a:pt x="376" y="147"/>
                  <a:pt x="378" y="151"/>
                  <a:pt x="376" y="149"/>
                </a:cubicBezTo>
                <a:close/>
                <a:moveTo>
                  <a:pt x="376" y="89"/>
                </a:moveTo>
                <a:cubicBezTo>
                  <a:pt x="375" y="89"/>
                  <a:pt x="377" y="90"/>
                  <a:pt x="376" y="89"/>
                </a:cubicBezTo>
                <a:close/>
                <a:moveTo>
                  <a:pt x="376" y="119"/>
                </a:moveTo>
                <a:cubicBezTo>
                  <a:pt x="376" y="119"/>
                  <a:pt x="376" y="119"/>
                  <a:pt x="376" y="119"/>
                </a:cubicBezTo>
                <a:cubicBezTo>
                  <a:pt x="376" y="119"/>
                  <a:pt x="377" y="119"/>
                  <a:pt x="376" y="119"/>
                </a:cubicBezTo>
                <a:close/>
                <a:moveTo>
                  <a:pt x="377" y="127"/>
                </a:moveTo>
                <a:cubicBezTo>
                  <a:pt x="376" y="126"/>
                  <a:pt x="376" y="126"/>
                  <a:pt x="375" y="125"/>
                </a:cubicBezTo>
                <a:cubicBezTo>
                  <a:pt x="376" y="126"/>
                  <a:pt x="377" y="126"/>
                  <a:pt x="377" y="127"/>
                </a:cubicBezTo>
                <a:close/>
                <a:moveTo>
                  <a:pt x="376" y="147"/>
                </a:moveTo>
                <a:cubicBezTo>
                  <a:pt x="374" y="147"/>
                  <a:pt x="373" y="146"/>
                  <a:pt x="372" y="144"/>
                </a:cubicBezTo>
                <a:cubicBezTo>
                  <a:pt x="374" y="144"/>
                  <a:pt x="375" y="146"/>
                  <a:pt x="376" y="147"/>
                </a:cubicBezTo>
                <a:close/>
                <a:moveTo>
                  <a:pt x="362" y="132"/>
                </a:moveTo>
                <a:cubicBezTo>
                  <a:pt x="366" y="134"/>
                  <a:pt x="369" y="139"/>
                  <a:pt x="372" y="143"/>
                </a:cubicBezTo>
                <a:cubicBezTo>
                  <a:pt x="369" y="141"/>
                  <a:pt x="365" y="135"/>
                  <a:pt x="362" y="132"/>
                </a:cubicBezTo>
                <a:close/>
                <a:moveTo>
                  <a:pt x="367" y="82"/>
                </a:moveTo>
                <a:cubicBezTo>
                  <a:pt x="366" y="81"/>
                  <a:pt x="368" y="83"/>
                  <a:pt x="367" y="82"/>
                </a:cubicBezTo>
                <a:close/>
                <a:moveTo>
                  <a:pt x="366" y="81"/>
                </a:moveTo>
                <a:cubicBezTo>
                  <a:pt x="364" y="81"/>
                  <a:pt x="362" y="79"/>
                  <a:pt x="360" y="77"/>
                </a:cubicBezTo>
                <a:cubicBezTo>
                  <a:pt x="361" y="78"/>
                  <a:pt x="365" y="79"/>
                  <a:pt x="366" y="81"/>
                </a:cubicBezTo>
                <a:close/>
                <a:moveTo>
                  <a:pt x="364" y="54"/>
                </a:moveTo>
                <a:cubicBezTo>
                  <a:pt x="363" y="54"/>
                  <a:pt x="362" y="53"/>
                  <a:pt x="362" y="53"/>
                </a:cubicBezTo>
                <a:cubicBezTo>
                  <a:pt x="362" y="52"/>
                  <a:pt x="364" y="53"/>
                  <a:pt x="364" y="54"/>
                </a:cubicBezTo>
                <a:close/>
                <a:moveTo>
                  <a:pt x="361" y="47"/>
                </a:moveTo>
                <a:cubicBezTo>
                  <a:pt x="361" y="47"/>
                  <a:pt x="360" y="47"/>
                  <a:pt x="360" y="47"/>
                </a:cubicBezTo>
                <a:cubicBezTo>
                  <a:pt x="358" y="46"/>
                  <a:pt x="362" y="45"/>
                  <a:pt x="361" y="47"/>
                </a:cubicBezTo>
                <a:close/>
                <a:moveTo>
                  <a:pt x="361" y="52"/>
                </a:moveTo>
                <a:cubicBezTo>
                  <a:pt x="360" y="53"/>
                  <a:pt x="360" y="52"/>
                  <a:pt x="359" y="52"/>
                </a:cubicBezTo>
                <a:cubicBezTo>
                  <a:pt x="359" y="51"/>
                  <a:pt x="361" y="52"/>
                  <a:pt x="361" y="52"/>
                </a:cubicBezTo>
                <a:close/>
                <a:moveTo>
                  <a:pt x="359" y="74"/>
                </a:moveTo>
                <a:cubicBezTo>
                  <a:pt x="359" y="74"/>
                  <a:pt x="357" y="73"/>
                  <a:pt x="356" y="71"/>
                </a:cubicBezTo>
                <a:cubicBezTo>
                  <a:pt x="357" y="72"/>
                  <a:pt x="358" y="72"/>
                  <a:pt x="359" y="74"/>
                </a:cubicBezTo>
                <a:close/>
                <a:moveTo>
                  <a:pt x="356" y="12"/>
                </a:moveTo>
                <a:cubicBezTo>
                  <a:pt x="357" y="11"/>
                  <a:pt x="358" y="13"/>
                  <a:pt x="356" y="12"/>
                </a:cubicBezTo>
                <a:close/>
                <a:moveTo>
                  <a:pt x="358" y="51"/>
                </a:moveTo>
                <a:cubicBezTo>
                  <a:pt x="357" y="52"/>
                  <a:pt x="356" y="51"/>
                  <a:pt x="355" y="50"/>
                </a:cubicBezTo>
                <a:cubicBezTo>
                  <a:pt x="355" y="49"/>
                  <a:pt x="357" y="51"/>
                  <a:pt x="358" y="51"/>
                </a:cubicBezTo>
                <a:close/>
                <a:moveTo>
                  <a:pt x="350" y="44"/>
                </a:moveTo>
                <a:cubicBezTo>
                  <a:pt x="349" y="44"/>
                  <a:pt x="349" y="44"/>
                  <a:pt x="349" y="43"/>
                </a:cubicBezTo>
                <a:cubicBezTo>
                  <a:pt x="348" y="43"/>
                  <a:pt x="350" y="43"/>
                  <a:pt x="350" y="44"/>
                </a:cubicBezTo>
                <a:close/>
                <a:moveTo>
                  <a:pt x="348" y="18"/>
                </a:moveTo>
                <a:cubicBezTo>
                  <a:pt x="346" y="17"/>
                  <a:pt x="349" y="18"/>
                  <a:pt x="348" y="18"/>
                </a:cubicBezTo>
                <a:close/>
                <a:moveTo>
                  <a:pt x="348" y="50"/>
                </a:moveTo>
                <a:cubicBezTo>
                  <a:pt x="347" y="50"/>
                  <a:pt x="347" y="50"/>
                  <a:pt x="347" y="50"/>
                </a:cubicBezTo>
                <a:cubicBezTo>
                  <a:pt x="348" y="50"/>
                  <a:pt x="348" y="51"/>
                  <a:pt x="348" y="50"/>
                </a:cubicBezTo>
                <a:close/>
                <a:moveTo>
                  <a:pt x="347" y="64"/>
                </a:moveTo>
                <a:cubicBezTo>
                  <a:pt x="349" y="64"/>
                  <a:pt x="352" y="68"/>
                  <a:pt x="355" y="71"/>
                </a:cubicBezTo>
                <a:cubicBezTo>
                  <a:pt x="353" y="70"/>
                  <a:pt x="351" y="68"/>
                  <a:pt x="349" y="66"/>
                </a:cubicBezTo>
                <a:cubicBezTo>
                  <a:pt x="349" y="66"/>
                  <a:pt x="344" y="64"/>
                  <a:pt x="347" y="64"/>
                </a:cubicBezTo>
                <a:close/>
                <a:moveTo>
                  <a:pt x="345" y="38"/>
                </a:moveTo>
                <a:cubicBezTo>
                  <a:pt x="345" y="38"/>
                  <a:pt x="344" y="38"/>
                  <a:pt x="344" y="37"/>
                </a:cubicBezTo>
                <a:cubicBezTo>
                  <a:pt x="345" y="35"/>
                  <a:pt x="347" y="40"/>
                  <a:pt x="345" y="38"/>
                </a:cubicBezTo>
                <a:close/>
                <a:moveTo>
                  <a:pt x="345" y="14"/>
                </a:moveTo>
                <a:cubicBezTo>
                  <a:pt x="345" y="15"/>
                  <a:pt x="343" y="14"/>
                  <a:pt x="343" y="14"/>
                </a:cubicBezTo>
                <a:cubicBezTo>
                  <a:pt x="341" y="12"/>
                  <a:pt x="346" y="12"/>
                  <a:pt x="345" y="14"/>
                </a:cubicBezTo>
                <a:close/>
                <a:moveTo>
                  <a:pt x="333" y="49"/>
                </a:moveTo>
                <a:cubicBezTo>
                  <a:pt x="335" y="48"/>
                  <a:pt x="334" y="50"/>
                  <a:pt x="333" y="49"/>
                </a:cubicBezTo>
                <a:close/>
                <a:moveTo>
                  <a:pt x="344" y="63"/>
                </a:moveTo>
                <a:cubicBezTo>
                  <a:pt x="339" y="61"/>
                  <a:pt x="335" y="59"/>
                  <a:pt x="331" y="56"/>
                </a:cubicBezTo>
                <a:cubicBezTo>
                  <a:pt x="336" y="57"/>
                  <a:pt x="340" y="60"/>
                  <a:pt x="344" y="63"/>
                </a:cubicBezTo>
                <a:close/>
                <a:moveTo>
                  <a:pt x="331" y="76"/>
                </a:moveTo>
                <a:cubicBezTo>
                  <a:pt x="331" y="77"/>
                  <a:pt x="329" y="78"/>
                  <a:pt x="329" y="77"/>
                </a:cubicBezTo>
                <a:cubicBezTo>
                  <a:pt x="329" y="77"/>
                  <a:pt x="329" y="77"/>
                  <a:pt x="329" y="77"/>
                </a:cubicBezTo>
                <a:cubicBezTo>
                  <a:pt x="329" y="78"/>
                  <a:pt x="329" y="78"/>
                  <a:pt x="328" y="78"/>
                </a:cubicBezTo>
                <a:cubicBezTo>
                  <a:pt x="327" y="79"/>
                  <a:pt x="324" y="75"/>
                  <a:pt x="327" y="75"/>
                </a:cubicBezTo>
                <a:cubicBezTo>
                  <a:pt x="328" y="75"/>
                  <a:pt x="329" y="75"/>
                  <a:pt x="329" y="76"/>
                </a:cubicBezTo>
                <a:cubicBezTo>
                  <a:pt x="329" y="76"/>
                  <a:pt x="330" y="75"/>
                  <a:pt x="331" y="76"/>
                </a:cubicBezTo>
                <a:close/>
                <a:moveTo>
                  <a:pt x="327" y="52"/>
                </a:moveTo>
                <a:cubicBezTo>
                  <a:pt x="326" y="52"/>
                  <a:pt x="329" y="52"/>
                  <a:pt x="327" y="52"/>
                </a:cubicBezTo>
                <a:close/>
                <a:moveTo>
                  <a:pt x="325" y="23"/>
                </a:moveTo>
                <a:cubicBezTo>
                  <a:pt x="325" y="22"/>
                  <a:pt x="326" y="24"/>
                  <a:pt x="325" y="23"/>
                </a:cubicBezTo>
                <a:close/>
                <a:moveTo>
                  <a:pt x="330" y="41"/>
                </a:moveTo>
                <a:cubicBezTo>
                  <a:pt x="330" y="43"/>
                  <a:pt x="325" y="43"/>
                  <a:pt x="324" y="42"/>
                </a:cubicBezTo>
                <a:cubicBezTo>
                  <a:pt x="321" y="38"/>
                  <a:pt x="330" y="41"/>
                  <a:pt x="330" y="41"/>
                </a:cubicBezTo>
                <a:close/>
                <a:moveTo>
                  <a:pt x="326" y="75"/>
                </a:moveTo>
                <a:cubicBezTo>
                  <a:pt x="326" y="76"/>
                  <a:pt x="325" y="76"/>
                  <a:pt x="325" y="75"/>
                </a:cubicBezTo>
                <a:cubicBezTo>
                  <a:pt x="324" y="75"/>
                  <a:pt x="326" y="74"/>
                  <a:pt x="326" y="75"/>
                </a:cubicBezTo>
                <a:close/>
                <a:moveTo>
                  <a:pt x="324" y="68"/>
                </a:moveTo>
                <a:cubicBezTo>
                  <a:pt x="324" y="67"/>
                  <a:pt x="325" y="67"/>
                  <a:pt x="325" y="68"/>
                </a:cubicBezTo>
                <a:cubicBezTo>
                  <a:pt x="326" y="69"/>
                  <a:pt x="324" y="68"/>
                  <a:pt x="324" y="68"/>
                </a:cubicBezTo>
                <a:close/>
                <a:moveTo>
                  <a:pt x="327" y="107"/>
                </a:moveTo>
                <a:cubicBezTo>
                  <a:pt x="326" y="109"/>
                  <a:pt x="322" y="107"/>
                  <a:pt x="322" y="107"/>
                </a:cubicBezTo>
                <a:cubicBezTo>
                  <a:pt x="319" y="103"/>
                  <a:pt x="328" y="104"/>
                  <a:pt x="327" y="107"/>
                </a:cubicBezTo>
                <a:close/>
                <a:moveTo>
                  <a:pt x="322" y="27"/>
                </a:moveTo>
                <a:cubicBezTo>
                  <a:pt x="321" y="28"/>
                  <a:pt x="320" y="27"/>
                  <a:pt x="320" y="27"/>
                </a:cubicBezTo>
                <a:cubicBezTo>
                  <a:pt x="319" y="25"/>
                  <a:pt x="322" y="26"/>
                  <a:pt x="322" y="27"/>
                </a:cubicBezTo>
                <a:close/>
                <a:moveTo>
                  <a:pt x="319" y="102"/>
                </a:moveTo>
                <a:cubicBezTo>
                  <a:pt x="319" y="102"/>
                  <a:pt x="318" y="102"/>
                  <a:pt x="318" y="101"/>
                </a:cubicBezTo>
                <a:cubicBezTo>
                  <a:pt x="316" y="100"/>
                  <a:pt x="321" y="100"/>
                  <a:pt x="319" y="102"/>
                </a:cubicBezTo>
                <a:close/>
                <a:moveTo>
                  <a:pt x="319" y="85"/>
                </a:moveTo>
                <a:cubicBezTo>
                  <a:pt x="321" y="85"/>
                  <a:pt x="318" y="87"/>
                  <a:pt x="318" y="85"/>
                </a:cubicBezTo>
                <a:cubicBezTo>
                  <a:pt x="318" y="85"/>
                  <a:pt x="319" y="85"/>
                  <a:pt x="319" y="85"/>
                </a:cubicBezTo>
                <a:close/>
                <a:moveTo>
                  <a:pt x="319" y="73"/>
                </a:moveTo>
                <a:cubicBezTo>
                  <a:pt x="319" y="73"/>
                  <a:pt x="318" y="73"/>
                  <a:pt x="318" y="73"/>
                </a:cubicBezTo>
                <a:cubicBezTo>
                  <a:pt x="316" y="73"/>
                  <a:pt x="318" y="72"/>
                  <a:pt x="319" y="73"/>
                </a:cubicBezTo>
                <a:close/>
                <a:moveTo>
                  <a:pt x="317" y="46"/>
                </a:moveTo>
                <a:cubicBezTo>
                  <a:pt x="317" y="47"/>
                  <a:pt x="315" y="47"/>
                  <a:pt x="315" y="46"/>
                </a:cubicBezTo>
                <a:cubicBezTo>
                  <a:pt x="314" y="45"/>
                  <a:pt x="317" y="44"/>
                  <a:pt x="317" y="46"/>
                </a:cubicBezTo>
                <a:close/>
                <a:moveTo>
                  <a:pt x="315" y="61"/>
                </a:moveTo>
                <a:cubicBezTo>
                  <a:pt x="315" y="61"/>
                  <a:pt x="315" y="60"/>
                  <a:pt x="315" y="60"/>
                </a:cubicBezTo>
                <a:cubicBezTo>
                  <a:pt x="313" y="57"/>
                  <a:pt x="319" y="61"/>
                  <a:pt x="315" y="61"/>
                </a:cubicBezTo>
                <a:close/>
                <a:moveTo>
                  <a:pt x="314" y="88"/>
                </a:moveTo>
                <a:cubicBezTo>
                  <a:pt x="315" y="88"/>
                  <a:pt x="316" y="89"/>
                  <a:pt x="315" y="89"/>
                </a:cubicBezTo>
                <a:cubicBezTo>
                  <a:pt x="315" y="90"/>
                  <a:pt x="313" y="89"/>
                  <a:pt x="314" y="88"/>
                </a:cubicBezTo>
                <a:close/>
                <a:moveTo>
                  <a:pt x="314" y="98"/>
                </a:moveTo>
                <a:cubicBezTo>
                  <a:pt x="313" y="98"/>
                  <a:pt x="312" y="97"/>
                  <a:pt x="312" y="96"/>
                </a:cubicBezTo>
                <a:cubicBezTo>
                  <a:pt x="313" y="96"/>
                  <a:pt x="313" y="97"/>
                  <a:pt x="314" y="98"/>
                </a:cubicBezTo>
                <a:close/>
                <a:moveTo>
                  <a:pt x="313" y="62"/>
                </a:moveTo>
                <a:cubicBezTo>
                  <a:pt x="311" y="61"/>
                  <a:pt x="314" y="62"/>
                  <a:pt x="313" y="62"/>
                </a:cubicBezTo>
                <a:close/>
                <a:moveTo>
                  <a:pt x="308" y="35"/>
                </a:moveTo>
                <a:cubicBezTo>
                  <a:pt x="307" y="34"/>
                  <a:pt x="310" y="37"/>
                  <a:pt x="308" y="35"/>
                </a:cubicBezTo>
                <a:close/>
                <a:moveTo>
                  <a:pt x="305" y="53"/>
                </a:moveTo>
                <a:cubicBezTo>
                  <a:pt x="305" y="52"/>
                  <a:pt x="306" y="54"/>
                  <a:pt x="306" y="54"/>
                </a:cubicBezTo>
                <a:cubicBezTo>
                  <a:pt x="306" y="54"/>
                  <a:pt x="306" y="53"/>
                  <a:pt x="305" y="53"/>
                </a:cubicBezTo>
                <a:close/>
                <a:moveTo>
                  <a:pt x="306" y="45"/>
                </a:moveTo>
                <a:cubicBezTo>
                  <a:pt x="304" y="40"/>
                  <a:pt x="314" y="43"/>
                  <a:pt x="312" y="46"/>
                </a:cubicBezTo>
                <a:cubicBezTo>
                  <a:pt x="311" y="48"/>
                  <a:pt x="307" y="45"/>
                  <a:pt x="306" y="45"/>
                </a:cubicBezTo>
                <a:close/>
                <a:moveTo>
                  <a:pt x="307" y="88"/>
                </a:moveTo>
                <a:cubicBezTo>
                  <a:pt x="308" y="88"/>
                  <a:pt x="307" y="89"/>
                  <a:pt x="307" y="89"/>
                </a:cubicBezTo>
                <a:cubicBezTo>
                  <a:pt x="307" y="89"/>
                  <a:pt x="306" y="87"/>
                  <a:pt x="307" y="88"/>
                </a:cubicBezTo>
                <a:close/>
                <a:moveTo>
                  <a:pt x="313" y="101"/>
                </a:moveTo>
                <a:cubicBezTo>
                  <a:pt x="313" y="102"/>
                  <a:pt x="306" y="96"/>
                  <a:pt x="305" y="95"/>
                </a:cubicBezTo>
                <a:cubicBezTo>
                  <a:pt x="305" y="95"/>
                  <a:pt x="305" y="94"/>
                  <a:pt x="305" y="93"/>
                </a:cubicBezTo>
                <a:cubicBezTo>
                  <a:pt x="305" y="93"/>
                  <a:pt x="314" y="100"/>
                  <a:pt x="313" y="101"/>
                </a:cubicBezTo>
                <a:close/>
                <a:moveTo>
                  <a:pt x="306" y="102"/>
                </a:moveTo>
                <a:cubicBezTo>
                  <a:pt x="304" y="103"/>
                  <a:pt x="303" y="99"/>
                  <a:pt x="302" y="98"/>
                </a:cubicBezTo>
                <a:cubicBezTo>
                  <a:pt x="303" y="98"/>
                  <a:pt x="305" y="101"/>
                  <a:pt x="306" y="102"/>
                </a:cubicBezTo>
                <a:close/>
                <a:moveTo>
                  <a:pt x="301" y="81"/>
                </a:moveTo>
                <a:cubicBezTo>
                  <a:pt x="302" y="80"/>
                  <a:pt x="303" y="84"/>
                  <a:pt x="301" y="82"/>
                </a:cubicBezTo>
                <a:cubicBezTo>
                  <a:pt x="301" y="82"/>
                  <a:pt x="301" y="82"/>
                  <a:pt x="301" y="81"/>
                </a:cubicBezTo>
                <a:close/>
                <a:moveTo>
                  <a:pt x="303" y="92"/>
                </a:moveTo>
                <a:cubicBezTo>
                  <a:pt x="299" y="88"/>
                  <a:pt x="295" y="86"/>
                  <a:pt x="293" y="81"/>
                </a:cubicBezTo>
                <a:cubicBezTo>
                  <a:pt x="297" y="83"/>
                  <a:pt x="301" y="88"/>
                  <a:pt x="303" y="92"/>
                </a:cubicBezTo>
                <a:close/>
                <a:moveTo>
                  <a:pt x="293" y="77"/>
                </a:moveTo>
                <a:cubicBezTo>
                  <a:pt x="293" y="77"/>
                  <a:pt x="293" y="77"/>
                  <a:pt x="293" y="77"/>
                </a:cubicBezTo>
                <a:cubicBezTo>
                  <a:pt x="293" y="77"/>
                  <a:pt x="293" y="77"/>
                  <a:pt x="293" y="77"/>
                </a:cubicBezTo>
                <a:cubicBezTo>
                  <a:pt x="293" y="77"/>
                  <a:pt x="293" y="77"/>
                  <a:pt x="293" y="77"/>
                </a:cubicBezTo>
                <a:close/>
                <a:moveTo>
                  <a:pt x="302" y="98"/>
                </a:moveTo>
                <a:cubicBezTo>
                  <a:pt x="297" y="92"/>
                  <a:pt x="293" y="88"/>
                  <a:pt x="288" y="83"/>
                </a:cubicBezTo>
                <a:cubicBezTo>
                  <a:pt x="293" y="87"/>
                  <a:pt x="298" y="91"/>
                  <a:pt x="302" y="98"/>
                </a:cubicBezTo>
                <a:close/>
                <a:moveTo>
                  <a:pt x="295" y="198"/>
                </a:moveTo>
                <a:cubicBezTo>
                  <a:pt x="291" y="196"/>
                  <a:pt x="287" y="194"/>
                  <a:pt x="284" y="192"/>
                </a:cubicBezTo>
                <a:cubicBezTo>
                  <a:pt x="286" y="193"/>
                  <a:pt x="293" y="196"/>
                  <a:pt x="295" y="198"/>
                </a:cubicBezTo>
                <a:close/>
                <a:moveTo>
                  <a:pt x="287" y="663"/>
                </a:moveTo>
                <a:cubicBezTo>
                  <a:pt x="288" y="663"/>
                  <a:pt x="289" y="664"/>
                  <a:pt x="289" y="664"/>
                </a:cubicBezTo>
                <a:cubicBezTo>
                  <a:pt x="290" y="665"/>
                  <a:pt x="286" y="664"/>
                  <a:pt x="287" y="663"/>
                </a:cubicBezTo>
                <a:close/>
                <a:moveTo>
                  <a:pt x="283" y="230"/>
                </a:moveTo>
                <a:cubicBezTo>
                  <a:pt x="284" y="231"/>
                  <a:pt x="281" y="228"/>
                  <a:pt x="283" y="230"/>
                </a:cubicBezTo>
                <a:close/>
                <a:moveTo>
                  <a:pt x="282" y="216"/>
                </a:moveTo>
                <a:cubicBezTo>
                  <a:pt x="282" y="216"/>
                  <a:pt x="282" y="216"/>
                  <a:pt x="282" y="216"/>
                </a:cubicBezTo>
                <a:cubicBezTo>
                  <a:pt x="283" y="216"/>
                  <a:pt x="283" y="216"/>
                  <a:pt x="283" y="216"/>
                </a:cubicBezTo>
                <a:cubicBezTo>
                  <a:pt x="283" y="216"/>
                  <a:pt x="282" y="216"/>
                  <a:pt x="282" y="216"/>
                </a:cubicBezTo>
                <a:close/>
                <a:moveTo>
                  <a:pt x="283" y="165"/>
                </a:moveTo>
                <a:cubicBezTo>
                  <a:pt x="280" y="165"/>
                  <a:pt x="280" y="160"/>
                  <a:pt x="284" y="161"/>
                </a:cubicBezTo>
                <a:cubicBezTo>
                  <a:pt x="286" y="162"/>
                  <a:pt x="285" y="166"/>
                  <a:pt x="283" y="165"/>
                </a:cubicBezTo>
                <a:close/>
                <a:moveTo>
                  <a:pt x="279" y="199"/>
                </a:moveTo>
                <a:cubicBezTo>
                  <a:pt x="279" y="199"/>
                  <a:pt x="278" y="198"/>
                  <a:pt x="279" y="198"/>
                </a:cubicBezTo>
                <a:cubicBezTo>
                  <a:pt x="279" y="198"/>
                  <a:pt x="280" y="199"/>
                  <a:pt x="279" y="199"/>
                </a:cubicBezTo>
                <a:close/>
                <a:moveTo>
                  <a:pt x="278" y="184"/>
                </a:moveTo>
                <a:cubicBezTo>
                  <a:pt x="278" y="184"/>
                  <a:pt x="278" y="185"/>
                  <a:pt x="278" y="185"/>
                </a:cubicBezTo>
                <a:cubicBezTo>
                  <a:pt x="277" y="183"/>
                  <a:pt x="280" y="185"/>
                  <a:pt x="278" y="184"/>
                </a:cubicBezTo>
                <a:close/>
                <a:moveTo>
                  <a:pt x="270" y="138"/>
                </a:moveTo>
                <a:cubicBezTo>
                  <a:pt x="271" y="139"/>
                  <a:pt x="272" y="136"/>
                  <a:pt x="273" y="136"/>
                </a:cubicBezTo>
                <a:cubicBezTo>
                  <a:pt x="275" y="137"/>
                  <a:pt x="273" y="138"/>
                  <a:pt x="274" y="139"/>
                </a:cubicBezTo>
                <a:cubicBezTo>
                  <a:pt x="277" y="141"/>
                  <a:pt x="282" y="141"/>
                  <a:pt x="284" y="143"/>
                </a:cubicBezTo>
                <a:cubicBezTo>
                  <a:pt x="280" y="142"/>
                  <a:pt x="275" y="140"/>
                  <a:pt x="270" y="138"/>
                </a:cubicBezTo>
                <a:close/>
                <a:moveTo>
                  <a:pt x="278" y="148"/>
                </a:moveTo>
                <a:cubicBezTo>
                  <a:pt x="276" y="148"/>
                  <a:pt x="278" y="147"/>
                  <a:pt x="278" y="148"/>
                </a:cubicBezTo>
                <a:close/>
                <a:moveTo>
                  <a:pt x="265" y="190"/>
                </a:moveTo>
                <a:cubicBezTo>
                  <a:pt x="268" y="190"/>
                  <a:pt x="273" y="192"/>
                  <a:pt x="275" y="194"/>
                </a:cubicBezTo>
                <a:cubicBezTo>
                  <a:pt x="271" y="192"/>
                  <a:pt x="268" y="192"/>
                  <a:pt x="265" y="190"/>
                </a:cubicBezTo>
                <a:close/>
                <a:moveTo>
                  <a:pt x="273" y="554"/>
                </a:moveTo>
                <a:cubicBezTo>
                  <a:pt x="273" y="554"/>
                  <a:pt x="273" y="553"/>
                  <a:pt x="273" y="554"/>
                </a:cubicBezTo>
                <a:cubicBezTo>
                  <a:pt x="273" y="554"/>
                  <a:pt x="273" y="554"/>
                  <a:pt x="273" y="554"/>
                </a:cubicBezTo>
                <a:close/>
                <a:moveTo>
                  <a:pt x="271" y="230"/>
                </a:moveTo>
                <a:cubicBezTo>
                  <a:pt x="272" y="230"/>
                  <a:pt x="274" y="234"/>
                  <a:pt x="272" y="235"/>
                </a:cubicBezTo>
                <a:cubicBezTo>
                  <a:pt x="269" y="235"/>
                  <a:pt x="269" y="231"/>
                  <a:pt x="271" y="230"/>
                </a:cubicBezTo>
                <a:close/>
                <a:moveTo>
                  <a:pt x="270" y="215"/>
                </a:moveTo>
                <a:cubicBezTo>
                  <a:pt x="271" y="214"/>
                  <a:pt x="272" y="217"/>
                  <a:pt x="270" y="216"/>
                </a:cubicBezTo>
                <a:cubicBezTo>
                  <a:pt x="270" y="216"/>
                  <a:pt x="269" y="215"/>
                  <a:pt x="270" y="215"/>
                </a:cubicBezTo>
                <a:close/>
                <a:moveTo>
                  <a:pt x="267" y="262"/>
                </a:moveTo>
                <a:cubicBezTo>
                  <a:pt x="269" y="261"/>
                  <a:pt x="268" y="263"/>
                  <a:pt x="267" y="262"/>
                </a:cubicBezTo>
                <a:close/>
                <a:moveTo>
                  <a:pt x="258" y="254"/>
                </a:moveTo>
                <a:cubicBezTo>
                  <a:pt x="260" y="255"/>
                  <a:pt x="261" y="257"/>
                  <a:pt x="263" y="258"/>
                </a:cubicBezTo>
                <a:cubicBezTo>
                  <a:pt x="261" y="258"/>
                  <a:pt x="260" y="256"/>
                  <a:pt x="258" y="254"/>
                </a:cubicBezTo>
                <a:close/>
                <a:moveTo>
                  <a:pt x="261" y="509"/>
                </a:moveTo>
                <a:cubicBezTo>
                  <a:pt x="261" y="510"/>
                  <a:pt x="260" y="509"/>
                  <a:pt x="260" y="509"/>
                </a:cubicBezTo>
                <a:cubicBezTo>
                  <a:pt x="260" y="508"/>
                  <a:pt x="261" y="509"/>
                  <a:pt x="261" y="509"/>
                </a:cubicBezTo>
                <a:close/>
                <a:moveTo>
                  <a:pt x="258" y="191"/>
                </a:moveTo>
                <a:cubicBezTo>
                  <a:pt x="258" y="191"/>
                  <a:pt x="259" y="193"/>
                  <a:pt x="258" y="193"/>
                </a:cubicBezTo>
                <a:cubicBezTo>
                  <a:pt x="257" y="193"/>
                  <a:pt x="258" y="192"/>
                  <a:pt x="258" y="191"/>
                </a:cubicBezTo>
                <a:close/>
                <a:moveTo>
                  <a:pt x="260" y="233"/>
                </a:moveTo>
                <a:cubicBezTo>
                  <a:pt x="262" y="233"/>
                  <a:pt x="258" y="234"/>
                  <a:pt x="260" y="233"/>
                </a:cubicBezTo>
                <a:close/>
                <a:moveTo>
                  <a:pt x="260" y="231"/>
                </a:moveTo>
                <a:cubicBezTo>
                  <a:pt x="261" y="233"/>
                  <a:pt x="263" y="236"/>
                  <a:pt x="264" y="238"/>
                </a:cubicBezTo>
                <a:cubicBezTo>
                  <a:pt x="262" y="237"/>
                  <a:pt x="261" y="233"/>
                  <a:pt x="260" y="231"/>
                </a:cubicBezTo>
                <a:close/>
                <a:moveTo>
                  <a:pt x="260" y="229"/>
                </a:moveTo>
                <a:cubicBezTo>
                  <a:pt x="260" y="229"/>
                  <a:pt x="261" y="230"/>
                  <a:pt x="261" y="230"/>
                </a:cubicBezTo>
                <a:cubicBezTo>
                  <a:pt x="261" y="230"/>
                  <a:pt x="260" y="229"/>
                  <a:pt x="260" y="229"/>
                </a:cubicBezTo>
                <a:close/>
                <a:moveTo>
                  <a:pt x="261" y="154"/>
                </a:moveTo>
                <a:cubicBezTo>
                  <a:pt x="262" y="155"/>
                  <a:pt x="263" y="157"/>
                  <a:pt x="263" y="158"/>
                </a:cubicBezTo>
                <a:cubicBezTo>
                  <a:pt x="262" y="157"/>
                  <a:pt x="261" y="156"/>
                  <a:pt x="261" y="154"/>
                </a:cubicBezTo>
                <a:close/>
                <a:moveTo>
                  <a:pt x="263" y="68"/>
                </a:moveTo>
                <a:cubicBezTo>
                  <a:pt x="264" y="69"/>
                  <a:pt x="265" y="70"/>
                  <a:pt x="266" y="72"/>
                </a:cubicBezTo>
                <a:cubicBezTo>
                  <a:pt x="264" y="72"/>
                  <a:pt x="264" y="69"/>
                  <a:pt x="263" y="68"/>
                </a:cubicBezTo>
                <a:close/>
                <a:moveTo>
                  <a:pt x="266" y="63"/>
                </a:moveTo>
                <a:cubicBezTo>
                  <a:pt x="264" y="62"/>
                  <a:pt x="265" y="61"/>
                  <a:pt x="266" y="63"/>
                </a:cubicBezTo>
                <a:close/>
                <a:moveTo>
                  <a:pt x="267" y="132"/>
                </a:moveTo>
                <a:cubicBezTo>
                  <a:pt x="269" y="132"/>
                  <a:pt x="271" y="137"/>
                  <a:pt x="268" y="137"/>
                </a:cubicBezTo>
                <a:cubicBezTo>
                  <a:pt x="266" y="138"/>
                  <a:pt x="263" y="132"/>
                  <a:pt x="267" y="132"/>
                </a:cubicBezTo>
                <a:close/>
                <a:moveTo>
                  <a:pt x="267" y="108"/>
                </a:moveTo>
                <a:cubicBezTo>
                  <a:pt x="268" y="108"/>
                  <a:pt x="268" y="109"/>
                  <a:pt x="268" y="109"/>
                </a:cubicBezTo>
                <a:cubicBezTo>
                  <a:pt x="267" y="110"/>
                  <a:pt x="265" y="108"/>
                  <a:pt x="267" y="108"/>
                </a:cubicBezTo>
                <a:close/>
                <a:moveTo>
                  <a:pt x="270" y="113"/>
                </a:moveTo>
                <a:cubicBezTo>
                  <a:pt x="268" y="113"/>
                  <a:pt x="271" y="114"/>
                  <a:pt x="270" y="113"/>
                </a:cubicBezTo>
                <a:close/>
                <a:moveTo>
                  <a:pt x="267" y="149"/>
                </a:moveTo>
                <a:cubicBezTo>
                  <a:pt x="266" y="150"/>
                  <a:pt x="266" y="149"/>
                  <a:pt x="265" y="148"/>
                </a:cubicBezTo>
                <a:cubicBezTo>
                  <a:pt x="264" y="146"/>
                  <a:pt x="269" y="148"/>
                  <a:pt x="267" y="149"/>
                </a:cubicBezTo>
                <a:close/>
                <a:moveTo>
                  <a:pt x="264" y="161"/>
                </a:moveTo>
                <a:cubicBezTo>
                  <a:pt x="265" y="161"/>
                  <a:pt x="265" y="162"/>
                  <a:pt x="265" y="162"/>
                </a:cubicBezTo>
                <a:cubicBezTo>
                  <a:pt x="265" y="162"/>
                  <a:pt x="263" y="158"/>
                  <a:pt x="264" y="161"/>
                </a:cubicBezTo>
                <a:close/>
                <a:moveTo>
                  <a:pt x="266" y="512"/>
                </a:moveTo>
                <a:cubicBezTo>
                  <a:pt x="264" y="513"/>
                  <a:pt x="264" y="510"/>
                  <a:pt x="266" y="512"/>
                </a:cubicBezTo>
                <a:close/>
                <a:moveTo>
                  <a:pt x="271" y="181"/>
                </a:moveTo>
                <a:cubicBezTo>
                  <a:pt x="272" y="180"/>
                  <a:pt x="273" y="183"/>
                  <a:pt x="272" y="182"/>
                </a:cubicBezTo>
                <a:cubicBezTo>
                  <a:pt x="271" y="182"/>
                  <a:pt x="271" y="182"/>
                  <a:pt x="271" y="181"/>
                </a:cubicBezTo>
                <a:close/>
                <a:moveTo>
                  <a:pt x="283" y="92"/>
                </a:moveTo>
                <a:cubicBezTo>
                  <a:pt x="280" y="90"/>
                  <a:pt x="285" y="92"/>
                  <a:pt x="284" y="93"/>
                </a:cubicBezTo>
                <a:cubicBezTo>
                  <a:pt x="284" y="94"/>
                  <a:pt x="281" y="91"/>
                  <a:pt x="280" y="91"/>
                </a:cubicBezTo>
                <a:cubicBezTo>
                  <a:pt x="279" y="90"/>
                  <a:pt x="275" y="89"/>
                  <a:pt x="274" y="87"/>
                </a:cubicBezTo>
                <a:cubicBezTo>
                  <a:pt x="272" y="83"/>
                  <a:pt x="282" y="91"/>
                  <a:pt x="283" y="92"/>
                </a:cubicBezTo>
                <a:close/>
                <a:moveTo>
                  <a:pt x="273" y="75"/>
                </a:moveTo>
                <a:cubicBezTo>
                  <a:pt x="275" y="75"/>
                  <a:pt x="274" y="77"/>
                  <a:pt x="273" y="75"/>
                </a:cubicBezTo>
                <a:close/>
                <a:moveTo>
                  <a:pt x="283" y="102"/>
                </a:moveTo>
                <a:cubicBezTo>
                  <a:pt x="283" y="102"/>
                  <a:pt x="283" y="102"/>
                  <a:pt x="284" y="103"/>
                </a:cubicBezTo>
                <a:cubicBezTo>
                  <a:pt x="284" y="103"/>
                  <a:pt x="284" y="103"/>
                  <a:pt x="284" y="103"/>
                </a:cubicBezTo>
                <a:cubicBezTo>
                  <a:pt x="284" y="102"/>
                  <a:pt x="283" y="102"/>
                  <a:pt x="283" y="102"/>
                </a:cubicBezTo>
                <a:close/>
                <a:moveTo>
                  <a:pt x="285" y="137"/>
                </a:moveTo>
                <a:cubicBezTo>
                  <a:pt x="285" y="138"/>
                  <a:pt x="284" y="137"/>
                  <a:pt x="283" y="137"/>
                </a:cubicBezTo>
                <a:cubicBezTo>
                  <a:pt x="282" y="134"/>
                  <a:pt x="287" y="136"/>
                  <a:pt x="285" y="137"/>
                </a:cubicBezTo>
                <a:close/>
                <a:moveTo>
                  <a:pt x="276" y="104"/>
                </a:moveTo>
                <a:cubicBezTo>
                  <a:pt x="276" y="104"/>
                  <a:pt x="280" y="107"/>
                  <a:pt x="280" y="109"/>
                </a:cubicBezTo>
                <a:cubicBezTo>
                  <a:pt x="279" y="108"/>
                  <a:pt x="276" y="105"/>
                  <a:pt x="276" y="104"/>
                </a:cubicBezTo>
                <a:close/>
                <a:moveTo>
                  <a:pt x="277" y="127"/>
                </a:moveTo>
                <a:cubicBezTo>
                  <a:pt x="276" y="126"/>
                  <a:pt x="276" y="126"/>
                  <a:pt x="275" y="125"/>
                </a:cubicBezTo>
                <a:cubicBezTo>
                  <a:pt x="276" y="125"/>
                  <a:pt x="277" y="126"/>
                  <a:pt x="277" y="127"/>
                </a:cubicBezTo>
                <a:close/>
                <a:moveTo>
                  <a:pt x="279" y="102"/>
                </a:moveTo>
                <a:cubicBezTo>
                  <a:pt x="278" y="102"/>
                  <a:pt x="281" y="102"/>
                  <a:pt x="281" y="102"/>
                </a:cubicBezTo>
                <a:cubicBezTo>
                  <a:pt x="280" y="103"/>
                  <a:pt x="279" y="102"/>
                  <a:pt x="279" y="102"/>
                </a:cubicBezTo>
                <a:close/>
                <a:moveTo>
                  <a:pt x="275" y="111"/>
                </a:moveTo>
                <a:cubicBezTo>
                  <a:pt x="275" y="111"/>
                  <a:pt x="275" y="111"/>
                  <a:pt x="274" y="110"/>
                </a:cubicBezTo>
                <a:cubicBezTo>
                  <a:pt x="275" y="111"/>
                  <a:pt x="275" y="111"/>
                  <a:pt x="275" y="111"/>
                </a:cubicBezTo>
                <a:cubicBezTo>
                  <a:pt x="275" y="111"/>
                  <a:pt x="275" y="111"/>
                  <a:pt x="275" y="111"/>
                </a:cubicBezTo>
                <a:close/>
                <a:moveTo>
                  <a:pt x="287" y="142"/>
                </a:moveTo>
                <a:cubicBezTo>
                  <a:pt x="286" y="143"/>
                  <a:pt x="284" y="140"/>
                  <a:pt x="286" y="140"/>
                </a:cubicBezTo>
                <a:cubicBezTo>
                  <a:pt x="287" y="139"/>
                  <a:pt x="288" y="141"/>
                  <a:pt x="287" y="142"/>
                </a:cubicBezTo>
                <a:close/>
                <a:moveTo>
                  <a:pt x="286" y="87"/>
                </a:moveTo>
                <a:cubicBezTo>
                  <a:pt x="287" y="87"/>
                  <a:pt x="287" y="88"/>
                  <a:pt x="286" y="89"/>
                </a:cubicBezTo>
                <a:cubicBezTo>
                  <a:pt x="286" y="89"/>
                  <a:pt x="285" y="88"/>
                  <a:pt x="286" y="87"/>
                </a:cubicBezTo>
                <a:close/>
                <a:moveTo>
                  <a:pt x="280" y="66"/>
                </a:moveTo>
                <a:cubicBezTo>
                  <a:pt x="282" y="65"/>
                  <a:pt x="285" y="69"/>
                  <a:pt x="286" y="70"/>
                </a:cubicBezTo>
                <a:cubicBezTo>
                  <a:pt x="284" y="71"/>
                  <a:pt x="279" y="68"/>
                  <a:pt x="280" y="66"/>
                </a:cubicBezTo>
                <a:close/>
                <a:moveTo>
                  <a:pt x="276" y="74"/>
                </a:moveTo>
                <a:cubicBezTo>
                  <a:pt x="278" y="76"/>
                  <a:pt x="275" y="73"/>
                  <a:pt x="276" y="74"/>
                </a:cubicBezTo>
                <a:close/>
                <a:moveTo>
                  <a:pt x="276" y="77"/>
                </a:moveTo>
                <a:cubicBezTo>
                  <a:pt x="276" y="77"/>
                  <a:pt x="276" y="77"/>
                  <a:pt x="276" y="77"/>
                </a:cubicBezTo>
                <a:cubicBezTo>
                  <a:pt x="276" y="77"/>
                  <a:pt x="276" y="77"/>
                  <a:pt x="275" y="77"/>
                </a:cubicBezTo>
                <a:cubicBezTo>
                  <a:pt x="276" y="77"/>
                  <a:pt x="276" y="77"/>
                  <a:pt x="276" y="77"/>
                </a:cubicBezTo>
                <a:close/>
                <a:moveTo>
                  <a:pt x="275" y="74"/>
                </a:moveTo>
                <a:cubicBezTo>
                  <a:pt x="274" y="74"/>
                  <a:pt x="273" y="72"/>
                  <a:pt x="271" y="72"/>
                </a:cubicBezTo>
                <a:cubicBezTo>
                  <a:pt x="272" y="71"/>
                  <a:pt x="274" y="73"/>
                  <a:pt x="275" y="74"/>
                </a:cubicBezTo>
                <a:close/>
                <a:moveTo>
                  <a:pt x="273" y="85"/>
                </a:moveTo>
                <a:cubicBezTo>
                  <a:pt x="273" y="86"/>
                  <a:pt x="271" y="85"/>
                  <a:pt x="270" y="85"/>
                </a:cubicBezTo>
                <a:cubicBezTo>
                  <a:pt x="268" y="83"/>
                  <a:pt x="274" y="82"/>
                  <a:pt x="273" y="85"/>
                </a:cubicBezTo>
                <a:close/>
                <a:moveTo>
                  <a:pt x="275" y="102"/>
                </a:moveTo>
                <a:cubicBezTo>
                  <a:pt x="272" y="100"/>
                  <a:pt x="270" y="98"/>
                  <a:pt x="268" y="95"/>
                </a:cubicBezTo>
                <a:cubicBezTo>
                  <a:pt x="271" y="97"/>
                  <a:pt x="273" y="99"/>
                  <a:pt x="275" y="102"/>
                </a:cubicBezTo>
                <a:close/>
                <a:moveTo>
                  <a:pt x="268" y="117"/>
                </a:moveTo>
                <a:cubicBezTo>
                  <a:pt x="268" y="118"/>
                  <a:pt x="267" y="117"/>
                  <a:pt x="267" y="116"/>
                </a:cubicBezTo>
                <a:cubicBezTo>
                  <a:pt x="265" y="115"/>
                  <a:pt x="269" y="116"/>
                  <a:pt x="268" y="117"/>
                </a:cubicBezTo>
                <a:close/>
                <a:moveTo>
                  <a:pt x="268" y="58"/>
                </a:moveTo>
                <a:cubicBezTo>
                  <a:pt x="269" y="59"/>
                  <a:pt x="266" y="57"/>
                  <a:pt x="268" y="58"/>
                </a:cubicBezTo>
                <a:close/>
                <a:moveTo>
                  <a:pt x="267" y="98"/>
                </a:moveTo>
                <a:cubicBezTo>
                  <a:pt x="267" y="98"/>
                  <a:pt x="265" y="98"/>
                  <a:pt x="265" y="97"/>
                </a:cubicBezTo>
                <a:cubicBezTo>
                  <a:pt x="265" y="97"/>
                  <a:pt x="267" y="98"/>
                  <a:pt x="267" y="98"/>
                </a:cubicBezTo>
                <a:close/>
                <a:moveTo>
                  <a:pt x="266" y="51"/>
                </a:moveTo>
                <a:cubicBezTo>
                  <a:pt x="265" y="52"/>
                  <a:pt x="262" y="52"/>
                  <a:pt x="260" y="51"/>
                </a:cubicBezTo>
                <a:cubicBezTo>
                  <a:pt x="262" y="50"/>
                  <a:pt x="264" y="51"/>
                  <a:pt x="266" y="51"/>
                </a:cubicBezTo>
                <a:close/>
                <a:moveTo>
                  <a:pt x="260" y="153"/>
                </a:moveTo>
                <a:cubicBezTo>
                  <a:pt x="260" y="153"/>
                  <a:pt x="260" y="153"/>
                  <a:pt x="260" y="153"/>
                </a:cubicBezTo>
                <a:cubicBezTo>
                  <a:pt x="260" y="153"/>
                  <a:pt x="260" y="153"/>
                  <a:pt x="260" y="153"/>
                </a:cubicBezTo>
                <a:cubicBezTo>
                  <a:pt x="260" y="153"/>
                  <a:pt x="260" y="153"/>
                  <a:pt x="260" y="153"/>
                </a:cubicBezTo>
                <a:close/>
                <a:moveTo>
                  <a:pt x="260" y="181"/>
                </a:moveTo>
                <a:cubicBezTo>
                  <a:pt x="261" y="181"/>
                  <a:pt x="262" y="183"/>
                  <a:pt x="261" y="183"/>
                </a:cubicBezTo>
                <a:cubicBezTo>
                  <a:pt x="261" y="184"/>
                  <a:pt x="259" y="182"/>
                  <a:pt x="260" y="181"/>
                </a:cubicBezTo>
                <a:close/>
                <a:moveTo>
                  <a:pt x="260" y="152"/>
                </a:moveTo>
                <a:cubicBezTo>
                  <a:pt x="259" y="152"/>
                  <a:pt x="259" y="152"/>
                  <a:pt x="260" y="152"/>
                </a:cubicBezTo>
                <a:close/>
                <a:moveTo>
                  <a:pt x="259" y="202"/>
                </a:moveTo>
                <a:cubicBezTo>
                  <a:pt x="261" y="201"/>
                  <a:pt x="259" y="205"/>
                  <a:pt x="259" y="202"/>
                </a:cubicBezTo>
                <a:close/>
                <a:moveTo>
                  <a:pt x="259" y="152"/>
                </a:moveTo>
                <a:cubicBezTo>
                  <a:pt x="258" y="151"/>
                  <a:pt x="257" y="150"/>
                  <a:pt x="257" y="148"/>
                </a:cubicBezTo>
                <a:cubicBezTo>
                  <a:pt x="258" y="149"/>
                  <a:pt x="259" y="150"/>
                  <a:pt x="259" y="152"/>
                </a:cubicBezTo>
                <a:close/>
                <a:moveTo>
                  <a:pt x="255" y="100"/>
                </a:moveTo>
                <a:cubicBezTo>
                  <a:pt x="256" y="100"/>
                  <a:pt x="257" y="102"/>
                  <a:pt x="255" y="103"/>
                </a:cubicBezTo>
                <a:cubicBezTo>
                  <a:pt x="254" y="103"/>
                  <a:pt x="252" y="100"/>
                  <a:pt x="255" y="100"/>
                </a:cubicBezTo>
                <a:close/>
                <a:moveTo>
                  <a:pt x="255" y="196"/>
                </a:moveTo>
                <a:cubicBezTo>
                  <a:pt x="256" y="196"/>
                  <a:pt x="255" y="198"/>
                  <a:pt x="255" y="198"/>
                </a:cubicBezTo>
                <a:cubicBezTo>
                  <a:pt x="254" y="198"/>
                  <a:pt x="254" y="196"/>
                  <a:pt x="255" y="196"/>
                </a:cubicBezTo>
                <a:close/>
                <a:moveTo>
                  <a:pt x="253" y="79"/>
                </a:moveTo>
                <a:cubicBezTo>
                  <a:pt x="252" y="82"/>
                  <a:pt x="243" y="80"/>
                  <a:pt x="246" y="76"/>
                </a:cubicBezTo>
                <a:cubicBezTo>
                  <a:pt x="245" y="77"/>
                  <a:pt x="242" y="76"/>
                  <a:pt x="242" y="75"/>
                </a:cubicBezTo>
                <a:cubicBezTo>
                  <a:pt x="243" y="73"/>
                  <a:pt x="247" y="74"/>
                  <a:pt x="246" y="76"/>
                </a:cubicBezTo>
                <a:cubicBezTo>
                  <a:pt x="247" y="74"/>
                  <a:pt x="253" y="76"/>
                  <a:pt x="253" y="79"/>
                </a:cubicBezTo>
                <a:close/>
                <a:moveTo>
                  <a:pt x="249" y="118"/>
                </a:moveTo>
                <a:cubicBezTo>
                  <a:pt x="248" y="119"/>
                  <a:pt x="247" y="117"/>
                  <a:pt x="248" y="116"/>
                </a:cubicBezTo>
                <a:cubicBezTo>
                  <a:pt x="249" y="116"/>
                  <a:pt x="250" y="118"/>
                  <a:pt x="249" y="118"/>
                </a:cubicBezTo>
                <a:close/>
                <a:moveTo>
                  <a:pt x="244" y="88"/>
                </a:moveTo>
                <a:cubicBezTo>
                  <a:pt x="244" y="88"/>
                  <a:pt x="243" y="87"/>
                  <a:pt x="244" y="87"/>
                </a:cubicBezTo>
                <a:cubicBezTo>
                  <a:pt x="245" y="85"/>
                  <a:pt x="247" y="90"/>
                  <a:pt x="244" y="88"/>
                </a:cubicBezTo>
                <a:close/>
                <a:moveTo>
                  <a:pt x="244" y="70"/>
                </a:moveTo>
                <a:cubicBezTo>
                  <a:pt x="246" y="70"/>
                  <a:pt x="244" y="73"/>
                  <a:pt x="244" y="70"/>
                </a:cubicBezTo>
                <a:close/>
                <a:moveTo>
                  <a:pt x="248" y="64"/>
                </a:moveTo>
                <a:cubicBezTo>
                  <a:pt x="249" y="65"/>
                  <a:pt x="246" y="64"/>
                  <a:pt x="248" y="64"/>
                </a:cubicBezTo>
                <a:close/>
                <a:moveTo>
                  <a:pt x="243" y="69"/>
                </a:moveTo>
                <a:cubicBezTo>
                  <a:pt x="246" y="69"/>
                  <a:pt x="249" y="70"/>
                  <a:pt x="251" y="71"/>
                </a:cubicBezTo>
                <a:cubicBezTo>
                  <a:pt x="250" y="71"/>
                  <a:pt x="248" y="70"/>
                  <a:pt x="246" y="70"/>
                </a:cubicBezTo>
                <a:cubicBezTo>
                  <a:pt x="246" y="70"/>
                  <a:pt x="246" y="70"/>
                  <a:pt x="246" y="70"/>
                </a:cubicBezTo>
                <a:cubicBezTo>
                  <a:pt x="246" y="70"/>
                  <a:pt x="246" y="70"/>
                  <a:pt x="246" y="70"/>
                </a:cubicBezTo>
                <a:cubicBezTo>
                  <a:pt x="245" y="69"/>
                  <a:pt x="244" y="69"/>
                  <a:pt x="243" y="69"/>
                </a:cubicBezTo>
                <a:cubicBezTo>
                  <a:pt x="243" y="69"/>
                  <a:pt x="243" y="70"/>
                  <a:pt x="242" y="69"/>
                </a:cubicBezTo>
                <a:cubicBezTo>
                  <a:pt x="242" y="69"/>
                  <a:pt x="242" y="69"/>
                  <a:pt x="242" y="69"/>
                </a:cubicBezTo>
                <a:cubicBezTo>
                  <a:pt x="242" y="69"/>
                  <a:pt x="242" y="69"/>
                  <a:pt x="242" y="69"/>
                </a:cubicBezTo>
                <a:cubicBezTo>
                  <a:pt x="242" y="68"/>
                  <a:pt x="242" y="68"/>
                  <a:pt x="242" y="68"/>
                </a:cubicBezTo>
                <a:cubicBezTo>
                  <a:pt x="242" y="68"/>
                  <a:pt x="243" y="68"/>
                  <a:pt x="243" y="69"/>
                </a:cubicBezTo>
                <a:close/>
                <a:moveTo>
                  <a:pt x="242" y="89"/>
                </a:moveTo>
                <a:cubicBezTo>
                  <a:pt x="241" y="88"/>
                  <a:pt x="243" y="90"/>
                  <a:pt x="242" y="89"/>
                </a:cubicBezTo>
                <a:close/>
                <a:moveTo>
                  <a:pt x="234" y="66"/>
                </a:moveTo>
                <a:cubicBezTo>
                  <a:pt x="234" y="64"/>
                  <a:pt x="234" y="63"/>
                  <a:pt x="235" y="62"/>
                </a:cubicBezTo>
                <a:cubicBezTo>
                  <a:pt x="238" y="60"/>
                  <a:pt x="242" y="65"/>
                  <a:pt x="241" y="67"/>
                </a:cubicBezTo>
                <a:cubicBezTo>
                  <a:pt x="240" y="69"/>
                  <a:pt x="235" y="67"/>
                  <a:pt x="234" y="66"/>
                </a:cubicBezTo>
                <a:close/>
                <a:moveTo>
                  <a:pt x="246" y="122"/>
                </a:moveTo>
                <a:cubicBezTo>
                  <a:pt x="245" y="123"/>
                  <a:pt x="241" y="118"/>
                  <a:pt x="241" y="117"/>
                </a:cubicBezTo>
                <a:cubicBezTo>
                  <a:pt x="239" y="112"/>
                  <a:pt x="247" y="121"/>
                  <a:pt x="246" y="122"/>
                </a:cubicBezTo>
                <a:close/>
                <a:moveTo>
                  <a:pt x="242" y="252"/>
                </a:moveTo>
                <a:cubicBezTo>
                  <a:pt x="242" y="252"/>
                  <a:pt x="245" y="257"/>
                  <a:pt x="243" y="256"/>
                </a:cubicBezTo>
                <a:cubicBezTo>
                  <a:pt x="242" y="256"/>
                  <a:pt x="242" y="251"/>
                  <a:pt x="242" y="251"/>
                </a:cubicBezTo>
                <a:cubicBezTo>
                  <a:pt x="240" y="247"/>
                  <a:pt x="237" y="245"/>
                  <a:pt x="237" y="241"/>
                </a:cubicBezTo>
                <a:cubicBezTo>
                  <a:pt x="240" y="242"/>
                  <a:pt x="242" y="250"/>
                  <a:pt x="242" y="252"/>
                </a:cubicBezTo>
                <a:close/>
                <a:moveTo>
                  <a:pt x="241" y="246"/>
                </a:moveTo>
                <a:cubicBezTo>
                  <a:pt x="242" y="246"/>
                  <a:pt x="243" y="248"/>
                  <a:pt x="242" y="248"/>
                </a:cubicBezTo>
                <a:cubicBezTo>
                  <a:pt x="242" y="248"/>
                  <a:pt x="241" y="247"/>
                  <a:pt x="241" y="246"/>
                </a:cubicBezTo>
                <a:close/>
                <a:moveTo>
                  <a:pt x="244" y="213"/>
                </a:moveTo>
                <a:cubicBezTo>
                  <a:pt x="243" y="213"/>
                  <a:pt x="243" y="213"/>
                  <a:pt x="243" y="213"/>
                </a:cubicBezTo>
                <a:cubicBezTo>
                  <a:pt x="241" y="212"/>
                  <a:pt x="244" y="211"/>
                  <a:pt x="244" y="213"/>
                </a:cubicBezTo>
                <a:close/>
                <a:moveTo>
                  <a:pt x="241" y="158"/>
                </a:moveTo>
                <a:cubicBezTo>
                  <a:pt x="240" y="157"/>
                  <a:pt x="243" y="158"/>
                  <a:pt x="242" y="159"/>
                </a:cubicBezTo>
                <a:cubicBezTo>
                  <a:pt x="242" y="159"/>
                  <a:pt x="242" y="158"/>
                  <a:pt x="241" y="158"/>
                </a:cubicBezTo>
                <a:close/>
                <a:moveTo>
                  <a:pt x="243" y="148"/>
                </a:moveTo>
                <a:cubicBezTo>
                  <a:pt x="244" y="147"/>
                  <a:pt x="245" y="149"/>
                  <a:pt x="244" y="149"/>
                </a:cubicBezTo>
                <a:cubicBezTo>
                  <a:pt x="244" y="149"/>
                  <a:pt x="243" y="148"/>
                  <a:pt x="243" y="148"/>
                </a:cubicBezTo>
                <a:close/>
                <a:moveTo>
                  <a:pt x="244" y="215"/>
                </a:moveTo>
                <a:cubicBezTo>
                  <a:pt x="244" y="215"/>
                  <a:pt x="246" y="216"/>
                  <a:pt x="245" y="216"/>
                </a:cubicBezTo>
                <a:cubicBezTo>
                  <a:pt x="244" y="216"/>
                  <a:pt x="244" y="216"/>
                  <a:pt x="244" y="215"/>
                </a:cubicBezTo>
                <a:close/>
                <a:moveTo>
                  <a:pt x="230" y="166"/>
                </a:moveTo>
                <a:cubicBezTo>
                  <a:pt x="228" y="160"/>
                  <a:pt x="236" y="159"/>
                  <a:pt x="238" y="164"/>
                </a:cubicBezTo>
                <a:cubicBezTo>
                  <a:pt x="242" y="171"/>
                  <a:pt x="232" y="172"/>
                  <a:pt x="230" y="166"/>
                </a:cubicBezTo>
                <a:close/>
                <a:moveTo>
                  <a:pt x="236" y="177"/>
                </a:moveTo>
                <a:cubicBezTo>
                  <a:pt x="236" y="178"/>
                  <a:pt x="235" y="177"/>
                  <a:pt x="234" y="177"/>
                </a:cubicBezTo>
                <a:cubicBezTo>
                  <a:pt x="235" y="176"/>
                  <a:pt x="236" y="177"/>
                  <a:pt x="236" y="177"/>
                </a:cubicBezTo>
                <a:close/>
                <a:moveTo>
                  <a:pt x="234" y="190"/>
                </a:moveTo>
                <a:cubicBezTo>
                  <a:pt x="233" y="190"/>
                  <a:pt x="234" y="188"/>
                  <a:pt x="234" y="190"/>
                </a:cubicBezTo>
                <a:close/>
                <a:moveTo>
                  <a:pt x="230" y="190"/>
                </a:moveTo>
                <a:cubicBezTo>
                  <a:pt x="231" y="189"/>
                  <a:pt x="233" y="191"/>
                  <a:pt x="233" y="191"/>
                </a:cubicBezTo>
                <a:cubicBezTo>
                  <a:pt x="232" y="192"/>
                  <a:pt x="230" y="190"/>
                  <a:pt x="230" y="190"/>
                </a:cubicBezTo>
                <a:close/>
                <a:moveTo>
                  <a:pt x="232" y="199"/>
                </a:moveTo>
                <a:cubicBezTo>
                  <a:pt x="232" y="200"/>
                  <a:pt x="231" y="198"/>
                  <a:pt x="232" y="198"/>
                </a:cubicBezTo>
                <a:cubicBezTo>
                  <a:pt x="232" y="199"/>
                  <a:pt x="232" y="199"/>
                  <a:pt x="232" y="199"/>
                </a:cubicBezTo>
                <a:close/>
                <a:moveTo>
                  <a:pt x="232" y="179"/>
                </a:moveTo>
                <a:cubicBezTo>
                  <a:pt x="232" y="179"/>
                  <a:pt x="233" y="179"/>
                  <a:pt x="233" y="180"/>
                </a:cubicBezTo>
                <a:cubicBezTo>
                  <a:pt x="233" y="180"/>
                  <a:pt x="231" y="180"/>
                  <a:pt x="232" y="179"/>
                </a:cubicBezTo>
                <a:close/>
                <a:moveTo>
                  <a:pt x="238" y="100"/>
                </a:moveTo>
                <a:cubicBezTo>
                  <a:pt x="238" y="100"/>
                  <a:pt x="238" y="100"/>
                  <a:pt x="238" y="100"/>
                </a:cubicBezTo>
                <a:cubicBezTo>
                  <a:pt x="238" y="100"/>
                  <a:pt x="239" y="101"/>
                  <a:pt x="238" y="100"/>
                </a:cubicBezTo>
                <a:close/>
                <a:moveTo>
                  <a:pt x="235" y="107"/>
                </a:moveTo>
                <a:cubicBezTo>
                  <a:pt x="235" y="107"/>
                  <a:pt x="234" y="109"/>
                  <a:pt x="234" y="107"/>
                </a:cubicBezTo>
                <a:cubicBezTo>
                  <a:pt x="234" y="108"/>
                  <a:pt x="233" y="106"/>
                  <a:pt x="235" y="107"/>
                </a:cubicBezTo>
                <a:close/>
                <a:moveTo>
                  <a:pt x="231" y="104"/>
                </a:moveTo>
                <a:cubicBezTo>
                  <a:pt x="233" y="103"/>
                  <a:pt x="233" y="107"/>
                  <a:pt x="231" y="107"/>
                </a:cubicBezTo>
                <a:cubicBezTo>
                  <a:pt x="230" y="107"/>
                  <a:pt x="229" y="104"/>
                  <a:pt x="231" y="104"/>
                </a:cubicBezTo>
                <a:close/>
                <a:moveTo>
                  <a:pt x="238" y="120"/>
                </a:moveTo>
                <a:cubicBezTo>
                  <a:pt x="238" y="124"/>
                  <a:pt x="230" y="122"/>
                  <a:pt x="229" y="120"/>
                </a:cubicBezTo>
                <a:cubicBezTo>
                  <a:pt x="223" y="112"/>
                  <a:pt x="239" y="113"/>
                  <a:pt x="238" y="120"/>
                </a:cubicBezTo>
                <a:close/>
                <a:moveTo>
                  <a:pt x="233" y="134"/>
                </a:moveTo>
                <a:cubicBezTo>
                  <a:pt x="233" y="133"/>
                  <a:pt x="234" y="135"/>
                  <a:pt x="234" y="135"/>
                </a:cubicBezTo>
                <a:cubicBezTo>
                  <a:pt x="232" y="136"/>
                  <a:pt x="232" y="133"/>
                  <a:pt x="231" y="132"/>
                </a:cubicBezTo>
                <a:cubicBezTo>
                  <a:pt x="230" y="130"/>
                  <a:pt x="226" y="126"/>
                  <a:pt x="225" y="122"/>
                </a:cubicBezTo>
                <a:cubicBezTo>
                  <a:pt x="228" y="124"/>
                  <a:pt x="232" y="131"/>
                  <a:pt x="233" y="134"/>
                </a:cubicBezTo>
                <a:close/>
                <a:moveTo>
                  <a:pt x="226" y="205"/>
                </a:moveTo>
                <a:cubicBezTo>
                  <a:pt x="227" y="204"/>
                  <a:pt x="227" y="206"/>
                  <a:pt x="227" y="206"/>
                </a:cubicBezTo>
                <a:cubicBezTo>
                  <a:pt x="226" y="206"/>
                  <a:pt x="226" y="205"/>
                  <a:pt x="226" y="205"/>
                </a:cubicBezTo>
                <a:close/>
                <a:moveTo>
                  <a:pt x="226" y="130"/>
                </a:moveTo>
                <a:cubicBezTo>
                  <a:pt x="226" y="130"/>
                  <a:pt x="225" y="129"/>
                  <a:pt x="226" y="129"/>
                </a:cubicBezTo>
                <a:cubicBezTo>
                  <a:pt x="226" y="129"/>
                  <a:pt x="226" y="130"/>
                  <a:pt x="226" y="130"/>
                </a:cubicBezTo>
                <a:close/>
                <a:moveTo>
                  <a:pt x="226" y="159"/>
                </a:moveTo>
                <a:cubicBezTo>
                  <a:pt x="224" y="159"/>
                  <a:pt x="226" y="158"/>
                  <a:pt x="226" y="159"/>
                </a:cubicBezTo>
                <a:close/>
                <a:moveTo>
                  <a:pt x="225" y="158"/>
                </a:moveTo>
                <a:cubicBezTo>
                  <a:pt x="224" y="159"/>
                  <a:pt x="222" y="157"/>
                  <a:pt x="221" y="157"/>
                </a:cubicBezTo>
                <a:cubicBezTo>
                  <a:pt x="222" y="156"/>
                  <a:pt x="224" y="158"/>
                  <a:pt x="225" y="158"/>
                </a:cubicBezTo>
                <a:close/>
                <a:moveTo>
                  <a:pt x="224" y="169"/>
                </a:moveTo>
                <a:cubicBezTo>
                  <a:pt x="225" y="170"/>
                  <a:pt x="224" y="174"/>
                  <a:pt x="225" y="175"/>
                </a:cubicBezTo>
                <a:cubicBezTo>
                  <a:pt x="226" y="178"/>
                  <a:pt x="226" y="177"/>
                  <a:pt x="223" y="179"/>
                </a:cubicBezTo>
                <a:cubicBezTo>
                  <a:pt x="221" y="182"/>
                  <a:pt x="216" y="182"/>
                  <a:pt x="217" y="178"/>
                </a:cubicBezTo>
                <a:cubicBezTo>
                  <a:pt x="222" y="179"/>
                  <a:pt x="215" y="177"/>
                  <a:pt x="214" y="175"/>
                </a:cubicBezTo>
                <a:cubicBezTo>
                  <a:pt x="213" y="175"/>
                  <a:pt x="213" y="169"/>
                  <a:pt x="214" y="168"/>
                </a:cubicBezTo>
                <a:cubicBezTo>
                  <a:pt x="217" y="164"/>
                  <a:pt x="222" y="166"/>
                  <a:pt x="224" y="169"/>
                </a:cubicBezTo>
                <a:close/>
                <a:moveTo>
                  <a:pt x="212" y="179"/>
                </a:moveTo>
                <a:cubicBezTo>
                  <a:pt x="213" y="179"/>
                  <a:pt x="213" y="182"/>
                  <a:pt x="212" y="181"/>
                </a:cubicBezTo>
                <a:cubicBezTo>
                  <a:pt x="211" y="181"/>
                  <a:pt x="211" y="180"/>
                  <a:pt x="212" y="179"/>
                </a:cubicBezTo>
                <a:close/>
                <a:moveTo>
                  <a:pt x="211" y="154"/>
                </a:moveTo>
                <a:cubicBezTo>
                  <a:pt x="212" y="153"/>
                  <a:pt x="213" y="154"/>
                  <a:pt x="213" y="155"/>
                </a:cubicBezTo>
                <a:cubicBezTo>
                  <a:pt x="213" y="155"/>
                  <a:pt x="212" y="154"/>
                  <a:pt x="211" y="154"/>
                </a:cubicBezTo>
                <a:close/>
                <a:moveTo>
                  <a:pt x="214" y="225"/>
                </a:moveTo>
                <a:cubicBezTo>
                  <a:pt x="213" y="224"/>
                  <a:pt x="212" y="223"/>
                  <a:pt x="212" y="221"/>
                </a:cubicBezTo>
                <a:cubicBezTo>
                  <a:pt x="212" y="223"/>
                  <a:pt x="214" y="223"/>
                  <a:pt x="214" y="225"/>
                </a:cubicBezTo>
                <a:close/>
                <a:moveTo>
                  <a:pt x="213" y="174"/>
                </a:moveTo>
                <a:cubicBezTo>
                  <a:pt x="212" y="176"/>
                  <a:pt x="218" y="182"/>
                  <a:pt x="216" y="182"/>
                </a:cubicBezTo>
                <a:cubicBezTo>
                  <a:pt x="215" y="182"/>
                  <a:pt x="211" y="176"/>
                  <a:pt x="213" y="174"/>
                </a:cubicBezTo>
                <a:close/>
                <a:moveTo>
                  <a:pt x="219" y="185"/>
                </a:moveTo>
                <a:cubicBezTo>
                  <a:pt x="218" y="186"/>
                  <a:pt x="216" y="185"/>
                  <a:pt x="216" y="184"/>
                </a:cubicBezTo>
                <a:cubicBezTo>
                  <a:pt x="214" y="182"/>
                  <a:pt x="220" y="182"/>
                  <a:pt x="219" y="185"/>
                </a:cubicBezTo>
                <a:close/>
                <a:moveTo>
                  <a:pt x="217" y="156"/>
                </a:moveTo>
                <a:cubicBezTo>
                  <a:pt x="217" y="156"/>
                  <a:pt x="217" y="156"/>
                  <a:pt x="217" y="156"/>
                </a:cubicBezTo>
                <a:cubicBezTo>
                  <a:pt x="215" y="155"/>
                  <a:pt x="219" y="156"/>
                  <a:pt x="217" y="156"/>
                </a:cubicBezTo>
                <a:close/>
                <a:moveTo>
                  <a:pt x="216" y="132"/>
                </a:moveTo>
                <a:cubicBezTo>
                  <a:pt x="216" y="133"/>
                  <a:pt x="215" y="133"/>
                  <a:pt x="214" y="132"/>
                </a:cubicBezTo>
                <a:cubicBezTo>
                  <a:pt x="213" y="131"/>
                  <a:pt x="216" y="130"/>
                  <a:pt x="216" y="132"/>
                </a:cubicBezTo>
                <a:close/>
                <a:moveTo>
                  <a:pt x="216" y="146"/>
                </a:moveTo>
                <a:cubicBezTo>
                  <a:pt x="216" y="147"/>
                  <a:pt x="215" y="146"/>
                  <a:pt x="215" y="146"/>
                </a:cubicBezTo>
                <a:cubicBezTo>
                  <a:pt x="213" y="145"/>
                  <a:pt x="216" y="145"/>
                  <a:pt x="216" y="146"/>
                </a:cubicBezTo>
                <a:close/>
                <a:moveTo>
                  <a:pt x="220" y="156"/>
                </a:moveTo>
                <a:cubicBezTo>
                  <a:pt x="217" y="155"/>
                  <a:pt x="214" y="154"/>
                  <a:pt x="211" y="152"/>
                </a:cubicBezTo>
                <a:cubicBezTo>
                  <a:pt x="214" y="152"/>
                  <a:pt x="218" y="154"/>
                  <a:pt x="220" y="156"/>
                </a:cubicBezTo>
                <a:close/>
                <a:moveTo>
                  <a:pt x="212" y="115"/>
                </a:moveTo>
                <a:cubicBezTo>
                  <a:pt x="212" y="117"/>
                  <a:pt x="209" y="116"/>
                  <a:pt x="209" y="115"/>
                </a:cubicBezTo>
                <a:cubicBezTo>
                  <a:pt x="207" y="112"/>
                  <a:pt x="212" y="112"/>
                  <a:pt x="212" y="115"/>
                </a:cubicBezTo>
                <a:close/>
                <a:moveTo>
                  <a:pt x="210" y="146"/>
                </a:moveTo>
                <a:cubicBezTo>
                  <a:pt x="209" y="146"/>
                  <a:pt x="209" y="145"/>
                  <a:pt x="209" y="144"/>
                </a:cubicBezTo>
                <a:cubicBezTo>
                  <a:pt x="209" y="144"/>
                  <a:pt x="210" y="146"/>
                  <a:pt x="210" y="146"/>
                </a:cubicBezTo>
                <a:close/>
                <a:moveTo>
                  <a:pt x="209" y="150"/>
                </a:moveTo>
                <a:cubicBezTo>
                  <a:pt x="207" y="148"/>
                  <a:pt x="210" y="149"/>
                  <a:pt x="209" y="150"/>
                </a:cubicBezTo>
                <a:close/>
                <a:moveTo>
                  <a:pt x="207" y="167"/>
                </a:moveTo>
                <a:cubicBezTo>
                  <a:pt x="207" y="167"/>
                  <a:pt x="207" y="167"/>
                  <a:pt x="207" y="167"/>
                </a:cubicBezTo>
                <a:cubicBezTo>
                  <a:pt x="209" y="166"/>
                  <a:pt x="206" y="169"/>
                  <a:pt x="207" y="167"/>
                </a:cubicBezTo>
                <a:close/>
                <a:moveTo>
                  <a:pt x="204" y="221"/>
                </a:moveTo>
                <a:cubicBezTo>
                  <a:pt x="205" y="220"/>
                  <a:pt x="206" y="222"/>
                  <a:pt x="205" y="222"/>
                </a:cubicBezTo>
                <a:cubicBezTo>
                  <a:pt x="204" y="222"/>
                  <a:pt x="204" y="221"/>
                  <a:pt x="204" y="221"/>
                </a:cubicBezTo>
                <a:close/>
                <a:moveTo>
                  <a:pt x="204" y="239"/>
                </a:moveTo>
                <a:cubicBezTo>
                  <a:pt x="205" y="239"/>
                  <a:pt x="206" y="241"/>
                  <a:pt x="205" y="242"/>
                </a:cubicBezTo>
                <a:cubicBezTo>
                  <a:pt x="204" y="242"/>
                  <a:pt x="202" y="240"/>
                  <a:pt x="204" y="239"/>
                </a:cubicBezTo>
                <a:close/>
                <a:moveTo>
                  <a:pt x="203" y="346"/>
                </a:moveTo>
                <a:cubicBezTo>
                  <a:pt x="205" y="346"/>
                  <a:pt x="205" y="348"/>
                  <a:pt x="203" y="346"/>
                </a:cubicBezTo>
                <a:close/>
                <a:moveTo>
                  <a:pt x="202" y="233"/>
                </a:moveTo>
                <a:cubicBezTo>
                  <a:pt x="202" y="233"/>
                  <a:pt x="203" y="235"/>
                  <a:pt x="202" y="235"/>
                </a:cubicBezTo>
                <a:cubicBezTo>
                  <a:pt x="202" y="235"/>
                  <a:pt x="201" y="233"/>
                  <a:pt x="202" y="233"/>
                </a:cubicBezTo>
                <a:close/>
                <a:moveTo>
                  <a:pt x="202" y="232"/>
                </a:moveTo>
                <a:cubicBezTo>
                  <a:pt x="200" y="232"/>
                  <a:pt x="202" y="231"/>
                  <a:pt x="202" y="232"/>
                </a:cubicBezTo>
                <a:close/>
                <a:moveTo>
                  <a:pt x="202" y="345"/>
                </a:moveTo>
                <a:cubicBezTo>
                  <a:pt x="204" y="347"/>
                  <a:pt x="201" y="343"/>
                  <a:pt x="202" y="345"/>
                </a:cubicBezTo>
                <a:close/>
                <a:moveTo>
                  <a:pt x="201" y="171"/>
                </a:moveTo>
                <a:cubicBezTo>
                  <a:pt x="201" y="172"/>
                  <a:pt x="203" y="172"/>
                  <a:pt x="202" y="173"/>
                </a:cubicBezTo>
                <a:cubicBezTo>
                  <a:pt x="202" y="174"/>
                  <a:pt x="200" y="171"/>
                  <a:pt x="201" y="171"/>
                </a:cubicBezTo>
                <a:close/>
                <a:moveTo>
                  <a:pt x="200" y="182"/>
                </a:moveTo>
                <a:cubicBezTo>
                  <a:pt x="201" y="181"/>
                  <a:pt x="202" y="184"/>
                  <a:pt x="201" y="184"/>
                </a:cubicBezTo>
                <a:cubicBezTo>
                  <a:pt x="199" y="185"/>
                  <a:pt x="200" y="182"/>
                  <a:pt x="200" y="182"/>
                </a:cubicBezTo>
                <a:close/>
                <a:moveTo>
                  <a:pt x="199" y="304"/>
                </a:moveTo>
                <a:cubicBezTo>
                  <a:pt x="198" y="304"/>
                  <a:pt x="198" y="302"/>
                  <a:pt x="199" y="302"/>
                </a:cubicBezTo>
                <a:cubicBezTo>
                  <a:pt x="200" y="302"/>
                  <a:pt x="200" y="304"/>
                  <a:pt x="199" y="304"/>
                </a:cubicBezTo>
                <a:close/>
                <a:moveTo>
                  <a:pt x="200" y="321"/>
                </a:moveTo>
                <a:cubicBezTo>
                  <a:pt x="200" y="321"/>
                  <a:pt x="200" y="321"/>
                  <a:pt x="200" y="321"/>
                </a:cubicBezTo>
                <a:cubicBezTo>
                  <a:pt x="200" y="321"/>
                  <a:pt x="200" y="321"/>
                  <a:pt x="200" y="321"/>
                </a:cubicBezTo>
                <a:cubicBezTo>
                  <a:pt x="200" y="321"/>
                  <a:pt x="200" y="321"/>
                  <a:pt x="200" y="321"/>
                </a:cubicBezTo>
                <a:close/>
                <a:moveTo>
                  <a:pt x="198" y="238"/>
                </a:moveTo>
                <a:cubicBezTo>
                  <a:pt x="199" y="239"/>
                  <a:pt x="200" y="240"/>
                  <a:pt x="201" y="242"/>
                </a:cubicBezTo>
                <a:cubicBezTo>
                  <a:pt x="199" y="241"/>
                  <a:pt x="198" y="240"/>
                  <a:pt x="198" y="238"/>
                </a:cubicBezTo>
                <a:close/>
                <a:moveTo>
                  <a:pt x="198" y="266"/>
                </a:moveTo>
                <a:cubicBezTo>
                  <a:pt x="197" y="267"/>
                  <a:pt x="197" y="265"/>
                  <a:pt x="197" y="265"/>
                </a:cubicBezTo>
                <a:cubicBezTo>
                  <a:pt x="197" y="265"/>
                  <a:pt x="199" y="266"/>
                  <a:pt x="198" y="266"/>
                </a:cubicBezTo>
                <a:close/>
                <a:moveTo>
                  <a:pt x="199" y="228"/>
                </a:moveTo>
                <a:cubicBezTo>
                  <a:pt x="197" y="229"/>
                  <a:pt x="195" y="222"/>
                  <a:pt x="198" y="222"/>
                </a:cubicBezTo>
                <a:cubicBezTo>
                  <a:pt x="201" y="222"/>
                  <a:pt x="201" y="228"/>
                  <a:pt x="199" y="228"/>
                </a:cubicBezTo>
                <a:close/>
                <a:moveTo>
                  <a:pt x="197" y="165"/>
                </a:moveTo>
                <a:cubicBezTo>
                  <a:pt x="198" y="165"/>
                  <a:pt x="201" y="171"/>
                  <a:pt x="198" y="172"/>
                </a:cubicBezTo>
                <a:cubicBezTo>
                  <a:pt x="194" y="173"/>
                  <a:pt x="192" y="164"/>
                  <a:pt x="197" y="165"/>
                </a:cubicBezTo>
                <a:close/>
                <a:moveTo>
                  <a:pt x="196" y="264"/>
                </a:moveTo>
                <a:cubicBezTo>
                  <a:pt x="195" y="263"/>
                  <a:pt x="195" y="262"/>
                  <a:pt x="194" y="261"/>
                </a:cubicBezTo>
                <a:cubicBezTo>
                  <a:pt x="195" y="261"/>
                  <a:pt x="196" y="263"/>
                  <a:pt x="196" y="264"/>
                </a:cubicBezTo>
                <a:close/>
                <a:moveTo>
                  <a:pt x="194" y="242"/>
                </a:moveTo>
                <a:cubicBezTo>
                  <a:pt x="194" y="242"/>
                  <a:pt x="194" y="242"/>
                  <a:pt x="194" y="242"/>
                </a:cubicBezTo>
                <a:cubicBezTo>
                  <a:pt x="196" y="241"/>
                  <a:pt x="192" y="244"/>
                  <a:pt x="194" y="242"/>
                </a:cubicBezTo>
                <a:close/>
                <a:moveTo>
                  <a:pt x="194" y="188"/>
                </a:moveTo>
                <a:cubicBezTo>
                  <a:pt x="195" y="188"/>
                  <a:pt x="195" y="191"/>
                  <a:pt x="194" y="191"/>
                </a:cubicBezTo>
                <a:cubicBezTo>
                  <a:pt x="193" y="191"/>
                  <a:pt x="192" y="188"/>
                  <a:pt x="194" y="188"/>
                </a:cubicBezTo>
                <a:close/>
                <a:moveTo>
                  <a:pt x="192" y="192"/>
                </a:moveTo>
                <a:cubicBezTo>
                  <a:pt x="190" y="193"/>
                  <a:pt x="193" y="192"/>
                  <a:pt x="192" y="192"/>
                </a:cubicBezTo>
                <a:close/>
                <a:moveTo>
                  <a:pt x="191" y="224"/>
                </a:moveTo>
                <a:cubicBezTo>
                  <a:pt x="191" y="225"/>
                  <a:pt x="190" y="223"/>
                  <a:pt x="190" y="223"/>
                </a:cubicBezTo>
                <a:cubicBezTo>
                  <a:pt x="191" y="222"/>
                  <a:pt x="192" y="224"/>
                  <a:pt x="191" y="224"/>
                </a:cubicBezTo>
                <a:close/>
                <a:moveTo>
                  <a:pt x="191" y="190"/>
                </a:moveTo>
                <a:cubicBezTo>
                  <a:pt x="191" y="189"/>
                  <a:pt x="191" y="189"/>
                  <a:pt x="190" y="188"/>
                </a:cubicBezTo>
                <a:cubicBezTo>
                  <a:pt x="191" y="188"/>
                  <a:pt x="191" y="189"/>
                  <a:pt x="191" y="190"/>
                </a:cubicBezTo>
                <a:close/>
                <a:moveTo>
                  <a:pt x="192" y="243"/>
                </a:moveTo>
                <a:cubicBezTo>
                  <a:pt x="192" y="241"/>
                  <a:pt x="191" y="242"/>
                  <a:pt x="190" y="243"/>
                </a:cubicBezTo>
                <a:cubicBezTo>
                  <a:pt x="188" y="243"/>
                  <a:pt x="184" y="239"/>
                  <a:pt x="186" y="235"/>
                </a:cubicBezTo>
                <a:cubicBezTo>
                  <a:pt x="189" y="230"/>
                  <a:pt x="196" y="237"/>
                  <a:pt x="192" y="243"/>
                </a:cubicBezTo>
                <a:close/>
                <a:moveTo>
                  <a:pt x="192" y="254"/>
                </a:moveTo>
                <a:cubicBezTo>
                  <a:pt x="191" y="255"/>
                  <a:pt x="191" y="253"/>
                  <a:pt x="191" y="253"/>
                </a:cubicBezTo>
                <a:cubicBezTo>
                  <a:pt x="192" y="252"/>
                  <a:pt x="192" y="254"/>
                  <a:pt x="192" y="254"/>
                </a:cubicBezTo>
                <a:close/>
                <a:moveTo>
                  <a:pt x="190" y="274"/>
                </a:moveTo>
                <a:cubicBezTo>
                  <a:pt x="190" y="274"/>
                  <a:pt x="189" y="272"/>
                  <a:pt x="190" y="272"/>
                </a:cubicBezTo>
                <a:cubicBezTo>
                  <a:pt x="191" y="271"/>
                  <a:pt x="191" y="274"/>
                  <a:pt x="190" y="274"/>
                </a:cubicBezTo>
                <a:close/>
                <a:moveTo>
                  <a:pt x="186" y="193"/>
                </a:moveTo>
                <a:cubicBezTo>
                  <a:pt x="189" y="193"/>
                  <a:pt x="188" y="197"/>
                  <a:pt x="187" y="197"/>
                </a:cubicBezTo>
                <a:cubicBezTo>
                  <a:pt x="185" y="197"/>
                  <a:pt x="185" y="193"/>
                  <a:pt x="186" y="193"/>
                </a:cubicBezTo>
                <a:close/>
                <a:moveTo>
                  <a:pt x="185" y="198"/>
                </a:moveTo>
                <a:cubicBezTo>
                  <a:pt x="187" y="198"/>
                  <a:pt x="186" y="200"/>
                  <a:pt x="185" y="198"/>
                </a:cubicBezTo>
                <a:close/>
                <a:moveTo>
                  <a:pt x="183" y="252"/>
                </a:moveTo>
                <a:cubicBezTo>
                  <a:pt x="184" y="252"/>
                  <a:pt x="184" y="254"/>
                  <a:pt x="183" y="253"/>
                </a:cubicBezTo>
                <a:cubicBezTo>
                  <a:pt x="183" y="253"/>
                  <a:pt x="183" y="253"/>
                  <a:pt x="183" y="252"/>
                </a:cubicBezTo>
                <a:close/>
                <a:moveTo>
                  <a:pt x="184" y="268"/>
                </a:moveTo>
                <a:cubicBezTo>
                  <a:pt x="184" y="268"/>
                  <a:pt x="185" y="269"/>
                  <a:pt x="184" y="269"/>
                </a:cubicBezTo>
                <a:cubicBezTo>
                  <a:pt x="184" y="270"/>
                  <a:pt x="182" y="268"/>
                  <a:pt x="184" y="268"/>
                </a:cubicBezTo>
                <a:close/>
                <a:moveTo>
                  <a:pt x="184" y="309"/>
                </a:moveTo>
                <a:cubicBezTo>
                  <a:pt x="183" y="309"/>
                  <a:pt x="182" y="307"/>
                  <a:pt x="183" y="306"/>
                </a:cubicBezTo>
                <a:cubicBezTo>
                  <a:pt x="185" y="305"/>
                  <a:pt x="185" y="309"/>
                  <a:pt x="184" y="309"/>
                </a:cubicBezTo>
                <a:close/>
                <a:moveTo>
                  <a:pt x="184" y="256"/>
                </a:moveTo>
                <a:cubicBezTo>
                  <a:pt x="183" y="256"/>
                  <a:pt x="182" y="254"/>
                  <a:pt x="184" y="254"/>
                </a:cubicBezTo>
                <a:cubicBezTo>
                  <a:pt x="185" y="254"/>
                  <a:pt x="185" y="256"/>
                  <a:pt x="184" y="256"/>
                </a:cubicBezTo>
                <a:close/>
                <a:moveTo>
                  <a:pt x="186" y="272"/>
                </a:moveTo>
                <a:cubicBezTo>
                  <a:pt x="190" y="271"/>
                  <a:pt x="189" y="278"/>
                  <a:pt x="187" y="278"/>
                </a:cubicBezTo>
                <a:cubicBezTo>
                  <a:pt x="185" y="278"/>
                  <a:pt x="184" y="273"/>
                  <a:pt x="186" y="272"/>
                </a:cubicBezTo>
                <a:close/>
                <a:moveTo>
                  <a:pt x="189" y="304"/>
                </a:moveTo>
                <a:cubicBezTo>
                  <a:pt x="193" y="304"/>
                  <a:pt x="193" y="312"/>
                  <a:pt x="190" y="312"/>
                </a:cubicBezTo>
                <a:cubicBezTo>
                  <a:pt x="187" y="312"/>
                  <a:pt x="185" y="305"/>
                  <a:pt x="189" y="304"/>
                </a:cubicBezTo>
                <a:close/>
                <a:moveTo>
                  <a:pt x="193" y="375"/>
                </a:moveTo>
                <a:cubicBezTo>
                  <a:pt x="193" y="375"/>
                  <a:pt x="192" y="374"/>
                  <a:pt x="193" y="374"/>
                </a:cubicBezTo>
                <a:cubicBezTo>
                  <a:pt x="193" y="374"/>
                  <a:pt x="194" y="375"/>
                  <a:pt x="193" y="375"/>
                </a:cubicBezTo>
                <a:close/>
                <a:moveTo>
                  <a:pt x="205" y="365"/>
                </a:moveTo>
                <a:cubicBezTo>
                  <a:pt x="205" y="366"/>
                  <a:pt x="203" y="362"/>
                  <a:pt x="204" y="364"/>
                </a:cubicBezTo>
                <a:cubicBezTo>
                  <a:pt x="199" y="355"/>
                  <a:pt x="192" y="344"/>
                  <a:pt x="189" y="335"/>
                </a:cubicBezTo>
                <a:cubicBezTo>
                  <a:pt x="195" y="343"/>
                  <a:pt x="199" y="352"/>
                  <a:pt x="204" y="362"/>
                </a:cubicBezTo>
                <a:cubicBezTo>
                  <a:pt x="204" y="362"/>
                  <a:pt x="206" y="364"/>
                  <a:pt x="205" y="365"/>
                </a:cubicBezTo>
                <a:close/>
                <a:moveTo>
                  <a:pt x="206" y="165"/>
                </a:moveTo>
                <a:cubicBezTo>
                  <a:pt x="204" y="165"/>
                  <a:pt x="205" y="163"/>
                  <a:pt x="206" y="165"/>
                </a:cubicBezTo>
                <a:close/>
                <a:moveTo>
                  <a:pt x="212" y="221"/>
                </a:moveTo>
                <a:cubicBezTo>
                  <a:pt x="210" y="220"/>
                  <a:pt x="208" y="217"/>
                  <a:pt x="206" y="215"/>
                </a:cubicBezTo>
                <a:cubicBezTo>
                  <a:pt x="209" y="216"/>
                  <a:pt x="210" y="219"/>
                  <a:pt x="212" y="221"/>
                </a:cubicBezTo>
                <a:close/>
                <a:moveTo>
                  <a:pt x="207" y="224"/>
                </a:moveTo>
                <a:cubicBezTo>
                  <a:pt x="205" y="222"/>
                  <a:pt x="211" y="223"/>
                  <a:pt x="209" y="225"/>
                </a:cubicBezTo>
                <a:cubicBezTo>
                  <a:pt x="209" y="226"/>
                  <a:pt x="208" y="225"/>
                  <a:pt x="207" y="224"/>
                </a:cubicBezTo>
                <a:close/>
                <a:moveTo>
                  <a:pt x="209" y="243"/>
                </a:moveTo>
                <a:cubicBezTo>
                  <a:pt x="210" y="243"/>
                  <a:pt x="211" y="244"/>
                  <a:pt x="211" y="244"/>
                </a:cubicBezTo>
                <a:cubicBezTo>
                  <a:pt x="211" y="247"/>
                  <a:pt x="208" y="245"/>
                  <a:pt x="209" y="243"/>
                </a:cubicBezTo>
                <a:close/>
                <a:moveTo>
                  <a:pt x="214" y="405"/>
                </a:moveTo>
                <a:cubicBezTo>
                  <a:pt x="214" y="405"/>
                  <a:pt x="215" y="405"/>
                  <a:pt x="215" y="405"/>
                </a:cubicBezTo>
                <a:cubicBezTo>
                  <a:pt x="216" y="406"/>
                  <a:pt x="213" y="406"/>
                  <a:pt x="214" y="405"/>
                </a:cubicBezTo>
                <a:close/>
                <a:moveTo>
                  <a:pt x="211" y="256"/>
                </a:moveTo>
                <a:cubicBezTo>
                  <a:pt x="211" y="256"/>
                  <a:pt x="210" y="254"/>
                  <a:pt x="211" y="254"/>
                </a:cubicBezTo>
                <a:cubicBezTo>
                  <a:pt x="214" y="256"/>
                  <a:pt x="216" y="261"/>
                  <a:pt x="217" y="264"/>
                </a:cubicBezTo>
                <a:cubicBezTo>
                  <a:pt x="215" y="261"/>
                  <a:pt x="212" y="258"/>
                  <a:pt x="211" y="256"/>
                </a:cubicBezTo>
                <a:close/>
                <a:moveTo>
                  <a:pt x="219" y="262"/>
                </a:moveTo>
                <a:cubicBezTo>
                  <a:pt x="218" y="262"/>
                  <a:pt x="217" y="260"/>
                  <a:pt x="219" y="260"/>
                </a:cubicBezTo>
                <a:cubicBezTo>
                  <a:pt x="219" y="260"/>
                  <a:pt x="220" y="261"/>
                  <a:pt x="219" y="262"/>
                </a:cubicBezTo>
                <a:close/>
                <a:moveTo>
                  <a:pt x="221" y="386"/>
                </a:moveTo>
                <a:cubicBezTo>
                  <a:pt x="221" y="385"/>
                  <a:pt x="222" y="386"/>
                  <a:pt x="222" y="386"/>
                </a:cubicBezTo>
                <a:cubicBezTo>
                  <a:pt x="221" y="387"/>
                  <a:pt x="220" y="387"/>
                  <a:pt x="221" y="386"/>
                </a:cubicBezTo>
                <a:close/>
                <a:moveTo>
                  <a:pt x="222" y="327"/>
                </a:moveTo>
                <a:cubicBezTo>
                  <a:pt x="220" y="326"/>
                  <a:pt x="222" y="326"/>
                  <a:pt x="222" y="327"/>
                </a:cubicBezTo>
                <a:close/>
                <a:moveTo>
                  <a:pt x="224" y="204"/>
                </a:moveTo>
                <a:cubicBezTo>
                  <a:pt x="223" y="205"/>
                  <a:pt x="222" y="205"/>
                  <a:pt x="222" y="205"/>
                </a:cubicBezTo>
                <a:cubicBezTo>
                  <a:pt x="221" y="204"/>
                  <a:pt x="221" y="203"/>
                  <a:pt x="222" y="203"/>
                </a:cubicBezTo>
                <a:cubicBezTo>
                  <a:pt x="222" y="202"/>
                  <a:pt x="222" y="201"/>
                  <a:pt x="222" y="201"/>
                </a:cubicBezTo>
                <a:cubicBezTo>
                  <a:pt x="221" y="200"/>
                  <a:pt x="215" y="194"/>
                  <a:pt x="216" y="194"/>
                </a:cubicBezTo>
                <a:cubicBezTo>
                  <a:pt x="218" y="192"/>
                  <a:pt x="222" y="201"/>
                  <a:pt x="223" y="202"/>
                </a:cubicBezTo>
                <a:cubicBezTo>
                  <a:pt x="224" y="203"/>
                  <a:pt x="225" y="204"/>
                  <a:pt x="224" y="204"/>
                </a:cubicBezTo>
                <a:cubicBezTo>
                  <a:pt x="224" y="204"/>
                  <a:pt x="224" y="204"/>
                  <a:pt x="224" y="204"/>
                </a:cubicBezTo>
                <a:cubicBezTo>
                  <a:pt x="224" y="204"/>
                  <a:pt x="224" y="204"/>
                  <a:pt x="224" y="204"/>
                </a:cubicBezTo>
                <a:close/>
                <a:moveTo>
                  <a:pt x="227" y="215"/>
                </a:moveTo>
                <a:cubicBezTo>
                  <a:pt x="224" y="216"/>
                  <a:pt x="222" y="210"/>
                  <a:pt x="225" y="210"/>
                </a:cubicBezTo>
                <a:cubicBezTo>
                  <a:pt x="227" y="210"/>
                  <a:pt x="228" y="214"/>
                  <a:pt x="227" y="215"/>
                </a:cubicBezTo>
                <a:close/>
                <a:moveTo>
                  <a:pt x="230" y="252"/>
                </a:moveTo>
                <a:cubicBezTo>
                  <a:pt x="230" y="251"/>
                  <a:pt x="231" y="252"/>
                  <a:pt x="231" y="252"/>
                </a:cubicBezTo>
                <a:cubicBezTo>
                  <a:pt x="231" y="252"/>
                  <a:pt x="230" y="252"/>
                  <a:pt x="230" y="252"/>
                </a:cubicBezTo>
                <a:close/>
                <a:moveTo>
                  <a:pt x="232" y="218"/>
                </a:moveTo>
                <a:cubicBezTo>
                  <a:pt x="232" y="218"/>
                  <a:pt x="232" y="218"/>
                  <a:pt x="232" y="218"/>
                </a:cubicBezTo>
                <a:cubicBezTo>
                  <a:pt x="231" y="217"/>
                  <a:pt x="230" y="216"/>
                  <a:pt x="229" y="216"/>
                </a:cubicBezTo>
                <a:cubicBezTo>
                  <a:pt x="229" y="216"/>
                  <a:pt x="230" y="215"/>
                  <a:pt x="230" y="215"/>
                </a:cubicBezTo>
                <a:cubicBezTo>
                  <a:pt x="230" y="214"/>
                  <a:pt x="232" y="217"/>
                  <a:pt x="234" y="218"/>
                </a:cubicBezTo>
                <a:cubicBezTo>
                  <a:pt x="235" y="219"/>
                  <a:pt x="242" y="224"/>
                  <a:pt x="243" y="226"/>
                </a:cubicBezTo>
                <a:cubicBezTo>
                  <a:pt x="244" y="228"/>
                  <a:pt x="241" y="224"/>
                  <a:pt x="240" y="224"/>
                </a:cubicBezTo>
                <a:cubicBezTo>
                  <a:pt x="239" y="222"/>
                  <a:pt x="235" y="220"/>
                  <a:pt x="232" y="218"/>
                </a:cubicBezTo>
                <a:cubicBezTo>
                  <a:pt x="233" y="219"/>
                  <a:pt x="233" y="219"/>
                  <a:pt x="232" y="219"/>
                </a:cubicBezTo>
                <a:cubicBezTo>
                  <a:pt x="232" y="219"/>
                  <a:pt x="232" y="218"/>
                  <a:pt x="232" y="218"/>
                </a:cubicBezTo>
                <a:close/>
                <a:moveTo>
                  <a:pt x="233" y="254"/>
                </a:moveTo>
                <a:cubicBezTo>
                  <a:pt x="233" y="254"/>
                  <a:pt x="232" y="253"/>
                  <a:pt x="232" y="253"/>
                </a:cubicBezTo>
                <a:cubicBezTo>
                  <a:pt x="232" y="253"/>
                  <a:pt x="234" y="253"/>
                  <a:pt x="233" y="254"/>
                </a:cubicBezTo>
                <a:close/>
                <a:moveTo>
                  <a:pt x="233" y="257"/>
                </a:moveTo>
                <a:cubicBezTo>
                  <a:pt x="232" y="257"/>
                  <a:pt x="232" y="255"/>
                  <a:pt x="233" y="255"/>
                </a:cubicBezTo>
                <a:cubicBezTo>
                  <a:pt x="234" y="254"/>
                  <a:pt x="234" y="257"/>
                  <a:pt x="233" y="257"/>
                </a:cubicBezTo>
                <a:close/>
                <a:moveTo>
                  <a:pt x="234" y="240"/>
                </a:moveTo>
                <a:cubicBezTo>
                  <a:pt x="234" y="240"/>
                  <a:pt x="234" y="240"/>
                  <a:pt x="234" y="239"/>
                </a:cubicBezTo>
                <a:cubicBezTo>
                  <a:pt x="235" y="237"/>
                  <a:pt x="237" y="243"/>
                  <a:pt x="234" y="240"/>
                </a:cubicBezTo>
                <a:close/>
                <a:moveTo>
                  <a:pt x="239" y="261"/>
                </a:moveTo>
                <a:cubicBezTo>
                  <a:pt x="240" y="261"/>
                  <a:pt x="242" y="263"/>
                  <a:pt x="240" y="264"/>
                </a:cubicBezTo>
                <a:cubicBezTo>
                  <a:pt x="238" y="266"/>
                  <a:pt x="235" y="260"/>
                  <a:pt x="239" y="261"/>
                </a:cubicBezTo>
                <a:close/>
                <a:moveTo>
                  <a:pt x="243" y="722"/>
                </a:moveTo>
                <a:cubicBezTo>
                  <a:pt x="243" y="722"/>
                  <a:pt x="243" y="722"/>
                  <a:pt x="243" y="722"/>
                </a:cubicBezTo>
                <a:cubicBezTo>
                  <a:pt x="244" y="724"/>
                  <a:pt x="241" y="719"/>
                  <a:pt x="243" y="722"/>
                </a:cubicBezTo>
                <a:close/>
                <a:moveTo>
                  <a:pt x="240" y="314"/>
                </a:moveTo>
                <a:cubicBezTo>
                  <a:pt x="242" y="315"/>
                  <a:pt x="242" y="318"/>
                  <a:pt x="244" y="319"/>
                </a:cubicBezTo>
                <a:cubicBezTo>
                  <a:pt x="242" y="318"/>
                  <a:pt x="241" y="316"/>
                  <a:pt x="240" y="314"/>
                </a:cubicBezTo>
                <a:close/>
                <a:moveTo>
                  <a:pt x="245" y="274"/>
                </a:moveTo>
                <a:cubicBezTo>
                  <a:pt x="247" y="273"/>
                  <a:pt x="246" y="276"/>
                  <a:pt x="245" y="276"/>
                </a:cubicBezTo>
                <a:cubicBezTo>
                  <a:pt x="244" y="277"/>
                  <a:pt x="243" y="274"/>
                  <a:pt x="245" y="274"/>
                </a:cubicBezTo>
                <a:close/>
                <a:moveTo>
                  <a:pt x="246" y="680"/>
                </a:moveTo>
                <a:cubicBezTo>
                  <a:pt x="244" y="679"/>
                  <a:pt x="247" y="680"/>
                  <a:pt x="246" y="680"/>
                </a:cubicBezTo>
                <a:close/>
                <a:moveTo>
                  <a:pt x="245" y="321"/>
                </a:moveTo>
                <a:cubicBezTo>
                  <a:pt x="248" y="323"/>
                  <a:pt x="245" y="324"/>
                  <a:pt x="245" y="321"/>
                </a:cubicBezTo>
                <a:close/>
                <a:moveTo>
                  <a:pt x="247" y="85"/>
                </a:moveTo>
                <a:cubicBezTo>
                  <a:pt x="246" y="86"/>
                  <a:pt x="245" y="85"/>
                  <a:pt x="245" y="84"/>
                </a:cubicBezTo>
                <a:cubicBezTo>
                  <a:pt x="244" y="83"/>
                  <a:pt x="247" y="83"/>
                  <a:pt x="247" y="85"/>
                </a:cubicBezTo>
                <a:close/>
                <a:moveTo>
                  <a:pt x="246" y="83"/>
                </a:moveTo>
                <a:cubicBezTo>
                  <a:pt x="246" y="82"/>
                  <a:pt x="246" y="83"/>
                  <a:pt x="246" y="83"/>
                </a:cubicBezTo>
                <a:cubicBezTo>
                  <a:pt x="248" y="82"/>
                  <a:pt x="245" y="84"/>
                  <a:pt x="246" y="83"/>
                </a:cubicBezTo>
                <a:close/>
                <a:moveTo>
                  <a:pt x="247" y="96"/>
                </a:moveTo>
                <a:cubicBezTo>
                  <a:pt x="248" y="97"/>
                  <a:pt x="247" y="97"/>
                  <a:pt x="247" y="96"/>
                </a:cubicBezTo>
                <a:close/>
                <a:moveTo>
                  <a:pt x="249" y="170"/>
                </a:moveTo>
                <a:cubicBezTo>
                  <a:pt x="247" y="168"/>
                  <a:pt x="250" y="172"/>
                  <a:pt x="249" y="170"/>
                </a:cubicBezTo>
                <a:close/>
                <a:moveTo>
                  <a:pt x="248" y="146"/>
                </a:moveTo>
                <a:cubicBezTo>
                  <a:pt x="248" y="146"/>
                  <a:pt x="247" y="145"/>
                  <a:pt x="248" y="144"/>
                </a:cubicBezTo>
                <a:cubicBezTo>
                  <a:pt x="250" y="141"/>
                  <a:pt x="251" y="149"/>
                  <a:pt x="248" y="146"/>
                </a:cubicBezTo>
                <a:close/>
                <a:moveTo>
                  <a:pt x="251" y="173"/>
                </a:moveTo>
                <a:cubicBezTo>
                  <a:pt x="249" y="171"/>
                  <a:pt x="252" y="175"/>
                  <a:pt x="251" y="173"/>
                </a:cubicBezTo>
                <a:close/>
                <a:moveTo>
                  <a:pt x="251" y="126"/>
                </a:moveTo>
                <a:cubicBezTo>
                  <a:pt x="251" y="125"/>
                  <a:pt x="252" y="126"/>
                  <a:pt x="252" y="126"/>
                </a:cubicBezTo>
                <a:cubicBezTo>
                  <a:pt x="252" y="126"/>
                  <a:pt x="251" y="126"/>
                  <a:pt x="251" y="126"/>
                </a:cubicBezTo>
                <a:close/>
                <a:moveTo>
                  <a:pt x="254" y="93"/>
                </a:moveTo>
                <a:cubicBezTo>
                  <a:pt x="254" y="93"/>
                  <a:pt x="253" y="93"/>
                  <a:pt x="252" y="93"/>
                </a:cubicBezTo>
                <a:cubicBezTo>
                  <a:pt x="250" y="91"/>
                  <a:pt x="255" y="90"/>
                  <a:pt x="254" y="93"/>
                </a:cubicBezTo>
                <a:close/>
                <a:moveTo>
                  <a:pt x="253" y="639"/>
                </a:moveTo>
                <a:cubicBezTo>
                  <a:pt x="253" y="638"/>
                  <a:pt x="255" y="639"/>
                  <a:pt x="255" y="639"/>
                </a:cubicBezTo>
                <a:cubicBezTo>
                  <a:pt x="256" y="641"/>
                  <a:pt x="252" y="640"/>
                  <a:pt x="253" y="639"/>
                </a:cubicBezTo>
                <a:close/>
                <a:moveTo>
                  <a:pt x="254" y="281"/>
                </a:moveTo>
                <a:cubicBezTo>
                  <a:pt x="256" y="282"/>
                  <a:pt x="255" y="284"/>
                  <a:pt x="254" y="281"/>
                </a:cubicBezTo>
                <a:close/>
                <a:moveTo>
                  <a:pt x="256" y="131"/>
                </a:moveTo>
                <a:cubicBezTo>
                  <a:pt x="258" y="131"/>
                  <a:pt x="257" y="133"/>
                  <a:pt x="256" y="133"/>
                </a:cubicBezTo>
                <a:cubicBezTo>
                  <a:pt x="255" y="133"/>
                  <a:pt x="254" y="131"/>
                  <a:pt x="256" y="131"/>
                </a:cubicBezTo>
                <a:close/>
                <a:moveTo>
                  <a:pt x="256" y="252"/>
                </a:moveTo>
                <a:cubicBezTo>
                  <a:pt x="256" y="252"/>
                  <a:pt x="258" y="254"/>
                  <a:pt x="258" y="254"/>
                </a:cubicBezTo>
                <a:cubicBezTo>
                  <a:pt x="258" y="254"/>
                  <a:pt x="256" y="253"/>
                  <a:pt x="256" y="252"/>
                </a:cubicBezTo>
                <a:close/>
                <a:moveTo>
                  <a:pt x="257" y="723"/>
                </a:moveTo>
                <a:cubicBezTo>
                  <a:pt x="257" y="723"/>
                  <a:pt x="258" y="723"/>
                  <a:pt x="258" y="723"/>
                </a:cubicBezTo>
                <a:cubicBezTo>
                  <a:pt x="260" y="724"/>
                  <a:pt x="256" y="723"/>
                  <a:pt x="257" y="723"/>
                </a:cubicBezTo>
                <a:close/>
                <a:moveTo>
                  <a:pt x="257" y="608"/>
                </a:moveTo>
                <a:cubicBezTo>
                  <a:pt x="258" y="607"/>
                  <a:pt x="261" y="610"/>
                  <a:pt x="260" y="610"/>
                </a:cubicBezTo>
                <a:cubicBezTo>
                  <a:pt x="265" y="613"/>
                  <a:pt x="273" y="615"/>
                  <a:pt x="279" y="618"/>
                </a:cubicBezTo>
                <a:cubicBezTo>
                  <a:pt x="279" y="618"/>
                  <a:pt x="281" y="619"/>
                  <a:pt x="281" y="619"/>
                </a:cubicBezTo>
                <a:cubicBezTo>
                  <a:pt x="282" y="621"/>
                  <a:pt x="264" y="613"/>
                  <a:pt x="261" y="611"/>
                </a:cubicBezTo>
                <a:cubicBezTo>
                  <a:pt x="261" y="611"/>
                  <a:pt x="256" y="609"/>
                  <a:pt x="257" y="608"/>
                </a:cubicBezTo>
                <a:close/>
                <a:moveTo>
                  <a:pt x="271" y="686"/>
                </a:moveTo>
                <a:cubicBezTo>
                  <a:pt x="271" y="688"/>
                  <a:pt x="269" y="684"/>
                  <a:pt x="270" y="686"/>
                </a:cubicBezTo>
                <a:cubicBezTo>
                  <a:pt x="270" y="686"/>
                  <a:pt x="271" y="686"/>
                  <a:pt x="271" y="686"/>
                </a:cubicBezTo>
                <a:close/>
                <a:moveTo>
                  <a:pt x="270" y="730"/>
                </a:moveTo>
                <a:cubicBezTo>
                  <a:pt x="270" y="731"/>
                  <a:pt x="268" y="729"/>
                  <a:pt x="270" y="730"/>
                </a:cubicBezTo>
                <a:close/>
                <a:moveTo>
                  <a:pt x="269" y="705"/>
                </a:moveTo>
                <a:cubicBezTo>
                  <a:pt x="269" y="705"/>
                  <a:pt x="271" y="705"/>
                  <a:pt x="271" y="705"/>
                </a:cubicBezTo>
                <a:cubicBezTo>
                  <a:pt x="272" y="707"/>
                  <a:pt x="268" y="706"/>
                  <a:pt x="269" y="705"/>
                </a:cubicBezTo>
                <a:close/>
                <a:moveTo>
                  <a:pt x="270" y="699"/>
                </a:moveTo>
                <a:cubicBezTo>
                  <a:pt x="272" y="697"/>
                  <a:pt x="273" y="701"/>
                  <a:pt x="270" y="699"/>
                </a:cubicBezTo>
                <a:close/>
                <a:moveTo>
                  <a:pt x="277" y="747"/>
                </a:moveTo>
                <a:cubicBezTo>
                  <a:pt x="275" y="746"/>
                  <a:pt x="279" y="748"/>
                  <a:pt x="277" y="747"/>
                </a:cubicBezTo>
                <a:close/>
                <a:moveTo>
                  <a:pt x="277" y="671"/>
                </a:moveTo>
                <a:cubicBezTo>
                  <a:pt x="279" y="670"/>
                  <a:pt x="279" y="671"/>
                  <a:pt x="279" y="671"/>
                </a:cubicBezTo>
                <a:cubicBezTo>
                  <a:pt x="281" y="673"/>
                  <a:pt x="276" y="671"/>
                  <a:pt x="277" y="671"/>
                </a:cubicBezTo>
                <a:close/>
                <a:moveTo>
                  <a:pt x="280" y="741"/>
                </a:moveTo>
                <a:cubicBezTo>
                  <a:pt x="280" y="740"/>
                  <a:pt x="284" y="740"/>
                  <a:pt x="285" y="741"/>
                </a:cubicBezTo>
                <a:cubicBezTo>
                  <a:pt x="285" y="743"/>
                  <a:pt x="280" y="742"/>
                  <a:pt x="280" y="741"/>
                </a:cubicBezTo>
                <a:close/>
                <a:moveTo>
                  <a:pt x="284" y="510"/>
                </a:moveTo>
                <a:cubicBezTo>
                  <a:pt x="284" y="510"/>
                  <a:pt x="285" y="510"/>
                  <a:pt x="286" y="510"/>
                </a:cubicBezTo>
                <a:cubicBezTo>
                  <a:pt x="287" y="512"/>
                  <a:pt x="283" y="512"/>
                  <a:pt x="284" y="510"/>
                </a:cubicBezTo>
                <a:close/>
                <a:moveTo>
                  <a:pt x="286" y="669"/>
                </a:moveTo>
                <a:cubicBezTo>
                  <a:pt x="286" y="667"/>
                  <a:pt x="289" y="668"/>
                  <a:pt x="289" y="669"/>
                </a:cubicBezTo>
                <a:cubicBezTo>
                  <a:pt x="290" y="671"/>
                  <a:pt x="286" y="670"/>
                  <a:pt x="286" y="669"/>
                </a:cubicBezTo>
                <a:close/>
                <a:moveTo>
                  <a:pt x="308" y="749"/>
                </a:moveTo>
                <a:cubicBezTo>
                  <a:pt x="302" y="750"/>
                  <a:pt x="295" y="748"/>
                  <a:pt x="288" y="746"/>
                </a:cubicBezTo>
                <a:cubicBezTo>
                  <a:pt x="294" y="747"/>
                  <a:pt x="301" y="748"/>
                  <a:pt x="308" y="749"/>
                </a:cubicBezTo>
                <a:close/>
              </a:path>
            </a:pathLst>
          </a:custGeom>
          <a:solidFill>
            <a:schemeClr val="accent4">
              <a:alpha val="40000"/>
            </a:schemeClr>
          </a:solidFill>
          <a:ln>
            <a:noFill/>
          </a:ln>
        </p:spPr>
        <p:txBody>
          <a:bodyPr vert="horz" wrap="square" lIns="91440" tIns="45720" rIns="91440" bIns="45720" numCol="1" anchor="t" anchorCtr="0" compatLnSpc="1">
            <a:prstTxWarp prst="textNoShape">
              <a:avLst/>
            </a:prstTxWarp>
          </a:bodyPr>
          <a:lstStyle/>
          <a:p>
            <a:endParaRPr lang="en-ID"/>
          </a:p>
        </p:txBody>
      </p:sp>
      <p:sp>
        <p:nvSpPr>
          <p:cNvPr id="137" name="TextBox 136">
            <a:extLst>
              <a:ext uri="{FF2B5EF4-FFF2-40B4-BE49-F238E27FC236}">
                <a16:creationId xmlns:a16="http://schemas.microsoft.com/office/drawing/2014/main" id="{768F1D36-CE52-475C-8583-9C7DC7B45BDE}"/>
              </a:ext>
            </a:extLst>
          </p:cNvPr>
          <p:cNvSpPr txBox="1"/>
          <p:nvPr/>
        </p:nvSpPr>
        <p:spPr>
          <a:xfrm>
            <a:off x="2870200" y="2744891"/>
            <a:ext cx="6451600" cy="1231106"/>
          </a:xfrm>
          <a:prstGeom prst="rect">
            <a:avLst/>
          </a:prstGeom>
          <a:noFill/>
        </p:spPr>
        <p:txBody>
          <a:bodyPr wrap="square" lIns="0" tIns="0" rIns="0" bIns="0" rtlCol="0" anchor="ctr">
            <a:spAutoFit/>
          </a:bodyPr>
          <a:lstStyle/>
          <a:p>
            <a:pPr algn="ctr"/>
            <a:r>
              <a:rPr lang="en-ID" sz="8000" dirty="0">
                <a:solidFill>
                  <a:schemeClr val="bg1"/>
                </a:solidFill>
                <a:latin typeface="+mj-lt"/>
              </a:rPr>
              <a:t>MANUFACTURING</a:t>
            </a:r>
            <a:endParaRPr lang="en-US" sz="8000" dirty="0">
              <a:solidFill>
                <a:schemeClr val="bg1"/>
              </a:solidFill>
              <a:latin typeface="+mj-lt"/>
            </a:endParaRPr>
          </a:p>
        </p:txBody>
      </p:sp>
      <p:sp>
        <p:nvSpPr>
          <p:cNvPr id="140" name="Rectangle 139">
            <a:extLst>
              <a:ext uri="{FF2B5EF4-FFF2-40B4-BE49-F238E27FC236}">
                <a16:creationId xmlns:a16="http://schemas.microsoft.com/office/drawing/2014/main" id="{47590D5A-20C9-4E97-A017-D6057EBAEC6A}"/>
              </a:ext>
            </a:extLst>
          </p:cNvPr>
          <p:cNvSpPr/>
          <p:nvPr/>
        </p:nvSpPr>
        <p:spPr>
          <a:xfrm>
            <a:off x="2971800" y="4064192"/>
            <a:ext cx="6248400" cy="215444"/>
          </a:xfrm>
          <a:prstGeom prst="rect">
            <a:avLst/>
          </a:prstGeom>
        </p:spPr>
        <p:txBody>
          <a:bodyPr wrap="square" lIns="0" tIns="0" rIns="0" bIns="0">
            <a:spAutoFit/>
          </a:bodyPr>
          <a:lstStyle/>
          <a:p>
            <a:pPr algn="ctr"/>
            <a:r>
              <a:rPr lang="en-ID" sz="1400" dirty="0">
                <a:solidFill>
                  <a:schemeClr val="bg1"/>
                </a:solidFill>
                <a:ea typeface="Cambria" panose="02040503050406030204" pitchFamily="18" charset="0"/>
              </a:rPr>
              <a:t>GROUP 6</a:t>
            </a:r>
            <a:endParaRPr lang="en-US" sz="1400" dirty="0">
              <a:solidFill>
                <a:schemeClr val="bg1"/>
              </a:solidFill>
              <a:ea typeface="Cambria" panose="02040503050406030204" pitchFamily="18" charset="0"/>
            </a:endParaRPr>
          </a:p>
        </p:txBody>
      </p:sp>
    </p:spTree>
    <p:extLst>
      <p:ext uri="{BB962C8B-B14F-4D97-AF65-F5344CB8AC3E}">
        <p14:creationId xmlns:p14="http://schemas.microsoft.com/office/powerpoint/2010/main" val="22214549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EFDE5DB5-4A97-D701-9D04-FF1F8B4DE9BA}"/>
              </a:ext>
            </a:extLst>
          </p:cNvPr>
          <p:cNvSpPr/>
          <p:nvPr/>
        </p:nvSpPr>
        <p:spPr>
          <a:xfrm>
            <a:off x="11865983" y="3066313"/>
            <a:ext cx="652034" cy="652034"/>
          </a:xfrm>
          <a:prstGeom prst="ellipse">
            <a:avLst/>
          </a:prstGeom>
          <a:solidFill>
            <a:srgbClr val="44546A"/>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2" name="Group 11">
            <a:extLst>
              <a:ext uri="{FF2B5EF4-FFF2-40B4-BE49-F238E27FC236}">
                <a16:creationId xmlns:a16="http://schemas.microsoft.com/office/drawing/2014/main" id="{CEB11757-CE84-94A6-4E0C-D8847F43721F}"/>
              </a:ext>
            </a:extLst>
          </p:cNvPr>
          <p:cNvGrpSpPr/>
          <p:nvPr/>
        </p:nvGrpSpPr>
        <p:grpSpPr>
          <a:xfrm rot="10800000">
            <a:off x="12052255" y="3286974"/>
            <a:ext cx="279490" cy="251353"/>
            <a:chOff x="7396163" y="4268788"/>
            <a:chExt cx="236538" cy="212725"/>
          </a:xfrm>
          <a:solidFill>
            <a:srgbClr val="FEC00B"/>
          </a:solidFill>
        </p:grpSpPr>
        <p:sp>
          <p:nvSpPr>
            <p:cNvPr id="13" name="Freeform 385">
              <a:extLst>
                <a:ext uri="{FF2B5EF4-FFF2-40B4-BE49-F238E27FC236}">
                  <a16:creationId xmlns:a16="http://schemas.microsoft.com/office/drawing/2014/main" id="{C971EE70-5A74-51B2-40F4-7664F031E696}"/>
                </a:ext>
              </a:extLst>
            </p:cNvPr>
            <p:cNvSpPr>
              <a:spLocks noEditPoints="1"/>
            </p:cNvSpPr>
            <p:nvPr/>
          </p:nvSpPr>
          <p:spPr bwMode="auto">
            <a:xfrm>
              <a:off x="7396163"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7 w 348"/>
                <a:gd name="T11" fmla="*/ 260 h 535"/>
                <a:gd name="T12" fmla="*/ 209 w 348"/>
                <a:gd name="T13" fmla="*/ 263 h 535"/>
                <a:gd name="T14" fmla="*/ 210 w 348"/>
                <a:gd name="T15" fmla="*/ 268 h 535"/>
                <a:gd name="T16" fmla="*/ 209 w 348"/>
                <a:gd name="T17" fmla="*/ 271 h 535"/>
                <a:gd name="T18" fmla="*/ 207 w 348"/>
                <a:gd name="T19" fmla="*/ 274 h 535"/>
                <a:gd name="T20" fmla="*/ 25 w 348"/>
                <a:gd name="T21" fmla="*/ 457 h 535"/>
                <a:gd name="T22" fmla="*/ 80 w 348"/>
                <a:gd name="T23" fmla="*/ 535 h 535"/>
                <a:gd name="T24" fmla="*/ 77 w 348"/>
                <a:gd name="T25" fmla="*/ 534 h 535"/>
                <a:gd name="T26" fmla="*/ 73 w 348"/>
                <a:gd name="T27" fmla="*/ 533 h 535"/>
                <a:gd name="T28" fmla="*/ 4 w 348"/>
                <a:gd name="T29" fmla="*/ 463 h 535"/>
                <a:gd name="T30" fmla="*/ 2 w 348"/>
                <a:gd name="T31" fmla="*/ 460 h 535"/>
                <a:gd name="T32" fmla="*/ 0 w 348"/>
                <a:gd name="T33" fmla="*/ 457 h 535"/>
                <a:gd name="T34" fmla="*/ 2 w 348"/>
                <a:gd name="T35" fmla="*/ 452 h 535"/>
                <a:gd name="T36" fmla="*/ 4 w 348"/>
                <a:gd name="T37" fmla="*/ 449 h 535"/>
                <a:gd name="T38" fmla="*/ 185 w 348"/>
                <a:gd name="T39" fmla="*/ 268 h 535"/>
                <a:gd name="T40" fmla="*/ 4 w 348"/>
                <a:gd name="T41" fmla="*/ 86 h 535"/>
                <a:gd name="T42" fmla="*/ 2 w 348"/>
                <a:gd name="T43" fmla="*/ 83 h 535"/>
                <a:gd name="T44" fmla="*/ 0 w 348"/>
                <a:gd name="T45" fmla="*/ 79 h 535"/>
                <a:gd name="T46" fmla="*/ 2 w 348"/>
                <a:gd name="T47" fmla="*/ 75 h 535"/>
                <a:gd name="T48" fmla="*/ 4 w 348"/>
                <a:gd name="T49" fmla="*/ 72 h 535"/>
                <a:gd name="T50" fmla="*/ 74 w 348"/>
                <a:gd name="T51" fmla="*/ 2 h 535"/>
                <a:gd name="T52" fmla="*/ 77 w 348"/>
                <a:gd name="T53" fmla="*/ 0 h 535"/>
                <a:gd name="T54" fmla="*/ 80 w 348"/>
                <a:gd name="T55" fmla="*/ 0 h 535"/>
                <a:gd name="T56" fmla="*/ 84 w 348"/>
                <a:gd name="T57" fmla="*/ 0 h 535"/>
                <a:gd name="T58" fmla="*/ 87 w 348"/>
                <a:gd name="T59" fmla="*/ 2 h 535"/>
                <a:gd name="T60" fmla="*/ 346 w 348"/>
                <a:gd name="T61" fmla="*/ 260 h 535"/>
                <a:gd name="T62" fmla="*/ 348 w 348"/>
                <a:gd name="T63" fmla="*/ 263 h 535"/>
                <a:gd name="T64" fmla="*/ 348 w 348"/>
                <a:gd name="T65" fmla="*/ 268 h 535"/>
                <a:gd name="T66" fmla="*/ 348 w 348"/>
                <a:gd name="T67" fmla="*/ 271 h 535"/>
                <a:gd name="T68" fmla="*/ 346 w 348"/>
                <a:gd name="T69" fmla="*/ 274 h 535"/>
                <a:gd name="T70" fmla="*/ 87 w 348"/>
                <a:gd name="T71" fmla="*/ 532 h 535"/>
                <a:gd name="T72" fmla="*/ 84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7" y="260"/>
                  </a:lnTo>
                  <a:lnTo>
                    <a:pt x="209" y="263"/>
                  </a:lnTo>
                  <a:lnTo>
                    <a:pt x="210" y="268"/>
                  </a:lnTo>
                  <a:lnTo>
                    <a:pt x="209" y="271"/>
                  </a:lnTo>
                  <a:lnTo>
                    <a:pt x="207" y="274"/>
                  </a:lnTo>
                  <a:lnTo>
                    <a:pt x="25" y="457"/>
                  </a:lnTo>
                  <a:close/>
                  <a:moveTo>
                    <a:pt x="80" y="535"/>
                  </a:moveTo>
                  <a:lnTo>
                    <a:pt x="77" y="534"/>
                  </a:lnTo>
                  <a:lnTo>
                    <a:pt x="73" y="533"/>
                  </a:lnTo>
                  <a:lnTo>
                    <a:pt x="4" y="463"/>
                  </a:lnTo>
                  <a:lnTo>
                    <a:pt x="2" y="460"/>
                  </a:lnTo>
                  <a:lnTo>
                    <a:pt x="0" y="457"/>
                  </a:lnTo>
                  <a:lnTo>
                    <a:pt x="2" y="452"/>
                  </a:lnTo>
                  <a:lnTo>
                    <a:pt x="4" y="449"/>
                  </a:lnTo>
                  <a:lnTo>
                    <a:pt x="185" y="268"/>
                  </a:lnTo>
                  <a:lnTo>
                    <a:pt x="4" y="86"/>
                  </a:lnTo>
                  <a:lnTo>
                    <a:pt x="2" y="83"/>
                  </a:lnTo>
                  <a:lnTo>
                    <a:pt x="0" y="79"/>
                  </a:lnTo>
                  <a:lnTo>
                    <a:pt x="2" y="75"/>
                  </a:lnTo>
                  <a:lnTo>
                    <a:pt x="4" y="72"/>
                  </a:lnTo>
                  <a:lnTo>
                    <a:pt x="74" y="2"/>
                  </a:lnTo>
                  <a:lnTo>
                    <a:pt x="77" y="0"/>
                  </a:lnTo>
                  <a:lnTo>
                    <a:pt x="80" y="0"/>
                  </a:lnTo>
                  <a:lnTo>
                    <a:pt x="84" y="0"/>
                  </a:lnTo>
                  <a:lnTo>
                    <a:pt x="87" y="2"/>
                  </a:lnTo>
                  <a:lnTo>
                    <a:pt x="346" y="260"/>
                  </a:lnTo>
                  <a:lnTo>
                    <a:pt x="348" y="263"/>
                  </a:lnTo>
                  <a:lnTo>
                    <a:pt x="348" y="268"/>
                  </a:lnTo>
                  <a:lnTo>
                    <a:pt x="348" y="271"/>
                  </a:lnTo>
                  <a:lnTo>
                    <a:pt x="346" y="274"/>
                  </a:lnTo>
                  <a:lnTo>
                    <a:pt x="87" y="532"/>
                  </a:lnTo>
                  <a:lnTo>
                    <a:pt x="84" y="534"/>
                  </a:lnTo>
                  <a:lnTo>
                    <a:pt x="80"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386">
              <a:extLst>
                <a:ext uri="{FF2B5EF4-FFF2-40B4-BE49-F238E27FC236}">
                  <a16:creationId xmlns:a16="http://schemas.microsoft.com/office/drawing/2014/main" id="{C9758D44-57A3-0511-7EE2-B9BA31A9EA59}"/>
                </a:ext>
              </a:extLst>
            </p:cNvPr>
            <p:cNvSpPr>
              <a:spLocks noEditPoints="1"/>
            </p:cNvSpPr>
            <p:nvPr/>
          </p:nvSpPr>
          <p:spPr bwMode="auto">
            <a:xfrm>
              <a:off x="7494588"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6 w 348"/>
                <a:gd name="T11" fmla="*/ 260 h 535"/>
                <a:gd name="T12" fmla="*/ 208 w 348"/>
                <a:gd name="T13" fmla="*/ 263 h 535"/>
                <a:gd name="T14" fmla="*/ 208 w 348"/>
                <a:gd name="T15" fmla="*/ 268 h 535"/>
                <a:gd name="T16" fmla="*/ 208 w 348"/>
                <a:gd name="T17" fmla="*/ 271 h 535"/>
                <a:gd name="T18" fmla="*/ 206 w 348"/>
                <a:gd name="T19" fmla="*/ 274 h 535"/>
                <a:gd name="T20" fmla="*/ 25 w 348"/>
                <a:gd name="T21" fmla="*/ 457 h 535"/>
                <a:gd name="T22" fmla="*/ 80 w 348"/>
                <a:gd name="T23" fmla="*/ 535 h 535"/>
                <a:gd name="T24" fmla="*/ 75 w 348"/>
                <a:gd name="T25" fmla="*/ 534 h 535"/>
                <a:gd name="T26" fmla="*/ 72 w 348"/>
                <a:gd name="T27" fmla="*/ 533 h 535"/>
                <a:gd name="T28" fmla="*/ 3 w 348"/>
                <a:gd name="T29" fmla="*/ 463 h 535"/>
                <a:gd name="T30" fmla="*/ 1 w 348"/>
                <a:gd name="T31" fmla="*/ 460 h 535"/>
                <a:gd name="T32" fmla="*/ 0 w 348"/>
                <a:gd name="T33" fmla="*/ 457 h 535"/>
                <a:gd name="T34" fmla="*/ 1 w 348"/>
                <a:gd name="T35" fmla="*/ 452 h 535"/>
                <a:gd name="T36" fmla="*/ 3 w 348"/>
                <a:gd name="T37" fmla="*/ 449 h 535"/>
                <a:gd name="T38" fmla="*/ 185 w 348"/>
                <a:gd name="T39" fmla="*/ 268 h 535"/>
                <a:gd name="T40" fmla="*/ 3 w 348"/>
                <a:gd name="T41" fmla="*/ 86 h 535"/>
                <a:gd name="T42" fmla="*/ 1 w 348"/>
                <a:gd name="T43" fmla="*/ 83 h 535"/>
                <a:gd name="T44" fmla="*/ 0 w 348"/>
                <a:gd name="T45" fmla="*/ 79 h 535"/>
                <a:gd name="T46" fmla="*/ 1 w 348"/>
                <a:gd name="T47" fmla="*/ 75 h 535"/>
                <a:gd name="T48" fmla="*/ 3 w 348"/>
                <a:gd name="T49" fmla="*/ 72 h 535"/>
                <a:gd name="T50" fmla="*/ 72 w 348"/>
                <a:gd name="T51" fmla="*/ 2 h 535"/>
                <a:gd name="T52" fmla="*/ 75 w 348"/>
                <a:gd name="T53" fmla="*/ 0 h 535"/>
                <a:gd name="T54" fmla="*/ 80 w 348"/>
                <a:gd name="T55" fmla="*/ 0 h 535"/>
                <a:gd name="T56" fmla="*/ 83 w 348"/>
                <a:gd name="T57" fmla="*/ 0 h 535"/>
                <a:gd name="T58" fmla="*/ 86 w 348"/>
                <a:gd name="T59" fmla="*/ 2 h 535"/>
                <a:gd name="T60" fmla="*/ 344 w 348"/>
                <a:gd name="T61" fmla="*/ 260 h 535"/>
                <a:gd name="T62" fmla="*/ 347 w 348"/>
                <a:gd name="T63" fmla="*/ 263 h 535"/>
                <a:gd name="T64" fmla="*/ 348 w 348"/>
                <a:gd name="T65" fmla="*/ 268 h 535"/>
                <a:gd name="T66" fmla="*/ 347 w 348"/>
                <a:gd name="T67" fmla="*/ 271 h 535"/>
                <a:gd name="T68" fmla="*/ 344 w 348"/>
                <a:gd name="T69" fmla="*/ 274 h 535"/>
                <a:gd name="T70" fmla="*/ 86 w 348"/>
                <a:gd name="T71" fmla="*/ 532 h 535"/>
                <a:gd name="T72" fmla="*/ 83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6" y="260"/>
                  </a:lnTo>
                  <a:lnTo>
                    <a:pt x="208" y="263"/>
                  </a:lnTo>
                  <a:lnTo>
                    <a:pt x="208" y="268"/>
                  </a:lnTo>
                  <a:lnTo>
                    <a:pt x="208" y="271"/>
                  </a:lnTo>
                  <a:lnTo>
                    <a:pt x="206" y="274"/>
                  </a:lnTo>
                  <a:lnTo>
                    <a:pt x="25" y="457"/>
                  </a:lnTo>
                  <a:close/>
                  <a:moveTo>
                    <a:pt x="80" y="535"/>
                  </a:moveTo>
                  <a:lnTo>
                    <a:pt x="75" y="534"/>
                  </a:lnTo>
                  <a:lnTo>
                    <a:pt x="72" y="533"/>
                  </a:lnTo>
                  <a:lnTo>
                    <a:pt x="3" y="463"/>
                  </a:lnTo>
                  <a:lnTo>
                    <a:pt x="1" y="460"/>
                  </a:lnTo>
                  <a:lnTo>
                    <a:pt x="0" y="457"/>
                  </a:lnTo>
                  <a:lnTo>
                    <a:pt x="1" y="452"/>
                  </a:lnTo>
                  <a:lnTo>
                    <a:pt x="3" y="449"/>
                  </a:lnTo>
                  <a:lnTo>
                    <a:pt x="185" y="268"/>
                  </a:lnTo>
                  <a:lnTo>
                    <a:pt x="3" y="86"/>
                  </a:lnTo>
                  <a:lnTo>
                    <a:pt x="1" y="83"/>
                  </a:lnTo>
                  <a:lnTo>
                    <a:pt x="0" y="79"/>
                  </a:lnTo>
                  <a:lnTo>
                    <a:pt x="1" y="75"/>
                  </a:lnTo>
                  <a:lnTo>
                    <a:pt x="3" y="72"/>
                  </a:lnTo>
                  <a:lnTo>
                    <a:pt x="72" y="2"/>
                  </a:lnTo>
                  <a:lnTo>
                    <a:pt x="75" y="0"/>
                  </a:lnTo>
                  <a:lnTo>
                    <a:pt x="80" y="0"/>
                  </a:lnTo>
                  <a:lnTo>
                    <a:pt x="83" y="0"/>
                  </a:lnTo>
                  <a:lnTo>
                    <a:pt x="86" y="2"/>
                  </a:lnTo>
                  <a:lnTo>
                    <a:pt x="344" y="260"/>
                  </a:lnTo>
                  <a:lnTo>
                    <a:pt x="347" y="263"/>
                  </a:lnTo>
                  <a:lnTo>
                    <a:pt x="348" y="268"/>
                  </a:lnTo>
                  <a:lnTo>
                    <a:pt x="347" y="271"/>
                  </a:lnTo>
                  <a:lnTo>
                    <a:pt x="344" y="274"/>
                  </a:lnTo>
                  <a:lnTo>
                    <a:pt x="86" y="532"/>
                  </a:lnTo>
                  <a:lnTo>
                    <a:pt x="83" y="534"/>
                  </a:lnTo>
                  <a:lnTo>
                    <a:pt x="80"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Box 1">
            <a:extLst>
              <a:ext uri="{FF2B5EF4-FFF2-40B4-BE49-F238E27FC236}">
                <a16:creationId xmlns:a16="http://schemas.microsoft.com/office/drawing/2014/main" id="{6BF4DE67-0C7D-3B38-80C6-7ABB6FEE5DE8}"/>
              </a:ext>
            </a:extLst>
          </p:cNvPr>
          <p:cNvSpPr txBox="1"/>
          <p:nvPr/>
        </p:nvSpPr>
        <p:spPr>
          <a:xfrm>
            <a:off x="599440" y="1229360"/>
            <a:ext cx="10698480" cy="5386090"/>
          </a:xfrm>
          <a:prstGeom prst="rect">
            <a:avLst/>
          </a:prstGeom>
          <a:noFill/>
        </p:spPr>
        <p:txBody>
          <a:bodyPr wrap="square" rtlCol="0">
            <a:spAutoFit/>
          </a:bodyPr>
          <a:lstStyle/>
          <a:p>
            <a:r>
              <a:rPr lang="en-US" sz="2800" b="1" dirty="0">
                <a:latin typeface="Bahnschrift Condensed" panose="020B0502040204020203" pitchFamily="34" charset="0"/>
              </a:rPr>
              <a:t>KEY TAKEAWAYS</a:t>
            </a:r>
          </a:p>
          <a:p>
            <a:endParaRPr lang="en-US" sz="2000" b="1" dirty="0">
              <a:latin typeface="Bahnschrift Condensed" panose="020B0502040204020203" pitchFamily="34" charset="0"/>
            </a:endParaRPr>
          </a:p>
          <a:p>
            <a:endParaRPr lang="en-US" sz="2000" b="1" dirty="0">
              <a:latin typeface="Bahnschrift Condensed" panose="020B0502040204020203" pitchFamily="34" charset="0"/>
            </a:endParaRPr>
          </a:p>
          <a:p>
            <a:pPr marL="342900" indent="-342900">
              <a:buFont typeface="Arial" panose="020B0604020202020204" pitchFamily="34" charset="0"/>
              <a:buChar char="•"/>
            </a:pPr>
            <a:r>
              <a:rPr lang="en-US" sz="2000" b="1" dirty="0">
                <a:latin typeface="Bahnschrift Condensed" panose="020B0502040204020203" pitchFamily="34" charset="0"/>
              </a:rPr>
              <a:t>HIGH OVERALL PRODUCTION : </a:t>
            </a:r>
            <a:r>
              <a:rPr lang="en-US" sz="2000" dirty="0">
                <a:latin typeface="Bahnschrift Condensed" panose="020B0502040204020203" pitchFamily="34" charset="0"/>
              </a:rPr>
              <a:t>A TOTAL MANUFACTURED QUANTITY OF APPROXIMATELY 8.06 MILLION UNITS TRANSLATES TO A SUCCESS RATE OF AROUND 99%. THIS INDICATES STRONG OVERALL PRODUCTION EFFICIENCY.</a:t>
            </a:r>
          </a:p>
          <a:p>
            <a:endParaRPr lang="en-US" sz="2000" dirty="0">
              <a:latin typeface="Bahnschrift Condensed" panose="020B0502040204020203" pitchFamily="34" charset="0"/>
            </a:endParaRPr>
          </a:p>
          <a:p>
            <a:endParaRPr lang="en-US" sz="2000" dirty="0">
              <a:latin typeface="Bahnschrift Condensed" panose="020B0502040204020203" pitchFamily="34" charset="0"/>
            </a:endParaRPr>
          </a:p>
          <a:p>
            <a:pPr marL="342900" indent="-342900">
              <a:buFont typeface="Arial" panose="020B0604020202020204" pitchFamily="34" charset="0"/>
              <a:buChar char="•"/>
            </a:pPr>
            <a:r>
              <a:rPr lang="en-US" sz="2000" b="1" dirty="0">
                <a:latin typeface="Bahnschrift Condensed" panose="020B0502040204020203" pitchFamily="34" charset="0"/>
              </a:rPr>
              <a:t>MINIMAL WASTAGE :</a:t>
            </a:r>
            <a:r>
              <a:rPr lang="en-US" sz="2000" dirty="0">
                <a:latin typeface="Bahnschrift Condensed" panose="020B0502040204020203" pitchFamily="34" charset="0"/>
              </a:rPr>
              <a:t> THE TOTAL REJECTED QUANTITY OF AROUND 524,000 UNITS REPRESENTS ONLY ABOUT 1% OF THE MANUFACTURED QUANTITY. THIS SUGGESTS EFFECTIVE QUALITY CONTROL MEASURES ARE IN PLACE.</a:t>
            </a:r>
          </a:p>
          <a:p>
            <a:endParaRPr lang="en-US" sz="2000" dirty="0">
              <a:latin typeface="Bahnschrift Condensed" panose="020B0502040204020203" pitchFamily="34" charset="0"/>
            </a:endParaRPr>
          </a:p>
          <a:p>
            <a:endParaRPr lang="en-US" sz="2000" dirty="0">
              <a:latin typeface="Bahnschrift Condensed" panose="020B0502040204020203" pitchFamily="34" charset="0"/>
            </a:endParaRPr>
          </a:p>
          <a:p>
            <a:pPr marL="342900" indent="-342900">
              <a:buFont typeface="Arial" panose="020B0604020202020204" pitchFamily="34" charset="0"/>
              <a:buChar char="•"/>
            </a:pPr>
            <a:r>
              <a:rPr lang="en-US" sz="2000" b="1" dirty="0">
                <a:latin typeface="Bahnschrift Condensed" panose="020B0502040204020203" pitchFamily="34" charset="0"/>
              </a:rPr>
              <a:t>INDIVIDUAL PERFORMANCE VARIABILITY : </a:t>
            </a:r>
            <a:r>
              <a:rPr lang="en-US" sz="2000" dirty="0">
                <a:latin typeface="Bahnschrift Condensed" panose="020B0502040204020203" pitchFamily="34" charset="0"/>
              </a:rPr>
              <a:t>SHRUTI SINGH HAD THE HIGHEST NUMBER OF REJECTS, WHILE KALI PRASAD HAD THE LOWEST. THIS HIGHLIGHTS THE POTENTIAL FOR TARGETED TRAINING OR PROCESS ADJUSTMENTS TO IMPROVE INDIVIDUAL PERFORMANCE.</a:t>
            </a:r>
          </a:p>
          <a:p>
            <a:endParaRPr lang="en-US" sz="2000" dirty="0">
              <a:latin typeface="Bahnschrift Condensed" panose="020B0502040204020203" pitchFamily="34" charset="0"/>
            </a:endParaRPr>
          </a:p>
          <a:p>
            <a:endParaRPr lang="en-US" dirty="0">
              <a:latin typeface="Bahnschrift Condensed" panose="020B0502040204020203" pitchFamily="34" charset="0"/>
            </a:endParaRPr>
          </a:p>
          <a:p>
            <a:endParaRPr lang="en-IN" dirty="0"/>
          </a:p>
        </p:txBody>
      </p:sp>
      <p:sp>
        <p:nvSpPr>
          <p:cNvPr id="3" name="Rectangle: Rounded Corners 2">
            <a:extLst>
              <a:ext uri="{FF2B5EF4-FFF2-40B4-BE49-F238E27FC236}">
                <a16:creationId xmlns:a16="http://schemas.microsoft.com/office/drawing/2014/main" id="{61481D86-43BA-3A5C-7E65-4ACDE98DF286}"/>
              </a:ext>
            </a:extLst>
          </p:cNvPr>
          <p:cNvSpPr/>
          <p:nvPr/>
        </p:nvSpPr>
        <p:spPr>
          <a:xfrm>
            <a:off x="91440" y="111760"/>
            <a:ext cx="12019280" cy="843279"/>
          </a:xfrm>
          <a:prstGeom prst="roundRect">
            <a:avLst>
              <a:gd name="adj" fmla="val 13547"/>
            </a:avLst>
          </a:prstGeom>
          <a:gradFill>
            <a:gsLst>
              <a:gs pos="0">
                <a:schemeClr val="accent4"/>
              </a:gs>
              <a:gs pos="100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mj-lt"/>
              </a:rPr>
              <a:t>KEY TAKEAWAYS</a:t>
            </a:r>
            <a:endParaRPr lang="en-ID" sz="3200" b="1" dirty="0">
              <a:solidFill>
                <a:schemeClr val="bg1"/>
              </a:solidFill>
              <a:latin typeface="+mj-lt"/>
            </a:endParaRPr>
          </a:p>
        </p:txBody>
      </p:sp>
    </p:spTree>
    <p:extLst>
      <p:ext uri="{BB962C8B-B14F-4D97-AF65-F5344CB8AC3E}">
        <p14:creationId xmlns:p14="http://schemas.microsoft.com/office/powerpoint/2010/main" val="838286782"/>
      </p:ext>
    </p:extLst>
  </p:cSld>
  <p:clrMapOvr>
    <a:masterClrMapping/>
  </p:clrMapOvr>
  <mc:AlternateContent xmlns:mc="http://schemas.openxmlformats.org/markup-compatibility/2006" xmlns:p14="http://schemas.microsoft.com/office/powerpoint/2010/main">
    <mc:Choice Requires="p14">
      <p:transition spd="slow" p14:dur="1250">
        <p:cover/>
      </p:transition>
    </mc:Choice>
    <mc:Fallback xmlns="">
      <p:transition spd="slow">
        <p:cover/>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EFDE5DB5-4A97-D701-9D04-FF1F8B4DE9BA}"/>
              </a:ext>
            </a:extLst>
          </p:cNvPr>
          <p:cNvSpPr/>
          <p:nvPr/>
        </p:nvSpPr>
        <p:spPr>
          <a:xfrm>
            <a:off x="11865983" y="3076473"/>
            <a:ext cx="652034" cy="652034"/>
          </a:xfrm>
          <a:prstGeom prst="ellipse">
            <a:avLst/>
          </a:prstGeom>
          <a:solidFill>
            <a:srgbClr val="FDBF1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2" name="Group 11">
            <a:extLst>
              <a:ext uri="{FF2B5EF4-FFF2-40B4-BE49-F238E27FC236}">
                <a16:creationId xmlns:a16="http://schemas.microsoft.com/office/drawing/2014/main" id="{CEB11757-CE84-94A6-4E0C-D8847F43721F}"/>
              </a:ext>
            </a:extLst>
          </p:cNvPr>
          <p:cNvGrpSpPr/>
          <p:nvPr/>
        </p:nvGrpSpPr>
        <p:grpSpPr>
          <a:xfrm rot="10800000">
            <a:off x="12052255" y="3307294"/>
            <a:ext cx="279490" cy="251353"/>
            <a:chOff x="7396163" y="4268788"/>
            <a:chExt cx="236538" cy="212725"/>
          </a:xfrm>
          <a:solidFill>
            <a:srgbClr val="44546A"/>
          </a:solidFill>
        </p:grpSpPr>
        <p:sp>
          <p:nvSpPr>
            <p:cNvPr id="13" name="Freeform 385">
              <a:extLst>
                <a:ext uri="{FF2B5EF4-FFF2-40B4-BE49-F238E27FC236}">
                  <a16:creationId xmlns:a16="http://schemas.microsoft.com/office/drawing/2014/main" id="{C971EE70-5A74-51B2-40F4-7664F031E696}"/>
                </a:ext>
              </a:extLst>
            </p:cNvPr>
            <p:cNvSpPr>
              <a:spLocks noEditPoints="1"/>
            </p:cNvSpPr>
            <p:nvPr/>
          </p:nvSpPr>
          <p:spPr bwMode="auto">
            <a:xfrm>
              <a:off x="7396163"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7 w 348"/>
                <a:gd name="T11" fmla="*/ 260 h 535"/>
                <a:gd name="T12" fmla="*/ 209 w 348"/>
                <a:gd name="T13" fmla="*/ 263 h 535"/>
                <a:gd name="T14" fmla="*/ 210 w 348"/>
                <a:gd name="T15" fmla="*/ 268 h 535"/>
                <a:gd name="T16" fmla="*/ 209 w 348"/>
                <a:gd name="T17" fmla="*/ 271 h 535"/>
                <a:gd name="T18" fmla="*/ 207 w 348"/>
                <a:gd name="T19" fmla="*/ 274 h 535"/>
                <a:gd name="T20" fmla="*/ 25 w 348"/>
                <a:gd name="T21" fmla="*/ 457 h 535"/>
                <a:gd name="T22" fmla="*/ 80 w 348"/>
                <a:gd name="T23" fmla="*/ 535 h 535"/>
                <a:gd name="T24" fmla="*/ 77 w 348"/>
                <a:gd name="T25" fmla="*/ 534 h 535"/>
                <a:gd name="T26" fmla="*/ 73 w 348"/>
                <a:gd name="T27" fmla="*/ 533 h 535"/>
                <a:gd name="T28" fmla="*/ 4 w 348"/>
                <a:gd name="T29" fmla="*/ 463 h 535"/>
                <a:gd name="T30" fmla="*/ 2 w 348"/>
                <a:gd name="T31" fmla="*/ 460 h 535"/>
                <a:gd name="T32" fmla="*/ 0 w 348"/>
                <a:gd name="T33" fmla="*/ 457 h 535"/>
                <a:gd name="T34" fmla="*/ 2 w 348"/>
                <a:gd name="T35" fmla="*/ 452 h 535"/>
                <a:gd name="T36" fmla="*/ 4 w 348"/>
                <a:gd name="T37" fmla="*/ 449 h 535"/>
                <a:gd name="T38" fmla="*/ 185 w 348"/>
                <a:gd name="T39" fmla="*/ 268 h 535"/>
                <a:gd name="T40" fmla="*/ 4 w 348"/>
                <a:gd name="T41" fmla="*/ 86 h 535"/>
                <a:gd name="T42" fmla="*/ 2 w 348"/>
                <a:gd name="T43" fmla="*/ 83 h 535"/>
                <a:gd name="T44" fmla="*/ 0 w 348"/>
                <a:gd name="T45" fmla="*/ 79 h 535"/>
                <a:gd name="T46" fmla="*/ 2 w 348"/>
                <a:gd name="T47" fmla="*/ 75 h 535"/>
                <a:gd name="T48" fmla="*/ 4 w 348"/>
                <a:gd name="T49" fmla="*/ 72 h 535"/>
                <a:gd name="T50" fmla="*/ 74 w 348"/>
                <a:gd name="T51" fmla="*/ 2 h 535"/>
                <a:gd name="T52" fmla="*/ 77 w 348"/>
                <a:gd name="T53" fmla="*/ 0 h 535"/>
                <a:gd name="T54" fmla="*/ 80 w 348"/>
                <a:gd name="T55" fmla="*/ 0 h 535"/>
                <a:gd name="T56" fmla="*/ 84 w 348"/>
                <a:gd name="T57" fmla="*/ 0 h 535"/>
                <a:gd name="T58" fmla="*/ 87 w 348"/>
                <a:gd name="T59" fmla="*/ 2 h 535"/>
                <a:gd name="T60" fmla="*/ 346 w 348"/>
                <a:gd name="T61" fmla="*/ 260 h 535"/>
                <a:gd name="T62" fmla="*/ 348 w 348"/>
                <a:gd name="T63" fmla="*/ 263 h 535"/>
                <a:gd name="T64" fmla="*/ 348 w 348"/>
                <a:gd name="T65" fmla="*/ 268 h 535"/>
                <a:gd name="T66" fmla="*/ 348 w 348"/>
                <a:gd name="T67" fmla="*/ 271 h 535"/>
                <a:gd name="T68" fmla="*/ 346 w 348"/>
                <a:gd name="T69" fmla="*/ 274 h 535"/>
                <a:gd name="T70" fmla="*/ 87 w 348"/>
                <a:gd name="T71" fmla="*/ 532 h 535"/>
                <a:gd name="T72" fmla="*/ 84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7" y="260"/>
                  </a:lnTo>
                  <a:lnTo>
                    <a:pt x="209" y="263"/>
                  </a:lnTo>
                  <a:lnTo>
                    <a:pt x="210" y="268"/>
                  </a:lnTo>
                  <a:lnTo>
                    <a:pt x="209" y="271"/>
                  </a:lnTo>
                  <a:lnTo>
                    <a:pt x="207" y="274"/>
                  </a:lnTo>
                  <a:lnTo>
                    <a:pt x="25" y="457"/>
                  </a:lnTo>
                  <a:close/>
                  <a:moveTo>
                    <a:pt x="80" y="535"/>
                  </a:moveTo>
                  <a:lnTo>
                    <a:pt x="77" y="534"/>
                  </a:lnTo>
                  <a:lnTo>
                    <a:pt x="73" y="533"/>
                  </a:lnTo>
                  <a:lnTo>
                    <a:pt x="4" y="463"/>
                  </a:lnTo>
                  <a:lnTo>
                    <a:pt x="2" y="460"/>
                  </a:lnTo>
                  <a:lnTo>
                    <a:pt x="0" y="457"/>
                  </a:lnTo>
                  <a:lnTo>
                    <a:pt x="2" y="452"/>
                  </a:lnTo>
                  <a:lnTo>
                    <a:pt x="4" y="449"/>
                  </a:lnTo>
                  <a:lnTo>
                    <a:pt x="185" y="268"/>
                  </a:lnTo>
                  <a:lnTo>
                    <a:pt x="4" y="86"/>
                  </a:lnTo>
                  <a:lnTo>
                    <a:pt x="2" y="83"/>
                  </a:lnTo>
                  <a:lnTo>
                    <a:pt x="0" y="79"/>
                  </a:lnTo>
                  <a:lnTo>
                    <a:pt x="2" y="75"/>
                  </a:lnTo>
                  <a:lnTo>
                    <a:pt x="4" y="72"/>
                  </a:lnTo>
                  <a:lnTo>
                    <a:pt x="74" y="2"/>
                  </a:lnTo>
                  <a:lnTo>
                    <a:pt x="77" y="0"/>
                  </a:lnTo>
                  <a:lnTo>
                    <a:pt x="80" y="0"/>
                  </a:lnTo>
                  <a:lnTo>
                    <a:pt x="84" y="0"/>
                  </a:lnTo>
                  <a:lnTo>
                    <a:pt x="87" y="2"/>
                  </a:lnTo>
                  <a:lnTo>
                    <a:pt x="346" y="260"/>
                  </a:lnTo>
                  <a:lnTo>
                    <a:pt x="348" y="263"/>
                  </a:lnTo>
                  <a:lnTo>
                    <a:pt x="348" y="268"/>
                  </a:lnTo>
                  <a:lnTo>
                    <a:pt x="348" y="271"/>
                  </a:lnTo>
                  <a:lnTo>
                    <a:pt x="346" y="274"/>
                  </a:lnTo>
                  <a:lnTo>
                    <a:pt x="87" y="532"/>
                  </a:lnTo>
                  <a:lnTo>
                    <a:pt x="84" y="534"/>
                  </a:lnTo>
                  <a:lnTo>
                    <a:pt x="80"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386">
              <a:extLst>
                <a:ext uri="{FF2B5EF4-FFF2-40B4-BE49-F238E27FC236}">
                  <a16:creationId xmlns:a16="http://schemas.microsoft.com/office/drawing/2014/main" id="{C9758D44-57A3-0511-7EE2-B9BA31A9EA59}"/>
                </a:ext>
              </a:extLst>
            </p:cNvPr>
            <p:cNvSpPr>
              <a:spLocks noEditPoints="1"/>
            </p:cNvSpPr>
            <p:nvPr/>
          </p:nvSpPr>
          <p:spPr bwMode="auto">
            <a:xfrm>
              <a:off x="7494588"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6 w 348"/>
                <a:gd name="T11" fmla="*/ 260 h 535"/>
                <a:gd name="T12" fmla="*/ 208 w 348"/>
                <a:gd name="T13" fmla="*/ 263 h 535"/>
                <a:gd name="T14" fmla="*/ 208 w 348"/>
                <a:gd name="T15" fmla="*/ 268 h 535"/>
                <a:gd name="T16" fmla="*/ 208 w 348"/>
                <a:gd name="T17" fmla="*/ 271 h 535"/>
                <a:gd name="T18" fmla="*/ 206 w 348"/>
                <a:gd name="T19" fmla="*/ 274 h 535"/>
                <a:gd name="T20" fmla="*/ 25 w 348"/>
                <a:gd name="T21" fmla="*/ 457 h 535"/>
                <a:gd name="T22" fmla="*/ 80 w 348"/>
                <a:gd name="T23" fmla="*/ 535 h 535"/>
                <a:gd name="T24" fmla="*/ 75 w 348"/>
                <a:gd name="T25" fmla="*/ 534 h 535"/>
                <a:gd name="T26" fmla="*/ 72 w 348"/>
                <a:gd name="T27" fmla="*/ 533 h 535"/>
                <a:gd name="T28" fmla="*/ 3 w 348"/>
                <a:gd name="T29" fmla="*/ 463 h 535"/>
                <a:gd name="T30" fmla="*/ 1 w 348"/>
                <a:gd name="T31" fmla="*/ 460 h 535"/>
                <a:gd name="T32" fmla="*/ 0 w 348"/>
                <a:gd name="T33" fmla="*/ 457 h 535"/>
                <a:gd name="T34" fmla="*/ 1 w 348"/>
                <a:gd name="T35" fmla="*/ 452 h 535"/>
                <a:gd name="T36" fmla="*/ 3 w 348"/>
                <a:gd name="T37" fmla="*/ 449 h 535"/>
                <a:gd name="T38" fmla="*/ 185 w 348"/>
                <a:gd name="T39" fmla="*/ 268 h 535"/>
                <a:gd name="T40" fmla="*/ 3 w 348"/>
                <a:gd name="T41" fmla="*/ 86 h 535"/>
                <a:gd name="T42" fmla="*/ 1 w 348"/>
                <a:gd name="T43" fmla="*/ 83 h 535"/>
                <a:gd name="T44" fmla="*/ 0 w 348"/>
                <a:gd name="T45" fmla="*/ 79 h 535"/>
                <a:gd name="T46" fmla="*/ 1 w 348"/>
                <a:gd name="T47" fmla="*/ 75 h 535"/>
                <a:gd name="T48" fmla="*/ 3 w 348"/>
                <a:gd name="T49" fmla="*/ 72 h 535"/>
                <a:gd name="T50" fmla="*/ 72 w 348"/>
                <a:gd name="T51" fmla="*/ 2 h 535"/>
                <a:gd name="T52" fmla="*/ 75 w 348"/>
                <a:gd name="T53" fmla="*/ 0 h 535"/>
                <a:gd name="T54" fmla="*/ 80 w 348"/>
                <a:gd name="T55" fmla="*/ 0 h 535"/>
                <a:gd name="T56" fmla="*/ 83 w 348"/>
                <a:gd name="T57" fmla="*/ 0 h 535"/>
                <a:gd name="T58" fmla="*/ 86 w 348"/>
                <a:gd name="T59" fmla="*/ 2 h 535"/>
                <a:gd name="T60" fmla="*/ 344 w 348"/>
                <a:gd name="T61" fmla="*/ 260 h 535"/>
                <a:gd name="T62" fmla="*/ 347 w 348"/>
                <a:gd name="T63" fmla="*/ 263 h 535"/>
                <a:gd name="T64" fmla="*/ 348 w 348"/>
                <a:gd name="T65" fmla="*/ 268 h 535"/>
                <a:gd name="T66" fmla="*/ 347 w 348"/>
                <a:gd name="T67" fmla="*/ 271 h 535"/>
                <a:gd name="T68" fmla="*/ 344 w 348"/>
                <a:gd name="T69" fmla="*/ 274 h 535"/>
                <a:gd name="T70" fmla="*/ 86 w 348"/>
                <a:gd name="T71" fmla="*/ 532 h 535"/>
                <a:gd name="T72" fmla="*/ 83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6" y="260"/>
                  </a:lnTo>
                  <a:lnTo>
                    <a:pt x="208" y="263"/>
                  </a:lnTo>
                  <a:lnTo>
                    <a:pt x="208" y="268"/>
                  </a:lnTo>
                  <a:lnTo>
                    <a:pt x="208" y="271"/>
                  </a:lnTo>
                  <a:lnTo>
                    <a:pt x="206" y="274"/>
                  </a:lnTo>
                  <a:lnTo>
                    <a:pt x="25" y="457"/>
                  </a:lnTo>
                  <a:close/>
                  <a:moveTo>
                    <a:pt x="80" y="535"/>
                  </a:moveTo>
                  <a:lnTo>
                    <a:pt x="75" y="534"/>
                  </a:lnTo>
                  <a:lnTo>
                    <a:pt x="72" y="533"/>
                  </a:lnTo>
                  <a:lnTo>
                    <a:pt x="3" y="463"/>
                  </a:lnTo>
                  <a:lnTo>
                    <a:pt x="1" y="460"/>
                  </a:lnTo>
                  <a:lnTo>
                    <a:pt x="0" y="457"/>
                  </a:lnTo>
                  <a:lnTo>
                    <a:pt x="1" y="452"/>
                  </a:lnTo>
                  <a:lnTo>
                    <a:pt x="3" y="449"/>
                  </a:lnTo>
                  <a:lnTo>
                    <a:pt x="185" y="268"/>
                  </a:lnTo>
                  <a:lnTo>
                    <a:pt x="3" y="86"/>
                  </a:lnTo>
                  <a:lnTo>
                    <a:pt x="1" y="83"/>
                  </a:lnTo>
                  <a:lnTo>
                    <a:pt x="0" y="79"/>
                  </a:lnTo>
                  <a:lnTo>
                    <a:pt x="1" y="75"/>
                  </a:lnTo>
                  <a:lnTo>
                    <a:pt x="3" y="72"/>
                  </a:lnTo>
                  <a:lnTo>
                    <a:pt x="72" y="2"/>
                  </a:lnTo>
                  <a:lnTo>
                    <a:pt x="75" y="0"/>
                  </a:lnTo>
                  <a:lnTo>
                    <a:pt x="80" y="0"/>
                  </a:lnTo>
                  <a:lnTo>
                    <a:pt x="83" y="0"/>
                  </a:lnTo>
                  <a:lnTo>
                    <a:pt x="86" y="2"/>
                  </a:lnTo>
                  <a:lnTo>
                    <a:pt x="344" y="260"/>
                  </a:lnTo>
                  <a:lnTo>
                    <a:pt x="347" y="263"/>
                  </a:lnTo>
                  <a:lnTo>
                    <a:pt x="348" y="268"/>
                  </a:lnTo>
                  <a:lnTo>
                    <a:pt x="347" y="271"/>
                  </a:lnTo>
                  <a:lnTo>
                    <a:pt x="344" y="274"/>
                  </a:lnTo>
                  <a:lnTo>
                    <a:pt x="86" y="532"/>
                  </a:lnTo>
                  <a:lnTo>
                    <a:pt x="83" y="534"/>
                  </a:lnTo>
                  <a:lnTo>
                    <a:pt x="80"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Box 1">
            <a:extLst>
              <a:ext uri="{FF2B5EF4-FFF2-40B4-BE49-F238E27FC236}">
                <a16:creationId xmlns:a16="http://schemas.microsoft.com/office/drawing/2014/main" id="{6BF4DE67-0C7D-3B38-80C6-7ABB6FEE5DE8}"/>
              </a:ext>
            </a:extLst>
          </p:cNvPr>
          <p:cNvSpPr txBox="1"/>
          <p:nvPr/>
        </p:nvSpPr>
        <p:spPr>
          <a:xfrm>
            <a:off x="599440" y="1229360"/>
            <a:ext cx="10698480" cy="5386090"/>
          </a:xfrm>
          <a:prstGeom prst="rect">
            <a:avLst/>
          </a:prstGeom>
          <a:noFill/>
        </p:spPr>
        <p:txBody>
          <a:bodyPr wrap="square" rtlCol="0">
            <a:spAutoFit/>
          </a:bodyPr>
          <a:lstStyle/>
          <a:p>
            <a:r>
              <a:rPr lang="en-US" sz="2800" b="1" dirty="0">
                <a:latin typeface="Bahnschrift Condensed" panose="020B0502040204020203" pitchFamily="34" charset="0"/>
              </a:rPr>
              <a:t>KEY TAKEAWAYS</a:t>
            </a:r>
          </a:p>
          <a:p>
            <a:endParaRPr lang="en-US" sz="2000" b="1" dirty="0">
              <a:latin typeface="Bahnschrift Condensed" panose="020B0502040204020203" pitchFamily="34" charset="0"/>
            </a:endParaRPr>
          </a:p>
          <a:p>
            <a:endParaRPr lang="en-US" sz="2000" b="1" dirty="0">
              <a:latin typeface="Bahnschrift Condensed" panose="020B0502040204020203" pitchFamily="34" charset="0"/>
            </a:endParaRPr>
          </a:p>
          <a:p>
            <a:pPr marL="342900" indent="-342900">
              <a:buFont typeface="Arial" panose="020B0604020202020204" pitchFamily="34" charset="0"/>
              <a:buChar char="•"/>
            </a:pPr>
            <a:r>
              <a:rPr lang="en-US" sz="2000" b="1" dirty="0">
                <a:latin typeface="Bahnschrift Condensed" panose="020B0502040204020203" pitchFamily="34" charset="0"/>
              </a:rPr>
              <a:t>MACHINE PERFORMANCE VARIATIONS :</a:t>
            </a:r>
            <a:r>
              <a:rPr lang="en-US" sz="2000" dirty="0">
                <a:latin typeface="Bahnschrift Condensed" panose="020B0502040204020203" pitchFamily="34" charset="0"/>
              </a:rPr>
              <a:t> MACHINE C002 HAD THE HIGHEST NUMBER OF REJECTS, WHILE MACHINE C31 HAD THE LOWEST. INVESTIGATING THE REASONS BEHIND THIS DISPARITY COULD LEAD TO MACHINE-SPECIFIC OPTIMIZATIONS.</a:t>
            </a:r>
          </a:p>
          <a:p>
            <a:endParaRPr lang="en-US" sz="2000" dirty="0">
              <a:latin typeface="Bahnschrift Condensed" panose="020B0502040204020203" pitchFamily="34" charset="0"/>
            </a:endParaRPr>
          </a:p>
          <a:p>
            <a:endParaRPr lang="en-US" sz="2000" dirty="0">
              <a:latin typeface="Bahnschrift Condensed" panose="020B0502040204020203" pitchFamily="34" charset="0"/>
            </a:endParaRPr>
          </a:p>
          <a:p>
            <a:pPr marL="342900" indent="-342900">
              <a:buFont typeface="Arial" panose="020B0604020202020204" pitchFamily="34" charset="0"/>
              <a:buChar char="•"/>
            </a:pPr>
            <a:r>
              <a:rPr lang="en-US" sz="2000" b="1" dirty="0">
                <a:latin typeface="Bahnschrift Condensed" panose="020B0502040204020203" pitchFamily="34" charset="0"/>
              </a:rPr>
              <a:t>PRODUCTION FLUCTUATIONS :</a:t>
            </a:r>
            <a:r>
              <a:rPr lang="en-US" sz="2000" dirty="0">
                <a:latin typeface="Bahnschrift Condensed" panose="020B0502040204020203" pitchFamily="34" charset="0"/>
              </a:rPr>
              <a:t> DAILY PRODUCTION QUANTITIES VARIED SIGNIFICANTLY, WITH THE HIGHEST ON NOVEMBER 10TH (925,2803) AND THE LOWEST ON NOVEMBER 12TH (802,677). UNDERSTANDING THE FACTORS INFLUENCING THESE FLUCTUATIONS CAN HELP WITH PRODUCTION PLANNING AND SCHEDULING.</a:t>
            </a:r>
          </a:p>
          <a:p>
            <a:endParaRPr lang="en-US" sz="2000" dirty="0">
              <a:latin typeface="Bahnschrift Condensed" panose="020B0502040204020203" pitchFamily="34" charset="0"/>
            </a:endParaRPr>
          </a:p>
          <a:p>
            <a:endParaRPr lang="en-US" sz="2000" dirty="0">
              <a:latin typeface="Bahnschrift Condensed" panose="020B0502040204020203" pitchFamily="34" charset="0"/>
            </a:endParaRPr>
          </a:p>
          <a:p>
            <a:pPr marL="342900" indent="-342900">
              <a:buFont typeface="Arial" panose="020B0604020202020204" pitchFamily="34" charset="0"/>
              <a:buChar char="•"/>
            </a:pPr>
            <a:r>
              <a:rPr lang="en-US" sz="2000" b="1" dirty="0">
                <a:latin typeface="Bahnschrift Condensed" panose="020B0502040204020203" pitchFamily="34" charset="0"/>
              </a:rPr>
              <a:t>DEPARTMENTAL VARIATIONS : </a:t>
            </a:r>
            <a:r>
              <a:rPr lang="en-US" sz="2000" dirty="0">
                <a:latin typeface="Bahnschrift Condensed" panose="020B0502040204020203" pitchFamily="34" charset="0"/>
              </a:rPr>
              <a:t>THE PRINTED LABELS DEPARTMENT HAD A MUCH LOWER REJECTION RATE (AROUND 3,000) COMPARED TO THE WOVEN LABELS DEPARTMENT (AROUND 525,000). ANALYZING THESE DEPARTMENTAL DIFFERENCES CAN PROVIDE INSIGHTS FOR IMPROVEMENT STRATEGIES.</a:t>
            </a:r>
          </a:p>
          <a:p>
            <a:endParaRPr lang="en-US" dirty="0">
              <a:latin typeface="Bahnschrift Condensed" panose="020B0502040204020203" pitchFamily="34" charset="0"/>
            </a:endParaRPr>
          </a:p>
          <a:p>
            <a:endParaRPr lang="en-IN" dirty="0"/>
          </a:p>
        </p:txBody>
      </p:sp>
      <p:sp>
        <p:nvSpPr>
          <p:cNvPr id="4" name="Rectangle: Rounded Corners 3">
            <a:extLst>
              <a:ext uri="{FF2B5EF4-FFF2-40B4-BE49-F238E27FC236}">
                <a16:creationId xmlns:a16="http://schemas.microsoft.com/office/drawing/2014/main" id="{1FCE28D2-625F-7DFA-3144-550973237851}"/>
              </a:ext>
            </a:extLst>
          </p:cNvPr>
          <p:cNvSpPr/>
          <p:nvPr/>
        </p:nvSpPr>
        <p:spPr>
          <a:xfrm flipH="1">
            <a:off x="91440" y="152400"/>
            <a:ext cx="12009120" cy="8636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5C646F"/>
                </a:solidFill>
                <a:latin typeface="+mj-lt"/>
              </a:rPr>
              <a:t>KEY TAKEAWAYS</a:t>
            </a:r>
            <a:endParaRPr lang="en-ID" sz="3200" b="1" dirty="0">
              <a:solidFill>
                <a:srgbClr val="5C646F"/>
              </a:solidFill>
              <a:latin typeface="+mj-lt"/>
            </a:endParaRPr>
          </a:p>
        </p:txBody>
      </p:sp>
    </p:spTree>
    <p:extLst>
      <p:ext uri="{BB962C8B-B14F-4D97-AF65-F5344CB8AC3E}">
        <p14:creationId xmlns:p14="http://schemas.microsoft.com/office/powerpoint/2010/main" val="2357404143"/>
      </p:ext>
    </p:extLst>
  </p:cSld>
  <p:clrMapOvr>
    <a:masterClrMapping/>
  </p:clrMapOvr>
  <mc:AlternateContent xmlns:mc="http://schemas.openxmlformats.org/markup-compatibility/2006" xmlns:p14="http://schemas.microsoft.com/office/powerpoint/2010/main">
    <mc:Choice Requires="p14">
      <p:transition spd="slow" p14:dur="1250">
        <p:cover/>
      </p:transition>
    </mc:Choice>
    <mc:Fallback xmlns="">
      <p:transition spd="slow">
        <p:cover/>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135" name="Rectangle 134">
            <a:extLst>
              <a:ext uri="{FF2B5EF4-FFF2-40B4-BE49-F238E27FC236}">
                <a16:creationId xmlns:a16="http://schemas.microsoft.com/office/drawing/2014/main" id="{65948572-934F-4876-96DE-8C1436DEF572}"/>
              </a:ext>
            </a:extLst>
          </p:cNvPr>
          <p:cNvSpPr/>
          <p:nvPr/>
        </p:nvSpPr>
        <p:spPr>
          <a:xfrm>
            <a:off x="0" y="0"/>
            <a:ext cx="12191999" cy="6858000"/>
          </a:xfrm>
          <a:prstGeom prst="rect">
            <a:avLst/>
          </a:prstGeom>
          <a:solidFill>
            <a:schemeClr val="tx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34" name="Freeform 131">
            <a:extLst>
              <a:ext uri="{FF2B5EF4-FFF2-40B4-BE49-F238E27FC236}">
                <a16:creationId xmlns:a16="http://schemas.microsoft.com/office/drawing/2014/main" id="{F04BFBE0-7B0C-4F4A-A96D-225E1D206BA4}"/>
              </a:ext>
            </a:extLst>
          </p:cNvPr>
          <p:cNvSpPr>
            <a:spLocks noEditPoints="1"/>
          </p:cNvSpPr>
          <p:nvPr/>
        </p:nvSpPr>
        <p:spPr bwMode="auto">
          <a:xfrm>
            <a:off x="6475308" y="3567113"/>
            <a:ext cx="5716692" cy="6581774"/>
          </a:xfrm>
          <a:custGeom>
            <a:avLst/>
            <a:gdLst>
              <a:gd name="T0" fmla="*/ 472 w 680"/>
              <a:gd name="T1" fmla="*/ 703 h 784"/>
              <a:gd name="T2" fmla="*/ 510 w 680"/>
              <a:gd name="T3" fmla="*/ 633 h 784"/>
              <a:gd name="T4" fmla="*/ 527 w 680"/>
              <a:gd name="T5" fmla="*/ 618 h 784"/>
              <a:gd name="T6" fmla="*/ 559 w 680"/>
              <a:gd name="T7" fmla="*/ 657 h 784"/>
              <a:gd name="T8" fmla="*/ 551 w 680"/>
              <a:gd name="T9" fmla="*/ 603 h 784"/>
              <a:gd name="T10" fmla="*/ 581 w 680"/>
              <a:gd name="T11" fmla="*/ 564 h 784"/>
              <a:gd name="T12" fmla="*/ 625 w 680"/>
              <a:gd name="T13" fmla="*/ 572 h 784"/>
              <a:gd name="T14" fmla="*/ 679 w 680"/>
              <a:gd name="T15" fmla="*/ 423 h 784"/>
              <a:gd name="T16" fmla="*/ 245 w 680"/>
              <a:gd name="T17" fmla="*/ 55 h 784"/>
              <a:gd name="T18" fmla="*/ 197 w 680"/>
              <a:gd name="T19" fmla="*/ 116 h 784"/>
              <a:gd name="T20" fmla="*/ 139 w 680"/>
              <a:gd name="T21" fmla="*/ 176 h 784"/>
              <a:gd name="T22" fmla="*/ 91 w 680"/>
              <a:gd name="T23" fmla="*/ 199 h 784"/>
              <a:gd name="T24" fmla="*/ 61 w 680"/>
              <a:gd name="T25" fmla="*/ 218 h 784"/>
              <a:gd name="T26" fmla="*/ 38 w 680"/>
              <a:gd name="T27" fmla="*/ 290 h 784"/>
              <a:gd name="T28" fmla="*/ 55 w 680"/>
              <a:gd name="T29" fmla="*/ 350 h 784"/>
              <a:gd name="T30" fmla="*/ 6 w 680"/>
              <a:gd name="T31" fmla="*/ 262 h 784"/>
              <a:gd name="T32" fmla="*/ 492 w 680"/>
              <a:gd name="T33" fmla="*/ 624 h 784"/>
              <a:gd name="T34" fmla="*/ 552 w 680"/>
              <a:gd name="T35" fmla="*/ 574 h 784"/>
              <a:gd name="T36" fmla="*/ 633 w 680"/>
              <a:gd name="T37" fmla="*/ 545 h 784"/>
              <a:gd name="T38" fmla="*/ 641 w 680"/>
              <a:gd name="T39" fmla="*/ 482 h 784"/>
              <a:gd name="T40" fmla="*/ 625 w 680"/>
              <a:gd name="T41" fmla="*/ 439 h 784"/>
              <a:gd name="T42" fmla="*/ 595 w 680"/>
              <a:gd name="T43" fmla="*/ 520 h 784"/>
              <a:gd name="T44" fmla="*/ 561 w 680"/>
              <a:gd name="T45" fmla="*/ 516 h 784"/>
              <a:gd name="T46" fmla="*/ 539 w 680"/>
              <a:gd name="T47" fmla="*/ 439 h 784"/>
              <a:gd name="T48" fmla="*/ 26 w 680"/>
              <a:gd name="T49" fmla="*/ 245 h 784"/>
              <a:gd name="T50" fmla="*/ 44 w 680"/>
              <a:gd name="T51" fmla="*/ 264 h 784"/>
              <a:gd name="T52" fmla="*/ 68 w 680"/>
              <a:gd name="T53" fmla="*/ 289 h 784"/>
              <a:gd name="T54" fmla="*/ 46 w 680"/>
              <a:gd name="T55" fmla="*/ 337 h 784"/>
              <a:gd name="T56" fmla="*/ 75 w 680"/>
              <a:gd name="T57" fmla="*/ 351 h 784"/>
              <a:gd name="T58" fmla="*/ 149 w 680"/>
              <a:gd name="T59" fmla="*/ 200 h 784"/>
              <a:gd name="T60" fmla="*/ 124 w 680"/>
              <a:gd name="T61" fmla="*/ 222 h 784"/>
              <a:gd name="T62" fmla="*/ 95 w 680"/>
              <a:gd name="T63" fmla="*/ 257 h 784"/>
              <a:gd name="T64" fmla="*/ 117 w 680"/>
              <a:gd name="T65" fmla="*/ 400 h 784"/>
              <a:gd name="T66" fmla="*/ 177 w 680"/>
              <a:gd name="T67" fmla="*/ 200 h 784"/>
              <a:gd name="T68" fmla="*/ 181 w 680"/>
              <a:gd name="T69" fmla="*/ 290 h 784"/>
              <a:gd name="T70" fmla="*/ 306 w 680"/>
              <a:gd name="T71" fmla="*/ 205 h 784"/>
              <a:gd name="T72" fmla="*/ 350 w 680"/>
              <a:gd name="T73" fmla="*/ 136 h 784"/>
              <a:gd name="T74" fmla="*/ 366 w 680"/>
              <a:gd name="T75" fmla="*/ 677 h 784"/>
              <a:gd name="T76" fmla="*/ 346 w 680"/>
              <a:gd name="T77" fmla="*/ 657 h 784"/>
              <a:gd name="T78" fmla="*/ 328 w 680"/>
              <a:gd name="T79" fmla="*/ 658 h 784"/>
              <a:gd name="T80" fmla="*/ 368 w 680"/>
              <a:gd name="T81" fmla="*/ 740 h 784"/>
              <a:gd name="T82" fmla="*/ 421 w 680"/>
              <a:gd name="T83" fmla="*/ 663 h 784"/>
              <a:gd name="T84" fmla="*/ 446 w 680"/>
              <a:gd name="T85" fmla="*/ 640 h 784"/>
              <a:gd name="T86" fmla="*/ 451 w 680"/>
              <a:gd name="T87" fmla="*/ 566 h 784"/>
              <a:gd name="T88" fmla="*/ 426 w 680"/>
              <a:gd name="T89" fmla="*/ 681 h 784"/>
              <a:gd name="T90" fmla="*/ 399 w 680"/>
              <a:gd name="T91" fmla="*/ 697 h 784"/>
              <a:gd name="T92" fmla="*/ 437 w 680"/>
              <a:gd name="T93" fmla="*/ 693 h 784"/>
              <a:gd name="T94" fmla="*/ 467 w 680"/>
              <a:gd name="T95" fmla="*/ 683 h 784"/>
              <a:gd name="T96" fmla="*/ 482 w 680"/>
              <a:gd name="T97" fmla="*/ 621 h 784"/>
              <a:gd name="T98" fmla="*/ 499 w 680"/>
              <a:gd name="T99" fmla="*/ 528 h 784"/>
              <a:gd name="T100" fmla="*/ 523 w 680"/>
              <a:gd name="T101" fmla="*/ 458 h 784"/>
              <a:gd name="T102" fmla="*/ 495 w 680"/>
              <a:gd name="T103" fmla="*/ 148 h 784"/>
              <a:gd name="T104" fmla="*/ 461 w 680"/>
              <a:gd name="T105" fmla="*/ 536 h 784"/>
              <a:gd name="T106" fmla="*/ 401 w 680"/>
              <a:gd name="T107" fmla="*/ 117 h 784"/>
              <a:gd name="T108" fmla="*/ 364 w 680"/>
              <a:gd name="T109" fmla="*/ 54 h 784"/>
              <a:gd name="T110" fmla="*/ 314 w 680"/>
              <a:gd name="T111" fmla="*/ 88 h 784"/>
              <a:gd name="T112" fmla="*/ 267 w 680"/>
              <a:gd name="T113" fmla="*/ 262 h 784"/>
              <a:gd name="T114" fmla="*/ 280 w 680"/>
              <a:gd name="T115" fmla="*/ 66 h 784"/>
              <a:gd name="T116" fmla="*/ 241 w 680"/>
              <a:gd name="T117" fmla="*/ 67 h 784"/>
              <a:gd name="T118" fmla="*/ 212 w 680"/>
              <a:gd name="T119" fmla="*/ 179 h 784"/>
              <a:gd name="T120" fmla="*/ 194 w 680"/>
              <a:gd name="T121" fmla="*/ 242 h 784"/>
              <a:gd name="T122" fmla="*/ 222 w 680"/>
              <a:gd name="T123" fmla="*/ 327 h 784"/>
              <a:gd name="T124" fmla="*/ 256 w 680"/>
              <a:gd name="T125" fmla="*/ 133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0" h="784">
                <a:moveTo>
                  <a:pt x="298" y="758"/>
                </a:moveTo>
                <a:cubicBezTo>
                  <a:pt x="300" y="757"/>
                  <a:pt x="304" y="758"/>
                  <a:pt x="305" y="756"/>
                </a:cubicBezTo>
                <a:cubicBezTo>
                  <a:pt x="305" y="756"/>
                  <a:pt x="304" y="755"/>
                  <a:pt x="305" y="755"/>
                </a:cubicBezTo>
                <a:cubicBezTo>
                  <a:pt x="307" y="753"/>
                  <a:pt x="311" y="754"/>
                  <a:pt x="312" y="754"/>
                </a:cubicBezTo>
                <a:cubicBezTo>
                  <a:pt x="324" y="757"/>
                  <a:pt x="318" y="767"/>
                  <a:pt x="306" y="764"/>
                </a:cubicBezTo>
                <a:cubicBezTo>
                  <a:pt x="304" y="763"/>
                  <a:pt x="305" y="762"/>
                  <a:pt x="302" y="762"/>
                </a:cubicBezTo>
                <a:cubicBezTo>
                  <a:pt x="340" y="784"/>
                  <a:pt x="340" y="784"/>
                  <a:pt x="340" y="784"/>
                </a:cubicBezTo>
                <a:cubicBezTo>
                  <a:pt x="340" y="783"/>
                  <a:pt x="341" y="783"/>
                  <a:pt x="341" y="783"/>
                </a:cubicBezTo>
                <a:cubicBezTo>
                  <a:pt x="344" y="782"/>
                  <a:pt x="344" y="782"/>
                  <a:pt x="344" y="782"/>
                </a:cubicBezTo>
                <a:cubicBezTo>
                  <a:pt x="344" y="782"/>
                  <a:pt x="343" y="782"/>
                  <a:pt x="343" y="781"/>
                </a:cubicBezTo>
                <a:cubicBezTo>
                  <a:pt x="344" y="781"/>
                  <a:pt x="344" y="781"/>
                  <a:pt x="344" y="782"/>
                </a:cubicBezTo>
                <a:cubicBezTo>
                  <a:pt x="346" y="781"/>
                  <a:pt x="346" y="781"/>
                  <a:pt x="346" y="781"/>
                </a:cubicBezTo>
                <a:cubicBezTo>
                  <a:pt x="346" y="780"/>
                  <a:pt x="345" y="780"/>
                  <a:pt x="345" y="779"/>
                </a:cubicBezTo>
                <a:cubicBezTo>
                  <a:pt x="345" y="777"/>
                  <a:pt x="351" y="775"/>
                  <a:pt x="354" y="776"/>
                </a:cubicBezTo>
                <a:cubicBezTo>
                  <a:pt x="363" y="770"/>
                  <a:pt x="363" y="770"/>
                  <a:pt x="363" y="770"/>
                </a:cubicBezTo>
                <a:cubicBezTo>
                  <a:pt x="363" y="770"/>
                  <a:pt x="363" y="770"/>
                  <a:pt x="363" y="770"/>
                </a:cubicBezTo>
                <a:cubicBezTo>
                  <a:pt x="363" y="770"/>
                  <a:pt x="360" y="768"/>
                  <a:pt x="361" y="766"/>
                </a:cubicBezTo>
                <a:cubicBezTo>
                  <a:pt x="361" y="765"/>
                  <a:pt x="364" y="765"/>
                  <a:pt x="364" y="765"/>
                </a:cubicBezTo>
                <a:cubicBezTo>
                  <a:pt x="366" y="762"/>
                  <a:pt x="364" y="765"/>
                  <a:pt x="366" y="764"/>
                </a:cubicBezTo>
                <a:cubicBezTo>
                  <a:pt x="366" y="764"/>
                  <a:pt x="367" y="763"/>
                  <a:pt x="367" y="763"/>
                </a:cubicBezTo>
                <a:cubicBezTo>
                  <a:pt x="369" y="763"/>
                  <a:pt x="371" y="764"/>
                  <a:pt x="372" y="766"/>
                </a:cubicBezTo>
                <a:cubicBezTo>
                  <a:pt x="420" y="738"/>
                  <a:pt x="420" y="738"/>
                  <a:pt x="420" y="738"/>
                </a:cubicBezTo>
                <a:cubicBezTo>
                  <a:pt x="420" y="737"/>
                  <a:pt x="419" y="737"/>
                  <a:pt x="419" y="737"/>
                </a:cubicBezTo>
                <a:cubicBezTo>
                  <a:pt x="419" y="735"/>
                  <a:pt x="420" y="737"/>
                  <a:pt x="421" y="737"/>
                </a:cubicBezTo>
                <a:cubicBezTo>
                  <a:pt x="419" y="734"/>
                  <a:pt x="424" y="734"/>
                  <a:pt x="423" y="732"/>
                </a:cubicBezTo>
                <a:cubicBezTo>
                  <a:pt x="425" y="733"/>
                  <a:pt x="426" y="733"/>
                  <a:pt x="428" y="733"/>
                </a:cubicBezTo>
                <a:cubicBezTo>
                  <a:pt x="444" y="724"/>
                  <a:pt x="444" y="724"/>
                  <a:pt x="444" y="724"/>
                </a:cubicBezTo>
                <a:cubicBezTo>
                  <a:pt x="442" y="723"/>
                  <a:pt x="441" y="723"/>
                  <a:pt x="440" y="723"/>
                </a:cubicBezTo>
                <a:cubicBezTo>
                  <a:pt x="439" y="723"/>
                  <a:pt x="439" y="724"/>
                  <a:pt x="438" y="724"/>
                </a:cubicBezTo>
                <a:cubicBezTo>
                  <a:pt x="438" y="724"/>
                  <a:pt x="431" y="722"/>
                  <a:pt x="431" y="721"/>
                </a:cubicBezTo>
                <a:cubicBezTo>
                  <a:pt x="430" y="721"/>
                  <a:pt x="429" y="718"/>
                  <a:pt x="429" y="718"/>
                </a:cubicBezTo>
                <a:cubicBezTo>
                  <a:pt x="429" y="718"/>
                  <a:pt x="428" y="718"/>
                  <a:pt x="428" y="717"/>
                </a:cubicBezTo>
                <a:cubicBezTo>
                  <a:pt x="428" y="716"/>
                  <a:pt x="432" y="715"/>
                  <a:pt x="436" y="715"/>
                </a:cubicBezTo>
                <a:cubicBezTo>
                  <a:pt x="436" y="715"/>
                  <a:pt x="436" y="715"/>
                  <a:pt x="436" y="715"/>
                </a:cubicBezTo>
                <a:cubicBezTo>
                  <a:pt x="436" y="715"/>
                  <a:pt x="436" y="715"/>
                  <a:pt x="436" y="715"/>
                </a:cubicBezTo>
                <a:cubicBezTo>
                  <a:pt x="437" y="715"/>
                  <a:pt x="437" y="715"/>
                  <a:pt x="438" y="715"/>
                </a:cubicBezTo>
                <a:cubicBezTo>
                  <a:pt x="440" y="714"/>
                  <a:pt x="442" y="713"/>
                  <a:pt x="440" y="711"/>
                </a:cubicBezTo>
                <a:cubicBezTo>
                  <a:pt x="441" y="712"/>
                  <a:pt x="437" y="712"/>
                  <a:pt x="437" y="711"/>
                </a:cubicBezTo>
                <a:cubicBezTo>
                  <a:pt x="437" y="711"/>
                  <a:pt x="444" y="710"/>
                  <a:pt x="443" y="708"/>
                </a:cubicBezTo>
                <a:cubicBezTo>
                  <a:pt x="443" y="709"/>
                  <a:pt x="440" y="706"/>
                  <a:pt x="441" y="706"/>
                </a:cubicBezTo>
                <a:cubicBezTo>
                  <a:pt x="441" y="705"/>
                  <a:pt x="444" y="705"/>
                  <a:pt x="446" y="705"/>
                </a:cubicBezTo>
                <a:cubicBezTo>
                  <a:pt x="446" y="705"/>
                  <a:pt x="446" y="704"/>
                  <a:pt x="446" y="704"/>
                </a:cubicBezTo>
                <a:cubicBezTo>
                  <a:pt x="446" y="704"/>
                  <a:pt x="446" y="703"/>
                  <a:pt x="446" y="703"/>
                </a:cubicBezTo>
                <a:cubicBezTo>
                  <a:pt x="445" y="702"/>
                  <a:pt x="444" y="703"/>
                  <a:pt x="445" y="701"/>
                </a:cubicBezTo>
                <a:cubicBezTo>
                  <a:pt x="443" y="702"/>
                  <a:pt x="442" y="702"/>
                  <a:pt x="440" y="703"/>
                </a:cubicBezTo>
                <a:cubicBezTo>
                  <a:pt x="442" y="703"/>
                  <a:pt x="442" y="700"/>
                  <a:pt x="443" y="700"/>
                </a:cubicBezTo>
                <a:cubicBezTo>
                  <a:pt x="446" y="700"/>
                  <a:pt x="443" y="700"/>
                  <a:pt x="442" y="698"/>
                </a:cubicBezTo>
                <a:cubicBezTo>
                  <a:pt x="441" y="699"/>
                  <a:pt x="442" y="699"/>
                  <a:pt x="442" y="700"/>
                </a:cubicBezTo>
                <a:cubicBezTo>
                  <a:pt x="440" y="705"/>
                  <a:pt x="434" y="698"/>
                  <a:pt x="437" y="696"/>
                </a:cubicBezTo>
                <a:cubicBezTo>
                  <a:pt x="438" y="696"/>
                  <a:pt x="441" y="698"/>
                  <a:pt x="441" y="697"/>
                </a:cubicBezTo>
                <a:cubicBezTo>
                  <a:pt x="443" y="697"/>
                  <a:pt x="443" y="696"/>
                  <a:pt x="443" y="694"/>
                </a:cubicBezTo>
                <a:cubicBezTo>
                  <a:pt x="444" y="694"/>
                  <a:pt x="445" y="695"/>
                  <a:pt x="447" y="695"/>
                </a:cubicBezTo>
                <a:cubicBezTo>
                  <a:pt x="447" y="695"/>
                  <a:pt x="446" y="694"/>
                  <a:pt x="447" y="694"/>
                </a:cubicBezTo>
                <a:cubicBezTo>
                  <a:pt x="448" y="692"/>
                  <a:pt x="454" y="695"/>
                  <a:pt x="453" y="693"/>
                </a:cubicBezTo>
                <a:cubicBezTo>
                  <a:pt x="454" y="693"/>
                  <a:pt x="454" y="693"/>
                  <a:pt x="454" y="693"/>
                </a:cubicBezTo>
                <a:cubicBezTo>
                  <a:pt x="454" y="693"/>
                  <a:pt x="454" y="693"/>
                  <a:pt x="454" y="693"/>
                </a:cubicBezTo>
                <a:cubicBezTo>
                  <a:pt x="455" y="693"/>
                  <a:pt x="455" y="693"/>
                  <a:pt x="455" y="693"/>
                </a:cubicBezTo>
                <a:cubicBezTo>
                  <a:pt x="454" y="693"/>
                  <a:pt x="454" y="693"/>
                  <a:pt x="454" y="693"/>
                </a:cubicBezTo>
                <a:cubicBezTo>
                  <a:pt x="455" y="694"/>
                  <a:pt x="456" y="697"/>
                  <a:pt x="457" y="699"/>
                </a:cubicBezTo>
                <a:cubicBezTo>
                  <a:pt x="457" y="700"/>
                  <a:pt x="458" y="700"/>
                  <a:pt x="458" y="701"/>
                </a:cubicBezTo>
                <a:cubicBezTo>
                  <a:pt x="457" y="702"/>
                  <a:pt x="455" y="700"/>
                  <a:pt x="455" y="702"/>
                </a:cubicBezTo>
                <a:cubicBezTo>
                  <a:pt x="455" y="706"/>
                  <a:pt x="463" y="704"/>
                  <a:pt x="461" y="698"/>
                </a:cubicBezTo>
                <a:cubicBezTo>
                  <a:pt x="463" y="700"/>
                  <a:pt x="465" y="701"/>
                  <a:pt x="466" y="703"/>
                </a:cubicBezTo>
                <a:cubicBezTo>
                  <a:pt x="466" y="702"/>
                  <a:pt x="468" y="702"/>
                  <a:pt x="468" y="703"/>
                </a:cubicBezTo>
                <a:cubicBezTo>
                  <a:pt x="469" y="704"/>
                  <a:pt x="467" y="704"/>
                  <a:pt x="466" y="703"/>
                </a:cubicBezTo>
                <a:cubicBezTo>
                  <a:pt x="467" y="704"/>
                  <a:pt x="467" y="704"/>
                  <a:pt x="467" y="705"/>
                </a:cubicBezTo>
                <a:cubicBezTo>
                  <a:pt x="467" y="705"/>
                  <a:pt x="468" y="704"/>
                  <a:pt x="468" y="705"/>
                </a:cubicBezTo>
                <a:cubicBezTo>
                  <a:pt x="468" y="706"/>
                  <a:pt x="467" y="706"/>
                  <a:pt x="467" y="705"/>
                </a:cubicBezTo>
                <a:cubicBezTo>
                  <a:pt x="467" y="706"/>
                  <a:pt x="467" y="706"/>
                  <a:pt x="467" y="707"/>
                </a:cubicBezTo>
                <a:cubicBezTo>
                  <a:pt x="467" y="706"/>
                  <a:pt x="469" y="707"/>
                  <a:pt x="471" y="706"/>
                </a:cubicBezTo>
                <a:cubicBezTo>
                  <a:pt x="471" y="706"/>
                  <a:pt x="471" y="706"/>
                  <a:pt x="471" y="706"/>
                </a:cubicBezTo>
                <a:cubicBezTo>
                  <a:pt x="472" y="706"/>
                  <a:pt x="472" y="706"/>
                  <a:pt x="472" y="706"/>
                </a:cubicBezTo>
                <a:cubicBezTo>
                  <a:pt x="472" y="706"/>
                  <a:pt x="472" y="706"/>
                  <a:pt x="472" y="706"/>
                </a:cubicBezTo>
                <a:cubicBezTo>
                  <a:pt x="472" y="706"/>
                  <a:pt x="473" y="706"/>
                  <a:pt x="474" y="706"/>
                </a:cubicBezTo>
                <a:cubicBezTo>
                  <a:pt x="474" y="706"/>
                  <a:pt x="474" y="705"/>
                  <a:pt x="472" y="705"/>
                </a:cubicBezTo>
                <a:cubicBezTo>
                  <a:pt x="472" y="704"/>
                  <a:pt x="475" y="705"/>
                  <a:pt x="476" y="705"/>
                </a:cubicBezTo>
                <a:cubicBezTo>
                  <a:pt x="476" y="705"/>
                  <a:pt x="476" y="705"/>
                  <a:pt x="476" y="705"/>
                </a:cubicBezTo>
                <a:cubicBezTo>
                  <a:pt x="476" y="705"/>
                  <a:pt x="475" y="704"/>
                  <a:pt x="475" y="704"/>
                </a:cubicBezTo>
                <a:cubicBezTo>
                  <a:pt x="474" y="705"/>
                  <a:pt x="471" y="704"/>
                  <a:pt x="472" y="703"/>
                </a:cubicBezTo>
                <a:cubicBezTo>
                  <a:pt x="473" y="703"/>
                  <a:pt x="473" y="703"/>
                  <a:pt x="473" y="703"/>
                </a:cubicBezTo>
                <a:cubicBezTo>
                  <a:pt x="473" y="703"/>
                  <a:pt x="473" y="703"/>
                  <a:pt x="473" y="702"/>
                </a:cubicBezTo>
                <a:cubicBezTo>
                  <a:pt x="473" y="703"/>
                  <a:pt x="475" y="702"/>
                  <a:pt x="475" y="703"/>
                </a:cubicBezTo>
                <a:cubicBezTo>
                  <a:pt x="474" y="701"/>
                  <a:pt x="472" y="701"/>
                  <a:pt x="472" y="700"/>
                </a:cubicBezTo>
                <a:cubicBezTo>
                  <a:pt x="474" y="698"/>
                  <a:pt x="477" y="703"/>
                  <a:pt x="479" y="702"/>
                </a:cubicBezTo>
                <a:cubicBezTo>
                  <a:pt x="479" y="702"/>
                  <a:pt x="479" y="702"/>
                  <a:pt x="479" y="702"/>
                </a:cubicBezTo>
                <a:cubicBezTo>
                  <a:pt x="479" y="702"/>
                  <a:pt x="479" y="702"/>
                  <a:pt x="479" y="702"/>
                </a:cubicBezTo>
                <a:cubicBezTo>
                  <a:pt x="477" y="700"/>
                  <a:pt x="473" y="698"/>
                  <a:pt x="476" y="697"/>
                </a:cubicBezTo>
                <a:cubicBezTo>
                  <a:pt x="475" y="697"/>
                  <a:pt x="475" y="697"/>
                  <a:pt x="474" y="696"/>
                </a:cubicBezTo>
                <a:cubicBezTo>
                  <a:pt x="474" y="696"/>
                  <a:pt x="474" y="695"/>
                  <a:pt x="474" y="695"/>
                </a:cubicBezTo>
                <a:cubicBezTo>
                  <a:pt x="474" y="695"/>
                  <a:pt x="474" y="695"/>
                  <a:pt x="474" y="695"/>
                </a:cubicBezTo>
                <a:cubicBezTo>
                  <a:pt x="474" y="694"/>
                  <a:pt x="476" y="693"/>
                  <a:pt x="476" y="694"/>
                </a:cubicBezTo>
                <a:cubicBezTo>
                  <a:pt x="479" y="694"/>
                  <a:pt x="485" y="695"/>
                  <a:pt x="481" y="692"/>
                </a:cubicBezTo>
                <a:cubicBezTo>
                  <a:pt x="482" y="693"/>
                  <a:pt x="485" y="690"/>
                  <a:pt x="487" y="693"/>
                </a:cubicBezTo>
                <a:cubicBezTo>
                  <a:pt x="487" y="693"/>
                  <a:pt x="486" y="694"/>
                  <a:pt x="486" y="694"/>
                </a:cubicBezTo>
                <a:cubicBezTo>
                  <a:pt x="487" y="694"/>
                  <a:pt x="494" y="692"/>
                  <a:pt x="494" y="691"/>
                </a:cubicBezTo>
                <a:cubicBezTo>
                  <a:pt x="494" y="691"/>
                  <a:pt x="488" y="688"/>
                  <a:pt x="492" y="687"/>
                </a:cubicBezTo>
                <a:cubicBezTo>
                  <a:pt x="494" y="687"/>
                  <a:pt x="496" y="689"/>
                  <a:pt x="496" y="690"/>
                </a:cubicBezTo>
                <a:cubicBezTo>
                  <a:pt x="496" y="693"/>
                  <a:pt x="499" y="688"/>
                  <a:pt x="499" y="688"/>
                </a:cubicBezTo>
                <a:cubicBezTo>
                  <a:pt x="498" y="686"/>
                  <a:pt x="497" y="688"/>
                  <a:pt x="497" y="686"/>
                </a:cubicBezTo>
                <a:cubicBezTo>
                  <a:pt x="497" y="687"/>
                  <a:pt x="500" y="684"/>
                  <a:pt x="500" y="684"/>
                </a:cubicBezTo>
                <a:cubicBezTo>
                  <a:pt x="501" y="683"/>
                  <a:pt x="500" y="682"/>
                  <a:pt x="503" y="683"/>
                </a:cubicBezTo>
                <a:cubicBezTo>
                  <a:pt x="502" y="683"/>
                  <a:pt x="501" y="682"/>
                  <a:pt x="501" y="681"/>
                </a:cubicBezTo>
                <a:cubicBezTo>
                  <a:pt x="500" y="680"/>
                  <a:pt x="499" y="679"/>
                  <a:pt x="500" y="679"/>
                </a:cubicBezTo>
                <a:cubicBezTo>
                  <a:pt x="500" y="678"/>
                  <a:pt x="500" y="678"/>
                  <a:pt x="501" y="678"/>
                </a:cubicBezTo>
                <a:cubicBezTo>
                  <a:pt x="501" y="678"/>
                  <a:pt x="501" y="678"/>
                  <a:pt x="501" y="678"/>
                </a:cubicBezTo>
                <a:cubicBezTo>
                  <a:pt x="502" y="679"/>
                  <a:pt x="503" y="679"/>
                  <a:pt x="503" y="680"/>
                </a:cubicBezTo>
                <a:cubicBezTo>
                  <a:pt x="503" y="680"/>
                  <a:pt x="503" y="680"/>
                  <a:pt x="504" y="680"/>
                </a:cubicBezTo>
                <a:cubicBezTo>
                  <a:pt x="504" y="680"/>
                  <a:pt x="504" y="680"/>
                  <a:pt x="505" y="679"/>
                </a:cubicBezTo>
                <a:cubicBezTo>
                  <a:pt x="504" y="679"/>
                  <a:pt x="504" y="678"/>
                  <a:pt x="504" y="678"/>
                </a:cubicBezTo>
                <a:cubicBezTo>
                  <a:pt x="505" y="676"/>
                  <a:pt x="508" y="676"/>
                  <a:pt x="509" y="678"/>
                </a:cubicBezTo>
                <a:cubicBezTo>
                  <a:pt x="509" y="677"/>
                  <a:pt x="510" y="677"/>
                  <a:pt x="510" y="677"/>
                </a:cubicBezTo>
                <a:cubicBezTo>
                  <a:pt x="510" y="678"/>
                  <a:pt x="512" y="680"/>
                  <a:pt x="513" y="680"/>
                </a:cubicBezTo>
                <a:cubicBezTo>
                  <a:pt x="513" y="680"/>
                  <a:pt x="513" y="681"/>
                  <a:pt x="513" y="681"/>
                </a:cubicBezTo>
                <a:cubicBezTo>
                  <a:pt x="513" y="681"/>
                  <a:pt x="513" y="681"/>
                  <a:pt x="513" y="682"/>
                </a:cubicBezTo>
                <a:cubicBezTo>
                  <a:pt x="513" y="682"/>
                  <a:pt x="513" y="682"/>
                  <a:pt x="513" y="682"/>
                </a:cubicBezTo>
                <a:cubicBezTo>
                  <a:pt x="516" y="683"/>
                  <a:pt x="514" y="677"/>
                  <a:pt x="517" y="678"/>
                </a:cubicBezTo>
                <a:cubicBezTo>
                  <a:pt x="515" y="678"/>
                  <a:pt x="514" y="677"/>
                  <a:pt x="514" y="676"/>
                </a:cubicBezTo>
                <a:cubicBezTo>
                  <a:pt x="512" y="676"/>
                  <a:pt x="510" y="674"/>
                  <a:pt x="511" y="673"/>
                </a:cubicBezTo>
                <a:cubicBezTo>
                  <a:pt x="509" y="673"/>
                  <a:pt x="506" y="673"/>
                  <a:pt x="507" y="670"/>
                </a:cubicBezTo>
                <a:cubicBezTo>
                  <a:pt x="507" y="670"/>
                  <a:pt x="506" y="670"/>
                  <a:pt x="506" y="670"/>
                </a:cubicBezTo>
                <a:cubicBezTo>
                  <a:pt x="508" y="672"/>
                  <a:pt x="505" y="672"/>
                  <a:pt x="504" y="671"/>
                </a:cubicBezTo>
                <a:cubicBezTo>
                  <a:pt x="504" y="670"/>
                  <a:pt x="505" y="670"/>
                  <a:pt x="505" y="670"/>
                </a:cubicBezTo>
                <a:cubicBezTo>
                  <a:pt x="505" y="669"/>
                  <a:pt x="503" y="669"/>
                  <a:pt x="503" y="668"/>
                </a:cubicBezTo>
                <a:cubicBezTo>
                  <a:pt x="501" y="666"/>
                  <a:pt x="502" y="664"/>
                  <a:pt x="499" y="664"/>
                </a:cubicBezTo>
                <a:cubicBezTo>
                  <a:pt x="496" y="664"/>
                  <a:pt x="496" y="661"/>
                  <a:pt x="494" y="661"/>
                </a:cubicBezTo>
                <a:cubicBezTo>
                  <a:pt x="493" y="662"/>
                  <a:pt x="493" y="669"/>
                  <a:pt x="489" y="666"/>
                </a:cubicBezTo>
                <a:cubicBezTo>
                  <a:pt x="488" y="665"/>
                  <a:pt x="489" y="665"/>
                  <a:pt x="488" y="665"/>
                </a:cubicBezTo>
                <a:cubicBezTo>
                  <a:pt x="486" y="665"/>
                  <a:pt x="480" y="661"/>
                  <a:pt x="486" y="661"/>
                </a:cubicBezTo>
                <a:cubicBezTo>
                  <a:pt x="487" y="661"/>
                  <a:pt x="488" y="662"/>
                  <a:pt x="488" y="662"/>
                </a:cubicBezTo>
                <a:cubicBezTo>
                  <a:pt x="490" y="663"/>
                  <a:pt x="490" y="661"/>
                  <a:pt x="492" y="660"/>
                </a:cubicBezTo>
                <a:cubicBezTo>
                  <a:pt x="493" y="660"/>
                  <a:pt x="493" y="662"/>
                  <a:pt x="494" y="661"/>
                </a:cubicBezTo>
                <a:cubicBezTo>
                  <a:pt x="495" y="659"/>
                  <a:pt x="491" y="658"/>
                  <a:pt x="491" y="658"/>
                </a:cubicBezTo>
                <a:cubicBezTo>
                  <a:pt x="490" y="658"/>
                  <a:pt x="490" y="661"/>
                  <a:pt x="489" y="659"/>
                </a:cubicBezTo>
                <a:cubicBezTo>
                  <a:pt x="489" y="658"/>
                  <a:pt x="491" y="655"/>
                  <a:pt x="491" y="655"/>
                </a:cubicBezTo>
                <a:cubicBezTo>
                  <a:pt x="492" y="652"/>
                  <a:pt x="491" y="653"/>
                  <a:pt x="494" y="652"/>
                </a:cubicBezTo>
                <a:cubicBezTo>
                  <a:pt x="496" y="652"/>
                  <a:pt x="499" y="654"/>
                  <a:pt x="499" y="655"/>
                </a:cubicBezTo>
                <a:cubicBezTo>
                  <a:pt x="501" y="658"/>
                  <a:pt x="500" y="655"/>
                  <a:pt x="501" y="654"/>
                </a:cubicBezTo>
                <a:cubicBezTo>
                  <a:pt x="502" y="653"/>
                  <a:pt x="504" y="653"/>
                  <a:pt x="506" y="654"/>
                </a:cubicBezTo>
                <a:cubicBezTo>
                  <a:pt x="506" y="652"/>
                  <a:pt x="506" y="651"/>
                  <a:pt x="507" y="651"/>
                </a:cubicBezTo>
                <a:cubicBezTo>
                  <a:pt x="507" y="651"/>
                  <a:pt x="507" y="651"/>
                  <a:pt x="506" y="650"/>
                </a:cubicBezTo>
                <a:cubicBezTo>
                  <a:pt x="507" y="650"/>
                  <a:pt x="507" y="651"/>
                  <a:pt x="507" y="651"/>
                </a:cubicBezTo>
                <a:cubicBezTo>
                  <a:pt x="507" y="651"/>
                  <a:pt x="508" y="651"/>
                  <a:pt x="508" y="651"/>
                </a:cubicBezTo>
                <a:cubicBezTo>
                  <a:pt x="505" y="650"/>
                  <a:pt x="516" y="648"/>
                  <a:pt x="513" y="646"/>
                </a:cubicBezTo>
                <a:cubicBezTo>
                  <a:pt x="513" y="645"/>
                  <a:pt x="513" y="645"/>
                  <a:pt x="512" y="645"/>
                </a:cubicBezTo>
                <a:cubicBezTo>
                  <a:pt x="512" y="645"/>
                  <a:pt x="513" y="645"/>
                  <a:pt x="513" y="644"/>
                </a:cubicBezTo>
                <a:cubicBezTo>
                  <a:pt x="513" y="644"/>
                  <a:pt x="513" y="644"/>
                  <a:pt x="513" y="644"/>
                </a:cubicBezTo>
                <a:cubicBezTo>
                  <a:pt x="513" y="643"/>
                  <a:pt x="512" y="642"/>
                  <a:pt x="512" y="641"/>
                </a:cubicBezTo>
                <a:cubicBezTo>
                  <a:pt x="512" y="640"/>
                  <a:pt x="511" y="640"/>
                  <a:pt x="512" y="639"/>
                </a:cubicBezTo>
                <a:cubicBezTo>
                  <a:pt x="512" y="638"/>
                  <a:pt x="513" y="637"/>
                  <a:pt x="515" y="637"/>
                </a:cubicBezTo>
                <a:cubicBezTo>
                  <a:pt x="518" y="636"/>
                  <a:pt x="513" y="635"/>
                  <a:pt x="512" y="636"/>
                </a:cubicBezTo>
                <a:cubicBezTo>
                  <a:pt x="512" y="637"/>
                  <a:pt x="512" y="637"/>
                  <a:pt x="511" y="637"/>
                </a:cubicBezTo>
                <a:cubicBezTo>
                  <a:pt x="511" y="637"/>
                  <a:pt x="510" y="637"/>
                  <a:pt x="510" y="636"/>
                </a:cubicBezTo>
                <a:cubicBezTo>
                  <a:pt x="508" y="636"/>
                  <a:pt x="506" y="635"/>
                  <a:pt x="505" y="635"/>
                </a:cubicBezTo>
                <a:cubicBezTo>
                  <a:pt x="507" y="635"/>
                  <a:pt x="508" y="635"/>
                  <a:pt x="510" y="635"/>
                </a:cubicBezTo>
                <a:cubicBezTo>
                  <a:pt x="510" y="634"/>
                  <a:pt x="510" y="634"/>
                  <a:pt x="510" y="634"/>
                </a:cubicBezTo>
                <a:cubicBezTo>
                  <a:pt x="510" y="634"/>
                  <a:pt x="511" y="634"/>
                  <a:pt x="511" y="635"/>
                </a:cubicBezTo>
                <a:cubicBezTo>
                  <a:pt x="511" y="635"/>
                  <a:pt x="512" y="635"/>
                  <a:pt x="512" y="635"/>
                </a:cubicBezTo>
                <a:cubicBezTo>
                  <a:pt x="512" y="634"/>
                  <a:pt x="510" y="634"/>
                  <a:pt x="510" y="633"/>
                </a:cubicBezTo>
                <a:cubicBezTo>
                  <a:pt x="511" y="634"/>
                  <a:pt x="512" y="634"/>
                  <a:pt x="513" y="633"/>
                </a:cubicBezTo>
                <a:cubicBezTo>
                  <a:pt x="513" y="633"/>
                  <a:pt x="513" y="633"/>
                  <a:pt x="514" y="633"/>
                </a:cubicBezTo>
                <a:cubicBezTo>
                  <a:pt x="514" y="633"/>
                  <a:pt x="514" y="633"/>
                  <a:pt x="514" y="633"/>
                </a:cubicBezTo>
                <a:cubicBezTo>
                  <a:pt x="514" y="632"/>
                  <a:pt x="514" y="632"/>
                  <a:pt x="513" y="631"/>
                </a:cubicBezTo>
                <a:cubicBezTo>
                  <a:pt x="513" y="631"/>
                  <a:pt x="513" y="631"/>
                  <a:pt x="513" y="631"/>
                </a:cubicBezTo>
                <a:cubicBezTo>
                  <a:pt x="513" y="631"/>
                  <a:pt x="513" y="632"/>
                  <a:pt x="513" y="632"/>
                </a:cubicBezTo>
                <a:cubicBezTo>
                  <a:pt x="513" y="632"/>
                  <a:pt x="513" y="632"/>
                  <a:pt x="513" y="632"/>
                </a:cubicBezTo>
                <a:cubicBezTo>
                  <a:pt x="513" y="632"/>
                  <a:pt x="513" y="632"/>
                  <a:pt x="513" y="633"/>
                </a:cubicBezTo>
                <a:cubicBezTo>
                  <a:pt x="513" y="633"/>
                  <a:pt x="513" y="632"/>
                  <a:pt x="512" y="632"/>
                </a:cubicBezTo>
                <a:cubicBezTo>
                  <a:pt x="512" y="632"/>
                  <a:pt x="512" y="632"/>
                  <a:pt x="512" y="632"/>
                </a:cubicBezTo>
                <a:cubicBezTo>
                  <a:pt x="512" y="631"/>
                  <a:pt x="512" y="631"/>
                  <a:pt x="512" y="631"/>
                </a:cubicBezTo>
                <a:cubicBezTo>
                  <a:pt x="511" y="631"/>
                  <a:pt x="510" y="630"/>
                  <a:pt x="510" y="630"/>
                </a:cubicBezTo>
                <a:cubicBezTo>
                  <a:pt x="510" y="630"/>
                  <a:pt x="509" y="631"/>
                  <a:pt x="509" y="632"/>
                </a:cubicBezTo>
                <a:cubicBezTo>
                  <a:pt x="509" y="633"/>
                  <a:pt x="510" y="634"/>
                  <a:pt x="509" y="634"/>
                </a:cubicBezTo>
                <a:cubicBezTo>
                  <a:pt x="509" y="634"/>
                  <a:pt x="509" y="634"/>
                  <a:pt x="508" y="633"/>
                </a:cubicBezTo>
                <a:cubicBezTo>
                  <a:pt x="508" y="634"/>
                  <a:pt x="508" y="634"/>
                  <a:pt x="508" y="634"/>
                </a:cubicBezTo>
                <a:cubicBezTo>
                  <a:pt x="507" y="634"/>
                  <a:pt x="505" y="633"/>
                  <a:pt x="504" y="632"/>
                </a:cubicBezTo>
                <a:cubicBezTo>
                  <a:pt x="504" y="634"/>
                  <a:pt x="503" y="634"/>
                  <a:pt x="500" y="634"/>
                </a:cubicBezTo>
                <a:cubicBezTo>
                  <a:pt x="500" y="634"/>
                  <a:pt x="500" y="634"/>
                  <a:pt x="500" y="634"/>
                </a:cubicBezTo>
                <a:cubicBezTo>
                  <a:pt x="501" y="635"/>
                  <a:pt x="504" y="638"/>
                  <a:pt x="506" y="638"/>
                </a:cubicBezTo>
                <a:cubicBezTo>
                  <a:pt x="506" y="638"/>
                  <a:pt x="511" y="638"/>
                  <a:pt x="508" y="640"/>
                </a:cubicBezTo>
                <a:cubicBezTo>
                  <a:pt x="506" y="640"/>
                  <a:pt x="503" y="636"/>
                  <a:pt x="499" y="635"/>
                </a:cubicBezTo>
                <a:cubicBezTo>
                  <a:pt x="499" y="635"/>
                  <a:pt x="498" y="636"/>
                  <a:pt x="498" y="636"/>
                </a:cubicBezTo>
                <a:cubicBezTo>
                  <a:pt x="497" y="635"/>
                  <a:pt x="497" y="635"/>
                  <a:pt x="497" y="634"/>
                </a:cubicBezTo>
                <a:cubicBezTo>
                  <a:pt x="496" y="634"/>
                  <a:pt x="496" y="634"/>
                  <a:pt x="495" y="633"/>
                </a:cubicBezTo>
                <a:cubicBezTo>
                  <a:pt x="494" y="633"/>
                  <a:pt x="494" y="635"/>
                  <a:pt x="494" y="635"/>
                </a:cubicBezTo>
                <a:cubicBezTo>
                  <a:pt x="494" y="635"/>
                  <a:pt x="491" y="636"/>
                  <a:pt x="491" y="636"/>
                </a:cubicBezTo>
                <a:cubicBezTo>
                  <a:pt x="489" y="635"/>
                  <a:pt x="491" y="632"/>
                  <a:pt x="493" y="632"/>
                </a:cubicBezTo>
                <a:cubicBezTo>
                  <a:pt x="491" y="632"/>
                  <a:pt x="493" y="631"/>
                  <a:pt x="492" y="629"/>
                </a:cubicBezTo>
                <a:cubicBezTo>
                  <a:pt x="492" y="630"/>
                  <a:pt x="487" y="627"/>
                  <a:pt x="488" y="626"/>
                </a:cubicBezTo>
                <a:cubicBezTo>
                  <a:pt x="489" y="625"/>
                  <a:pt x="491" y="627"/>
                  <a:pt x="492" y="628"/>
                </a:cubicBezTo>
                <a:cubicBezTo>
                  <a:pt x="492" y="628"/>
                  <a:pt x="492" y="628"/>
                  <a:pt x="493" y="627"/>
                </a:cubicBezTo>
                <a:cubicBezTo>
                  <a:pt x="492" y="627"/>
                  <a:pt x="492" y="627"/>
                  <a:pt x="492" y="626"/>
                </a:cubicBezTo>
                <a:cubicBezTo>
                  <a:pt x="493" y="626"/>
                  <a:pt x="494" y="626"/>
                  <a:pt x="494" y="626"/>
                </a:cubicBezTo>
                <a:cubicBezTo>
                  <a:pt x="494" y="626"/>
                  <a:pt x="494" y="626"/>
                  <a:pt x="494" y="626"/>
                </a:cubicBezTo>
                <a:cubicBezTo>
                  <a:pt x="495" y="626"/>
                  <a:pt x="495" y="627"/>
                  <a:pt x="495" y="628"/>
                </a:cubicBezTo>
                <a:cubicBezTo>
                  <a:pt x="495" y="630"/>
                  <a:pt x="496" y="629"/>
                  <a:pt x="497" y="628"/>
                </a:cubicBezTo>
                <a:cubicBezTo>
                  <a:pt x="497" y="627"/>
                  <a:pt x="497" y="627"/>
                  <a:pt x="497" y="627"/>
                </a:cubicBezTo>
                <a:cubicBezTo>
                  <a:pt x="498" y="627"/>
                  <a:pt x="498" y="627"/>
                  <a:pt x="498" y="627"/>
                </a:cubicBezTo>
                <a:cubicBezTo>
                  <a:pt x="499" y="627"/>
                  <a:pt x="499" y="627"/>
                  <a:pt x="500" y="627"/>
                </a:cubicBezTo>
                <a:cubicBezTo>
                  <a:pt x="501" y="627"/>
                  <a:pt x="500" y="626"/>
                  <a:pt x="500" y="625"/>
                </a:cubicBezTo>
                <a:cubicBezTo>
                  <a:pt x="501" y="624"/>
                  <a:pt x="502" y="625"/>
                  <a:pt x="503" y="624"/>
                </a:cubicBezTo>
                <a:cubicBezTo>
                  <a:pt x="503" y="624"/>
                  <a:pt x="503" y="624"/>
                  <a:pt x="503" y="624"/>
                </a:cubicBezTo>
                <a:cubicBezTo>
                  <a:pt x="501" y="621"/>
                  <a:pt x="497" y="616"/>
                  <a:pt x="496" y="621"/>
                </a:cubicBezTo>
                <a:cubicBezTo>
                  <a:pt x="496" y="617"/>
                  <a:pt x="492" y="620"/>
                  <a:pt x="491" y="621"/>
                </a:cubicBezTo>
                <a:cubicBezTo>
                  <a:pt x="489" y="621"/>
                  <a:pt x="492" y="620"/>
                  <a:pt x="492" y="620"/>
                </a:cubicBezTo>
                <a:cubicBezTo>
                  <a:pt x="491" y="618"/>
                  <a:pt x="488" y="620"/>
                  <a:pt x="486" y="618"/>
                </a:cubicBezTo>
                <a:cubicBezTo>
                  <a:pt x="486" y="618"/>
                  <a:pt x="485" y="615"/>
                  <a:pt x="485" y="616"/>
                </a:cubicBezTo>
                <a:cubicBezTo>
                  <a:pt x="483" y="615"/>
                  <a:pt x="482" y="617"/>
                  <a:pt x="483" y="615"/>
                </a:cubicBezTo>
                <a:cubicBezTo>
                  <a:pt x="483" y="612"/>
                  <a:pt x="480" y="610"/>
                  <a:pt x="479" y="609"/>
                </a:cubicBezTo>
                <a:cubicBezTo>
                  <a:pt x="479" y="609"/>
                  <a:pt x="480" y="605"/>
                  <a:pt x="478" y="604"/>
                </a:cubicBezTo>
                <a:cubicBezTo>
                  <a:pt x="480" y="609"/>
                  <a:pt x="474" y="610"/>
                  <a:pt x="474" y="608"/>
                </a:cubicBezTo>
                <a:cubicBezTo>
                  <a:pt x="474" y="608"/>
                  <a:pt x="471" y="608"/>
                  <a:pt x="471" y="605"/>
                </a:cubicBezTo>
                <a:cubicBezTo>
                  <a:pt x="472" y="603"/>
                  <a:pt x="472" y="604"/>
                  <a:pt x="471" y="601"/>
                </a:cubicBezTo>
                <a:cubicBezTo>
                  <a:pt x="470" y="599"/>
                  <a:pt x="478" y="604"/>
                  <a:pt x="479" y="603"/>
                </a:cubicBezTo>
                <a:cubicBezTo>
                  <a:pt x="481" y="603"/>
                  <a:pt x="478" y="601"/>
                  <a:pt x="481" y="602"/>
                </a:cubicBezTo>
                <a:cubicBezTo>
                  <a:pt x="487" y="603"/>
                  <a:pt x="499" y="603"/>
                  <a:pt x="499" y="612"/>
                </a:cubicBezTo>
                <a:cubicBezTo>
                  <a:pt x="499" y="614"/>
                  <a:pt x="497" y="615"/>
                  <a:pt x="498" y="617"/>
                </a:cubicBezTo>
                <a:cubicBezTo>
                  <a:pt x="499" y="619"/>
                  <a:pt x="501" y="621"/>
                  <a:pt x="503" y="622"/>
                </a:cubicBezTo>
                <a:cubicBezTo>
                  <a:pt x="503" y="622"/>
                  <a:pt x="503" y="622"/>
                  <a:pt x="503" y="622"/>
                </a:cubicBezTo>
                <a:cubicBezTo>
                  <a:pt x="504" y="622"/>
                  <a:pt x="505" y="623"/>
                  <a:pt x="505" y="622"/>
                </a:cubicBezTo>
                <a:cubicBezTo>
                  <a:pt x="506" y="622"/>
                  <a:pt x="506" y="621"/>
                  <a:pt x="506" y="621"/>
                </a:cubicBezTo>
                <a:cubicBezTo>
                  <a:pt x="506" y="620"/>
                  <a:pt x="505" y="619"/>
                  <a:pt x="506" y="619"/>
                </a:cubicBezTo>
                <a:cubicBezTo>
                  <a:pt x="506" y="619"/>
                  <a:pt x="506" y="619"/>
                  <a:pt x="506" y="619"/>
                </a:cubicBezTo>
                <a:cubicBezTo>
                  <a:pt x="507" y="619"/>
                  <a:pt x="507" y="619"/>
                  <a:pt x="507" y="619"/>
                </a:cubicBezTo>
                <a:cubicBezTo>
                  <a:pt x="508" y="618"/>
                  <a:pt x="510" y="620"/>
                  <a:pt x="510" y="618"/>
                </a:cubicBezTo>
                <a:cubicBezTo>
                  <a:pt x="510" y="619"/>
                  <a:pt x="512" y="620"/>
                  <a:pt x="513" y="620"/>
                </a:cubicBezTo>
                <a:cubicBezTo>
                  <a:pt x="513" y="620"/>
                  <a:pt x="514" y="620"/>
                  <a:pt x="514" y="620"/>
                </a:cubicBezTo>
                <a:cubicBezTo>
                  <a:pt x="514" y="619"/>
                  <a:pt x="513" y="617"/>
                  <a:pt x="513" y="617"/>
                </a:cubicBezTo>
                <a:cubicBezTo>
                  <a:pt x="514" y="616"/>
                  <a:pt x="516" y="618"/>
                  <a:pt x="517" y="620"/>
                </a:cubicBezTo>
                <a:cubicBezTo>
                  <a:pt x="517" y="620"/>
                  <a:pt x="518" y="621"/>
                  <a:pt x="518" y="620"/>
                </a:cubicBezTo>
                <a:cubicBezTo>
                  <a:pt x="518" y="620"/>
                  <a:pt x="514" y="615"/>
                  <a:pt x="517" y="615"/>
                </a:cubicBezTo>
                <a:cubicBezTo>
                  <a:pt x="517" y="615"/>
                  <a:pt x="517" y="615"/>
                  <a:pt x="517" y="614"/>
                </a:cubicBezTo>
                <a:cubicBezTo>
                  <a:pt x="517" y="615"/>
                  <a:pt x="516" y="612"/>
                  <a:pt x="516" y="612"/>
                </a:cubicBezTo>
                <a:cubicBezTo>
                  <a:pt x="518" y="610"/>
                  <a:pt x="520" y="614"/>
                  <a:pt x="522" y="615"/>
                </a:cubicBezTo>
                <a:cubicBezTo>
                  <a:pt x="523" y="614"/>
                  <a:pt x="524" y="613"/>
                  <a:pt x="525" y="614"/>
                </a:cubicBezTo>
                <a:cubicBezTo>
                  <a:pt x="525" y="614"/>
                  <a:pt x="526" y="615"/>
                  <a:pt x="526" y="615"/>
                </a:cubicBezTo>
                <a:cubicBezTo>
                  <a:pt x="526" y="615"/>
                  <a:pt x="526" y="615"/>
                  <a:pt x="527" y="616"/>
                </a:cubicBezTo>
                <a:cubicBezTo>
                  <a:pt x="527" y="616"/>
                  <a:pt x="527" y="617"/>
                  <a:pt x="527" y="618"/>
                </a:cubicBezTo>
                <a:cubicBezTo>
                  <a:pt x="526" y="618"/>
                  <a:pt x="526" y="618"/>
                  <a:pt x="525" y="618"/>
                </a:cubicBezTo>
                <a:cubicBezTo>
                  <a:pt x="525" y="618"/>
                  <a:pt x="525" y="618"/>
                  <a:pt x="525" y="618"/>
                </a:cubicBezTo>
                <a:cubicBezTo>
                  <a:pt x="527" y="619"/>
                  <a:pt x="529" y="619"/>
                  <a:pt x="530" y="621"/>
                </a:cubicBezTo>
                <a:cubicBezTo>
                  <a:pt x="531" y="622"/>
                  <a:pt x="531" y="622"/>
                  <a:pt x="531" y="622"/>
                </a:cubicBezTo>
                <a:cubicBezTo>
                  <a:pt x="532" y="622"/>
                  <a:pt x="532" y="622"/>
                  <a:pt x="532" y="621"/>
                </a:cubicBezTo>
                <a:cubicBezTo>
                  <a:pt x="531" y="620"/>
                  <a:pt x="531" y="619"/>
                  <a:pt x="530" y="617"/>
                </a:cubicBezTo>
                <a:cubicBezTo>
                  <a:pt x="531" y="618"/>
                  <a:pt x="532" y="620"/>
                  <a:pt x="533" y="621"/>
                </a:cubicBezTo>
                <a:cubicBezTo>
                  <a:pt x="533" y="621"/>
                  <a:pt x="533" y="621"/>
                  <a:pt x="533" y="621"/>
                </a:cubicBezTo>
                <a:cubicBezTo>
                  <a:pt x="533" y="621"/>
                  <a:pt x="533" y="620"/>
                  <a:pt x="533" y="620"/>
                </a:cubicBezTo>
                <a:cubicBezTo>
                  <a:pt x="534" y="620"/>
                  <a:pt x="534" y="622"/>
                  <a:pt x="534" y="622"/>
                </a:cubicBezTo>
                <a:cubicBezTo>
                  <a:pt x="535" y="623"/>
                  <a:pt x="536" y="627"/>
                  <a:pt x="537" y="628"/>
                </a:cubicBezTo>
                <a:cubicBezTo>
                  <a:pt x="537" y="628"/>
                  <a:pt x="537" y="627"/>
                  <a:pt x="537" y="627"/>
                </a:cubicBezTo>
                <a:cubicBezTo>
                  <a:pt x="538" y="626"/>
                  <a:pt x="539" y="627"/>
                  <a:pt x="540" y="627"/>
                </a:cubicBezTo>
                <a:cubicBezTo>
                  <a:pt x="540" y="627"/>
                  <a:pt x="540" y="627"/>
                  <a:pt x="541" y="627"/>
                </a:cubicBezTo>
                <a:cubicBezTo>
                  <a:pt x="542" y="628"/>
                  <a:pt x="543" y="630"/>
                  <a:pt x="543" y="631"/>
                </a:cubicBezTo>
                <a:cubicBezTo>
                  <a:pt x="543" y="631"/>
                  <a:pt x="542" y="631"/>
                  <a:pt x="542" y="631"/>
                </a:cubicBezTo>
                <a:cubicBezTo>
                  <a:pt x="542" y="631"/>
                  <a:pt x="542" y="631"/>
                  <a:pt x="542" y="631"/>
                </a:cubicBezTo>
                <a:cubicBezTo>
                  <a:pt x="542" y="631"/>
                  <a:pt x="542" y="632"/>
                  <a:pt x="542" y="632"/>
                </a:cubicBezTo>
                <a:cubicBezTo>
                  <a:pt x="540" y="633"/>
                  <a:pt x="541" y="631"/>
                  <a:pt x="541" y="630"/>
                </a:cubicBezTo>
                <a:cubicBezTo>
                  <a:pt x="541" y="630"/>
                  <a:pt x="540" y="630"/>
                  <a:pt x="540" y="630"/>
                </a:cubicBezTo>
                <a:cubicBezTo>
                  <a:pt x="540" y="631"/>
                  <a:pt x="540" y="631"/>
                  <a:pt x="540" y="632"/>
                </a:cubicBezTo>
                <a:cubicBezTo>
                  <a:pt x="541" y="633"/>
                  <a:pt x="540" y="633"/>
                  <a:pt x="539" y="632"/>
                </a:cubicBezTo>
                <a:cubicBezTo>
                  <a:pt x="538" y="635"/>
                  <a:pt x="537" y="640"/>
                  <a:pt x="537" y="640"/>
                </a:cubicBezTo>
                <a:cubicBezTo>
                  <a:pt x="537" y="641"/>
                  <a:pt x="544" y="646"/>
                  <a:pt x="539" y="644"/>
                </a:cubicBezTo>
                <a:cubicBezTo>
                  <a:pt x="539" y="644"/>
                  <a:pt x="539" y="645"/>
                  <a:pt x="539" y="645"/>
                </a:cubicBezTo>
                <a:cubicBezTo>
                  <a:pt x="539" y="645"/>
                  <a:pt x="539" y="645"/>
                  <a:pt x="539" y="645"/>
                </a:cubicBezTo>
                <a:cubicBezTo>
                  <a:pt x="540" y="645"/>
                  <a:pt x="540" y="646"/>
                  <a:pt x="539" y="646"/>
                </a:cubicBezTo>
                <a:cubicBezTo>
                  <a:pt x="539" y="646"/>
                  <a:pt x="540" y="646"/>
                  <a:pt x="540" y="646"/>
                </a:cubicBezTo>
                <a:cubicBezTo>
                  <a:pt x="540" y="647"/>
                  <a:pt x="539" y="648"/>
                  <a:pt x="538" y="647"/>
                </a:cubicBezTo>
                <a:cubicBezTo>
                  <a:pt x="537" y="648"/>
                  <a:pt x="537" y="648"/>
                  <a:pt x="536" y="649"/>
                </a:cubicBezTo>
                <a:cubicBezTo>
                  <a:pt x="536" y="648"/>
                  <a:pt x="535" y="651"/>
                  <a:pt x="535" y="650"/>
                </a:cubicBezTo>
                <a:cubicBezTo>
                  <a:pt x="534" y="651"/>
                  <a:pt x="532" y="649"/>
                  <a:pt x="532" y="649"/>
                </a:cubicBezTo>
                <a:cubicBezTo>
                  <a:pt x="532" y="648"/>
                  <a:pt x="531" y="648"/>
                  <a:pt x="530" y="648"/>
                </a:cubicBezTo>
                <a:cubicBezTo>
                  <a:pt x="532" y="649"/>
                  <a:pt x="532" y="649"/>
                  <a:pt x="531" y="651"/>
                </a:cubicBezTo>
                <a:cubicBezTo>
                  <a:pt x="531" y="651"/>
                  <a:pt x="531" y="651"/>
                  <a:pt x="530" y="651"/>
                </a:cubicBezTo>
                <a:cubicBezTo>
                  <a:pt x="530" y="653"/>
                  <a:pt x="529" y="653"/>
                  <a:pt x="527" y="652"/>
                </a:cubicBezTo>
                <a:cubicBezTo>
                  <a:pt x="527" y="652"/>
                  <a:pt x="527" y="651"/>
                  <a:pt x="527" y="650"/>
                </a:cubicBezTo>
                <a:cubicBezTo>
                  <a:pt x="527" y="650"/>
                  <a:pt x="525" y="649"/>
                  <a:pt x="525" y="648"/>
                </a:cubicBezTo>
                <a:cubicBezTo>
                  <a:pt x="526" y="648"/>
                  <a:pt x="527" y="647"/>
                  <a:pt x="527" y="647"/>
                </a:cubicBezTo>
                <a:cubicBezTo>
                  <a:pt x="527" y="645"/>
                  <a:pt x="524" y="647"/>
                  <a:pt x="525" y="644"/>
                </a:cubicBezTo>
                <a:cubicBezTo>
                  <a:pt x="524" y="646"/>
                  <a:pt x="521" y="646"/>
                  <a:pt x="520" y="649"/>
                </a:cubicBezTo>
                <a:cubicBezTo>
                  <a:pt x="520" y="649"/>
                  <a:pt x="520" y="654"/>
                  <a:pt x="521" y="655"/>
                </a:cubicBezTo>
                <a:cubicBezTo>
                  <a:pt x="522" y="655"/>
                  <a:pt x="522" y="654"/>
                  <a:pt x="523" y="655"/>
                </a:cubicBezTo>
                <a:cubicBezTo>
                  <a:pt x="523" y="655"/>
                  <a:pt x="523" y="655"/>
                  <a:pt x="523" y="655"/>
                </a:cubicBezTo>
                <a:cubicBezTo>
                  <a:pt x="523" y="655"/>
                  <a:pt x="523" y="655"/>
                  <a:pt x="523" y="655"/>
                </a:cubicBezTo>
                <a:cubicBezTo>
                  <a:pt x="523" y="655"/>
                  <a:pt x="523" y="655"/>
                  <a:pt x="523" y="655"/>
                </a:cubicBezTo>
                <a:cubicBezTo>
                  <a:pt x="523" y="655"/>
                  <a:pt x="523" y="655"/>
                  <a:pt x="523" y="655"/>
                </a:cubicBezTo>
                <a:cubicBezTo>
                  <a:pt x="523" y="656"/>
                  <a:pt x="521" y="658"/>
                  <a:pt x="522" y="660"/>
                </a:cubicBezTo>
                <a:cubicBezTo>
                  <a:pt x="522" y="659"/>
                  <a:pt x="523" y="661"/>
                  <a:pt x="523" y="661"/>
                </a:cubicBezTo>
                <a:cubicBezTo>
                  <a:pt x="524" y="661"/>
                  <a:pt x="524" y="660"/>
                  <a:pt x="523" y="660"/>
                </a:cubicBezTo>
                <a:cubicBezTo>
                  <a:pt x="523" y="659"/>
                  <a:pt x="522" y="659"/>
                  <a:pt x="522" y="658"/>
                </a:cubicBezTo>
                <a:cubicBezTo>
                  <a:pt x="523" y="658"/>
                  <a:pt x="523" y="658"/>
                  <a:pt x="524" y="659"/>
                </a:cubicBezTo>
                <a:cubicBezTo>
                  <a:pt x="525" y="658"/>
                  <a:pt x="526" y="660"/>
                  <a:pt x="527" y="660"/>
                </a:cubicBezTo>
                <a:cubicBezTo>
                  <a:pt x="529" y="660"/>
                  <a:pt x="528" y="659"/>
                  <a:pt x="530" y="659"/>
                </a:cubicBezTo>
                <a:cubicBezTo>
                  <a:pt x="528" y="661"/>
                  <a:pt x="529" y="660"/>
                  <a:pt x="531" y="661"/>
                </a:cubicBezTo>
                <a:cubicBezTo>
                  <a:pt x="531" y="660"/>
                  <a:pt x="531" y="660"/>
                  <a:pt x="531" y="661"/>
                </a:cubicBezTo>
                <a:cubicBezTo>
                  <a:pt x="531" y="661"/>
                  <a:pt x="532" y="661"/>
                  <a:pt x="532" y="661"/>
                </a:cubicBezTo>
                <a:cubicBezTo>
                  <a:pt x="532" y="661"/>
                  <a:pt x="532" y="661"/>
                  <a:pt x="532" y="661"/>
                </a:cubicBezTo>
                <a:cubicBezTo>
                  <a:pt x="532" y="661"/>
                  <a:pt x="532" y="661"/>
                  <a:pt x="532" y="661"/>
                </a:cubicBezTo>
                <a:cubicBezTo>
                  <a:pt x="534" y="662"/>
                  <a:pt x="535" y="664"/>
                  <a:pt x="536" y="664"/>
                </a:cubicBezTo>
                <a:cubicBezTo>
                  <a:pt x="537" y="664"/>
                  <a:pt x="537" y="664"/>
                  <a:pt x="537" y="664"/>
                </a:cubicBezTo>
                <a:cubicBezTo>
                  <a:pt x="537" y="664"/>
                  <a:pt x="537" y="664"/>
                  <a:pt x="538" y="665"/>
                </a:cubicBezTo>
                <a:cubicBezTo>
                  <a:pt x="538" y="665"/>
                  <a:pt x="538" y="665"/>
                  <a:pt x="539" y="666"/>
                </a:cubicBezTo>
                <a:cubicBezTo>
                  <a:pt x="538" y="665"/>
                  <a:pt x="538" y="663"/>
                  <a:pt x="539" y="662"/>
                </a:cubicBezTo>
                <a:cubicBezTo>
                  <a:pt x="541" y="661"/>
                  <a:pt x="542" y="663"/>
                  <a:pt x="544" y="663"/>
                </a:cubicBezTo>
                <a:cubicBezTo>
                  <a:pt x="544" y="663"/>
                  <a:pt x="545" y="661"/>
                  <a:pt x="546" y="661"/>
                </a:cubicBezTo>
                <a:cubicBezTo>
                  <a:pt x="546" y="660"/>
                  <a:pt x="545" y="658"/>
                  <a:pt x="545" y="656"/>
                </a:cubicBezTo>
                <a:cubicBezTo>
                  <a:pt x="546" y="656"/>
                  <a:pt x="546" y="659"/>
                  <a:pt x="547" y="659"/>
                </a:cubicBezTo>
                <a:cubicBezTo>
                  <a:pt x="547" y="659"/>
                  <a:pt x="547" y="658"/>
                  <a:pt x="547" y="658"/>
                </a:cubicBezTo>
                <a:cubicBezTo>
                  <a:pt x="547" y="658"/>
                  <a:pt x="547" y="658"/>
                  <a:pt x="547" y="658"/>
                </a:cubicBezTo>
                <a:cubicBezTo>
                  <a:pt x="547" y="658"/>
                  <a:pt x="546" y="657"/>
                  <a:pt x="546" y="656"/>
                </a:cubicBezTo>
                <a:cubicBezTo>
                  <a:pt x="547" y="655"/>
                  <a:pt x="548" y="655"/>
                  <a:pt x="548" y="656"/>
                </a:cubicBezTo>
                <a:cubicBezTo>
                  <a:pt x="549" y="655"/>
                  <a:pt x="550" y="655"/>
                  <a:pt x="551" y="656"/>
                </a:cubicBezTo>
                <a:cubicBezTo>
                  <a:pt x="552" y="656"/>
                  <a:pt x="552" y="656"/>
                  <a:pt x="552" y="657"/>
                </a:cubicBezTo>
                <a:cubicBezTo>
                  <a:pt x="552" y="658"/>
                  <a:pt x="552" y="659"/>
                  <a:pt x="552" y="660"/>
                </a:cubicBezTo>
                <a:cubicBezTo>
                  <a:pt x="552" y="660"/>
                  <a:pt x="552" y="661"/>
                  <a:pt x="552" y="661"/>
                </a:cubicBezTo>
                <a:cubicBezTo>
                  <a:pt x="556" y="659"/>
                  <a:pt x="556" y="659"/>
                  <a:pt x="556" y="659"/>
                </a:cubicBezTo>
                <a:cubicBezTo>
                  <a:pt x="556" y="659"/>
                  <a:pt x="556" y="659"/>
                  <a:pt x="557" y="659"/>
                </a:cubicBezTo>
                <a:cubicBezTo>
                  <a:pt x="559" y="657"/>
                  <a:pt x="559" y="657"/>
                  <a:pt x="559" y="657"/>
                </a:cubicBezTo>
                <a:cubicBezTo>
                  <a:pt x="559" y="657"/>
                  <a:pt x="559" y="656"/>
                  <a:pt x="558" y="656"/>
                </a:cubicBezTo>
                <a:cubicBezTo>
                  <a:pt x="558" y="656"/>
                  <a:pt x="557" y="656"/>
                  <a:pt x="556" y="655"/>
                </a:cubicBezTo>
                <a:cubicBezTo>
                  <a:pt x="556" y="655"/>
                  <a:pt x="556" y="655"/>
                  <a:pt x="555" y="656"/>
                </a:cubicBezTo>
                <a:cubicBezTo>
                  <a:pt x="556" y="656"/>
                  <a:pt x="556" y="655"/>
                  <a:pt x="556" y="655"/>
                </a:cubicBezTo>
                <a:cubicBezTo>
                  <a:pt x="556" y="655"/>
                  <a:pt x="555" y="655"/>
                  <a:pt x="555" y="654"/>
                </a:cubicBezTo>
                <a:cubicBezTo>
                  <a:pt x="555" y="654"/>
                  <a:pt x="557" y="653"/>
                  <a:pt x="557" y="653"/>
                </a:cubicBezTo>
                <a:cubicBezTo>
                  <a:pt x="557" y="652"/>
                  <a:pt x="556" y="651"/>
                  <a:pt x="556" y="650"/>
                </a:cubicBezTo>
                <a:cubicBezTo>
                  <a:pt x="555" y="651"/>
                  <a:pt x="554" y="652"/>
                  <a:pt x="553" y="652"/>
                </a:cubicBezTo>
                <a:cubicBezTo>
                  <a:pt x="553" y="652"/>
                  <a:pt x="553" y="653"/>
                  <a:pt x="553" y="653"/>
                </a:cubicBezTo>
                <a:cubicBezTo>
                  <a:pt x="552" y="653"/>
                  <a:pt x="552" y="652"/>
                  <a:pt x="552" y="652"/>
                </a:cubicBezTo>
                <a:cubicBezTo>
                  <a:pt x="552" y="652"/>
                  <a:pt x="551" y="652"/>
                  <a:pt x="551" y="652"/>
                </a:cubicBezTo>
                <a:cubicBezTo>
                  <a:pt x="551" y="652"/>
                  <a:pt x="551" y="652"/>
                  <a:pt x="551" y="652"/>
                </a:cubicBezTo>
                <a:cubicBezTo>
                  <a:pt x="551" y="653"/>
                  <a:pt x="550" y="653"/>
                  <a:pt x="550" y="653"/>
                </a:cubicBezTo>
                <a:cubicBezTo>
                  <a:pt x="550" y="653"/>
                  <a:pt x="550" y="652"/>
                  <a:pt x="550" y="652"/>
                </a:cubicBezTo>
                <a:cubicBezTo>
                  <a:pt x="548" y="652"/>
                  <a:pt x="546" y="651"/>
                  <a:pt x="545" y="649"/>
                </a:cubicBezTo>
                <a:cubicBezTo>
                  <a:pt x="544" y="648"/>
                  <a:pt x="544" y="647"/>
                  <a:pt x="544" y="646"/>
                </a:cubicBezTo>
                <a:cubicBezTo>
                  <a:pt x="543" y="646"/>
                  <a:pt x="541" y="644"/>
                  <a:pt x="542" y="643"/>
                </a:cubicBezTo>
                <a:cubicBezTo>
                  <a:pt x="543" y="643"/>
                  <a:pt x="544" y="643"/>
                  <a:pt x="544" y="644"/>
                </a:cubicBezTo>
                <a:cubicBezTo>
                  <a:pt x="544" y="644"/>
                  <a:pt x="544" y="644"/>
                  <a:pt x="544" y="643"/>
                </a:cubicBezTo>
                <a:cubicBezTo>
                  <a:pt x="544" y="643"/>
                  <a:pt x="544" y="643"/>
                  <a:pt x="544" y="643"/>
                </a:cubicBezTo>
                <a:cubicBezTo>
                  <a:pt x="545" y="641"/>
                  <a:pt x="546" y="640"/>
                  <a:pt x="548" y="638"/>
                </a:cubicBezTo>
                <a:cubicBezTo>
                  <a:pt x="548" y="638"/>
                  <a:pt x="548" y="638"/>
                  <a:pt x="548" y="638"/>
                </a:cubicBezTo>
                <a:cubicBezTo>
                  <a:pt x="548" y="638"/>
                  <a:pt x="548" y="638"/>
                  <a:pt x="548" y="638"/>
                </a:cubicBezTo>
                <a:cubicBezTo>
                  <a:pt x="549" y="637"/>
                  <a:pt x="549" y="637"/>
                  <a:pt x="549" y="638"/>
                </a:cubicBezTo>
                <a:cubicBezTo>
                  <a:pt x="551" y="637"/>
                  <a:pt x="554" y="636"/>
                  <a:pt x="556" y="638"/>
                </a:cubicBezTo>
                <a:cubicBezTo>
                  <a:pt x="556" y="638"/>
                  <a:pt x="558" y="640"/>
                  <a:pt x="558" y="640"/>
                </a:cubicBezTo>
                <a:cubicBezTo>
                  <a:pt x="558" y="640"/>
                  <a:pt x="557" y="642"/>
                  <a:pt x="557" y="642"/>
                </a:cubicBezTo>
                <a:cubicBezTo>
                  <a:pt x="557" y="642"/>
                  <a:pt x="557" y="642"/>
                  <a:pt x="557" y="642"/>
                </a:cubicBezTo>
                <a:cubicBezTo>
                  <a:pt x="558" y="642"/>
                  <a:pt x="558" y="643"/>
                  <a:pt x="559" y="644"/>
                </a:cubicBezTo>
                <a:cubicBezTo>
                  <a:pt x="559" y="643"/>
                  <a:pt x="559" y="643"/>
                  <a:pt x="559" y="643"/>
                </a:cubicBezTo>
                <a:cubicBezTo>
                  <a:pt x="560" y="642"/>
                  <a:pt x="561" y="644"/>
                  <a:pt x="560" y="644"/>
                </a:cubicBezTo>
                <a:cubicBezTo>
                  <a:pt x="559" y="644"/>
                  <a:pt x="559" y="644"/>
                  <a:pt x="559" y="644"/>
                </a:cubicBezTo>
                <a:cubicBezTo>
                  <a:pt x="560" y="645"/>
                  <a:pt x="561" y="646"/>
                  <a:pt x="562" y="645"/>
                </a:cubicBezTo>
                <a:cubicBezTo>
                  <a:pt x="563" y="645"/>
                  <a:pt x="561" y="642"/>
                  <a:pt x="564" y="642"/>
                </a:cubicBezTo>
                <a:cubicBezTo>
                  <a:pt x="562" y="645"/>
                  <a:pt x="564" y="643"/>
                  <a:pt x="567" y="645"/>
                </a:cubicBezTo>
                <a:cubicBezTo>
                  <a:pt x="570" y="646"/>
                  <a:pt x="569" y="646"/>
                  <a:pt x="567" y="643"/>
                </a:cubicBezTo>
                <a:cubicBezTo>
                  <a:pt x="566" y="641"/>
                  <a:pt x="568" y="642"/>
                  <a:pt x="566" y="640"/>
                </a:cubicBezTo>
                <a:cubicBezTo>
                  <a:pt x="566" y="639"/>
                  <a:pt x="564" y="638"/>
                  <a:pt x="562" y="638"/>
                </a:cubicBezTo>
                <a:cubicBezTo>
                  <a:pt x="562" y="638"/>
                  <a:pt x="562" y="638"/>
                  <a:pt x="562" y="638"/>
                </a:cubicBezTo>
                <a:cubicBezTo>
                  <a:pt x="561" y="638"/>
                  <a:pt x="560" y="638"/>
                  <a:pt x="560" y="638"/>
                </a:cubicBezTo>
                <a:cubicBezTo>
                  <a:pt x="562" y="637"/>
                  <a:pt x="558" y="640"/>
                  <a:pt x="558" y="639"/>
                </a:cubicBezTo>
                <a:cubicBezTo>
                  <a:pt x="558" y="638"/>
                  <a:pt x="558" y="638"/>
                  <a:pt x="558" y="637"/>
                </a:cubicBezTo>
                <a:cubicBezTo>
                  <a:pt x="557" y="637"/>
                  <a:pt x="554" y="634"/>
                  <a:pt x="554" y="634"/>
                </a:cubicBezTo>
                <a:cubicBezTo>
                  <a:pt x="551" y="632"/>
                  <a:pt x="551" y="631"/>
                  <a:pt x="554" y="633"/>
                </a:cubicBezTo>
                <a:cubicBezTo>
                  <a:pt x="555" y="634"/>
                  <a:pt x="557" y="635"/>
                  <a:pt x="558" y="636"/>
                </a:cubicBezTo>
                <a:cubicBezTo>
                  <a:pt x="558" y="634"/>
                  <a:pt x="556" y="635"/>
                  <a:pt x="555" y="634"/>
                </a:cubicBezTo>
                <a:cubicBezTo>
                  <a:pt x="555" y="633"/>
                  <a:pt x="554" y="632"/>
                  <a:pt x="554" y="630"/>
                </a:cubicBezTo>
                <a:cubicBezTo>
                  <a:pt x="554" y="630"/>
                  <a:pt x="553" y="629"/>
                  <a:pt x="553" y="629"/>
                </a:cubicBezTo>
                <a:cubicBezTo>
                  <a:pt x="553" y="629"/>
                  <a:pt x="553" y="629"/>
                  <a:pt x="553" y="628"/>
                </a:cubicBezTo>
                <a:cubicBezTo>
                  <a:pt x="553" y="628"/>
                  <a:pt x="553" y="628"/>
                  <a:pt x="553" y="628"/>
                </a:cubicBezTo>
                <a:cubicBezTo>
                  <a:pt x="551" y="629"/>
                  <a:pt x="552" y="625"/>
                  <a:pt x="553" y="626"/>
                </a:cubicBezTo>
                <a:cubicBezTo>
                  <a:pt x="553" y="626"/>
                  <a:pt x="553" y="625"/>
                  <a:pt x="553" y="625"/>
                </a:cubicBezTo>
                <a:cubicBezTo>
                  <a:pt x="554" y="625"/>
                  <a:pt x="554" y="625"/>
                  <a:pt x="554" y="625"/>
                </a:cubicBezTo>
                <a:cubicBezTo>
                  <a:pt x="554" y="625"/>
                  <a:pt x="554" y="625"/>
                  <a:pt x="554" y="625"/>
                </a:cubicBezTo>
                <a:cubicBezTo>
                  <a:pt x="554" y="625"/>
                  <a:pt x="557" y="625"/>
                  <a:pt x="559" y="624"/>
                </a:cubicBezTo>
                <a:cubicBezTo>
                  <a:pt x="558" y="624"/>
                  <a:pt x="559" y="623"/>
                  <a:pt x="559" y="623"/>
                </a:cubicBezTo>
                <a:cubicBezTo>
                  <a:pt x="559" y="623"/>
                  <a:pt x="560" y="623"/>
                  <a:pt x="560" y="623"/>
                </a:cubicBezTo>
                <a:cubicBezTo>
                  <a:pt x="560" y="623"/>
                  <a:pt x="560" y="622"/>
                  <a:pt x="559" y="621"/>
                </a:cubicBezTo>
                <a:cubicBezTo>
                  <a:pt x="559" y="621"/>
                  <a:pt x="559" y="621"/>
                  <a:pt x="558" y="621"/>
                </a:cubicBezTo>
                <a:cubicBezTo>
                  <a:pt x="559" y="620"/>
                  <a:pt x="561" y="613"/>
                  <a:pt x="557" y="616"/>
                </a:cubicBezTo>
                <a:cubicBezTo>
                  <a:pt x="557" y="616"/>
                  <a:pt x="558" y="617"/>
                  <a:pt x="558" y="617"/>
                </a:cubicBezTo>
                <a:cubicBezTo>
                  <a:pt x="558" y="617"/>
                  <a:pt x="557" y="617"/>
                  <a:pt x="557" y="617"/>
                </a:cubicBezTo>
                <a:cubicBezTo>
                  <a:pt x="556" y="618"/>
                  <a:pt x="558" y="620"/>
                  <a:pt x="557" y="621"/>
                </a:cubicBezTo>
                <a:cubicBezTo>
                  <a:pt x="557" y="619"/>
                  <a:pt x="553" y="620"/>
                  <a:pt x="553" y="618"/>
                </a:cubicBezTo>
                <a:cubicBezTo>
                  <a:pt x="553" y="616"/>
                  <a:pt x="557" y="615"/>
                  <a:pt x="558" y="613"/>
                </a:cubicBezTo>
                <a:cubicBezTo>
                  <a:pt x="559" y="611"/>
                  <a:pt x="557" y="609"/>
                  <a:pt x="555" y="607"/>
                </a:cubicBezTo>
                <a:cubicBezTo>
                  <a:pt x="555" y="608"/>
                  <a:pt x="555" y="610"/>
                  <a:pt x="554" y="611"/>
                </a:cubicBezTo>
                <a:cubicBezTo>
                  <a:pt x="554" y="612"/>
                  <a:pt x="555" y="613"/>
                  <a:pt x="552" y="614"/>
                </a:cubicBezTo>
                <a:cubicBezTo>
                  <a:pt x="550" y="614"/>
                  <a:pt x="546" y="617"/>
                  <a:pt x="545" y="614"/>
                </a:cubicBezTo>
                <a:cubicBezTo>
                  <a:pt x="543" y="610"/>
                  <a:pt x="541" y="602"/>
                  <a:pt x="536" y="600"/>
                </a:cubicBezTo>
                <a:cubicBezTo>
                  <a:pt x="539" y="606"/>
                  <a:pt x="533" y="604"/>
                  <a:pt x="534" y="599"/>
                </a:cubicBezTo>
                <a:cubicBezTo>
                  <a:pt x="535" y="601"/>
                  <a:pt x="535" y="598"/>
                  <a:pt x="536" y="597"/>
                </a:cubicBezTo>
                <a:cubicBezTo>
                  <a:pt x="537" y="597"/>
                  <a:pt x="537" y="598"/>
                  <a:pt x="537" y="598"/>
                </a:cubicBezTo>
                <a:cubicBezTo>
                  <a:pt x="537" y="598"/>
                  <a:pt x="537" y="598"/>
                  <a:pt x="537" y="598"/>
                </a:cubicBezTo>
                <a:cubicBezTo>
                  <a:pt x="539" y="596"/>
                  <a:pt x="541" y="601"/>
                  <a:pt x="538" y="599"/>
                </a:cubicBezTo>
                <a:cubicBezTo>
                  <a:pt x="538" y="599"/>
                  <a:pt x="538" y="599"/>
                  <a:pt x="538" y="599"/>
                </a:cubicBezTo>
                <a:cubicBezTo>
                  <a:pt x="539" y="600"/>
                  <a:pt x="539" y="600"/>
                  <a:pt x="540" y="601"/>
                </a:cubicBezTo>
                <a:cubicBezTo>
                  <a:pt x="542" y="603"/>
                  <a:pt x="546" y="604"/>
                  <a:pt x="549" y="604"/>
                </a:cubicBezTo>
                <a:cubicBezTo>
                  <a:pt x="550" y="603"/>
                  <a:pt x="550" y="603"/>
                  <a:pt x="551" y="603"/>
                </a:cubicBezTo>
                <a:cubicBezTo>
                  <a:pt x="551" y="603"/>
                  <a:pt x="552" y="603"/>
                  <a:pt x="552" y="603"/>
                </a:cubicBezTo>
                <a:cubicBezTo>
                  <a:pt x="553" y="602"/>
                  <a:pt x="553" y="601"/>
                  <a:pt x="550" y="598"/>
                </a:cubicBezTo>
                <a:cubicBezTo>
                  <a:pt x="557" y="600"/>
                  <a:pt x="550" y="591"/>
                  <a:pt x="548" y="592"/>
                </a:cubicBezTo>
                <a:cubicBezTo>
                  <a:pt x="548" y="592"/>
                  <a:pt x="547" y="594"/>
                  <a:pt x="546" y="594"/>
                </a:cubicBezTo>
                <a:cubicBezTo>
                  <a:pt x="545" y="594"/>
                  <a:pt x="543" y="592"/>
                  <a:pt x="542" y="591"/>
                </a:cubicBezTo>
                <a:cubicBezTo>
                  <a:pt x="541" y="590"/>
                  <a:pt x="536" y="584"/>
                  <a:pt x="540" y="587"/>
                </a:cubicBezTo>
                <a:cubicBezTo>
                  <a:pt x="542" y="588"/>
                  <a:pt x="543" y="589"/>
                  <a:pt x="545" y="589"/>
                </a:cubicBezTo>
                <a:cubicBezTo>
                  <a:pt x="545" y="589"/>
                  <a:pt x="544" y="588"/>
                  <a:pt x="545" y="589"/>
                </a:cubicBezTo>
                <a:cubicBezTo>
                  <a:pt x="545" y="589"/>
                  <a:pt x="545" y="589"/>
                  <a:pt x="545" y="589"/>
                </a:cubicBezTo>
                <a:cubicBezTo>
                  <a:pt x="546" y="590"/>
                  <a:pt x="547" y="590"/>
                  <a:pt x="549" y="591"/>
                </a:cubicBezTo>
                <a:cubicBezTo>
                  <a:pt x="551" y="592"/>
                  <a:pt x="552" y="594"/>
                  <a:pt x="553" y="594"/>
                </a:cubicBezTo>
                <a:cubicBezTo>
                  <a:pt x="553" y="594"/>
                  <a:pt x="553" y="594"/>
                  <a:pt x="554" y="593"/>
                </a:cubicBezTo>
                <a:cubicBezTo>
                  <a:pt x="554" y="593"/>
                  <a:pt x="555" y="593"/>
                  <a:pt x="555" y="593"/>
                </a:cubicBezTo>
                <a:cubicBezTo>
                  <a:pt x="555" y="594"/>
                  <a:pt x="555" y="594"/>
                  <a:pt x="556" y="594"/>
                </a:cubicBezTo>
                <a:cubicBezTo>
                  <a:pt x="556" y="594"/>
                  <a:pt x="556" y="594"/>
                  <a:pt x="556" y="594"/>
                </a:cubicBezTo>
                <a:cubicBezTo>
                  <a:pt x="557" y="591"/>
                  <a:pt x="549" y="589"/>
                  <a:pt x="546" y="588"/>
                </a:cubicBezTo>
                <a:cubicBezTo>
                  <a:pt x="547" y="588"/>
                  <a:pt x="547" y="588"/>
                  <a:pt x="546" y="588"/>
                </a:cubicBezTo>
                <a:cubicBezTo>
                  <a:pt x="546" y="589"/>
                  <a:pt x="545" y="588"/>
                  <a:pt x="546" y="587"/>
                </a:cubicBezTo>
                <a:cubicBezTo>
                  <a:pt x="546" y="587"/>
                  <a:pt x="546" y="587"/>
                  <a:pt x="545" y="587"/>
                </a:cubicBezTo>
                <a:cubicBezTo>
                  <a:pt x="545" y="587"/>
                  <a:pt x="545" y="587"/>
                  <a:pt x="544" y="586"/>
                </a:cubicBezTo>
                <a:cubicBezTo>
                  <a:pt x="544" y="586"/>
                  <a:pt x="544" y="586"/>
                  <a:pt x="544" y="586"/>
                </a:cubicBezTo>
                <a:cubicBezTo>
                  <a:pt x="543" y="586"/>
                  <a:pt x="543" y="586"/>
                  <a:pt x="543" y="586"/>
                </a:cubicBezTo>
                <a:cubicBezTo>
                  <a:pt x="541" y="585"/>
                  <a:pt x="539" y="583"/>
                  <a:pt x="539" y="583"/>
                </a:cubicBezTo>
                <a:cubicBezTo>
                  <a:pt x="538" y="579"/>
                  <a:pt x="551" y="590"/>
                  <a:pt x="548" y="583"/>
                </a:cubicBezTo>
                <a:cubicBezTo>
                  <a:pt x="548" y="582"/>
                  <a:pt x="546" y="576"/>
                  <a:pt x="545" y="576"/>
                </a:cubicBezTo>
                <a:cubicBezTo>
                  <a:pt x="544" y="576"/>
                  <a:pt x="545" y="579"/>
                  <a:pt x="544" y="579"/>
                </a:cubicBezTo>
                <a:cubicBezTo>
                  <a:pt x="543" y="580"/>
                  <a:pt x="540" y="578"/>
                  <a:pt x="540" y="577"/>
                </a:cubicBezTo>
                <a:cubicBezTo>
                  <a:pt x="540" y="575"/>
                  <a:pt x="542" y="576"/>
                  <a:pt x="542" y="575"/>
                </a:cubicBezTo>
                <a:cubicBezTo>
                  <a:pt x="542" y="573"/>
                  <a:pt x="541" y="572"/>
                  <a:pt x="539" y="570"/>
                </a:cubicBezTo>
                <a:cubicBezTo>
                  <a:pt x="539" y="571"/>
                  <a:pt x="539" y="571"/>
                  <a:pt x="539" y="571"/>
                </a:cubicBezTo>
                <a:cubicBezTo>
                  <a:pt x="539" y="571"/>
                  <a:pt x="539" y="570"/>
                  <a:pt x="539" y="570"/>
                </a:cubicBezTo>
                <a:cubicBezTo>
                  <a:pt x="537" y="569"/>
                  <a:pt x="536" y="568"/>
                  <a:pt x="535" y="566"/>
                </a:cubicBezTo>
                <a:cubicBezTo>
                  <a:pt x="533" y="563"/>
                  <a:pt x="530" y="561"/>
                  <a:pt x="530" y="561"/>
                </a:cubicBezTo>
                <a:cubicBezTo>
                  <a:pt x="530" y="560"/>
                  <a:pt x="533" y="559"/>
                  <a:pt x="534" y="558"/>
                </a:cubicBezTo>
                <a:cubicBezTo>
                  <a:pt x="534" y="556"/>
                  <a:pt x="532" y="555"/>
                  <a:pt x="535" y="556"/>
                </a:cubicBezTo>
                <a:cubicBezTo>
                  <a:pt x="537" y="556"/>
                  <a:pt x="535" y="554"/>
                  <a:pt x="537" y="556"/>
                </a:cubicBezTo>
                <a:cubicBezTo>
                  <a:pt x="539" y="556"/>
                  <a:pt x="543" y="561"/>
                  <a:pt x="540" y="563"/>
                </a:cubicBezTo>
                <a:cubicBezTo>
                  <a:pt x="539" y="564"/>
                  <a:pt x="536" y="564"/>
                  <a:pt x="538" y="566"/>
                </a:cubicBezTo>
                <a:cubicBezTo>
                  <a:pt x="539" y="567"/>
                  <a:pt x="541" y="567"/>
                  <a:pt x="542" y="568"/>
                </a:cubicBezTo>
                <a:cubicBezTo>
                  <a:pt x="544" y="570"/>
                  <a:pt x="546" y="575"/>
                  <a:pt x="548" y="577"/>
                </a:cubicBezTo>
                <a:cubicBezTo>
                  <a:pt x="550" y="579"/>
                  <a:pt x="553" y="580"/>
                  <a:pt x="555" y="582"/>
                </a:cubicBezTo>
                <a:cubicBezTo>
                  <a:pt x="556" y="584"/>
                  <a:pt x="557" y="590"/>
                  <a:pt x="559" y="591"/>
                </a:cubicBezTo>
                <a:cubicBezTo>
                  <a:pt x="560" y="591"/>
                  <a:pt x="561" y="591"/>
                  <a:pt x="561" y="590"/>
                </a:cubicBezTo>
                <a:cubicBezTo>
                  <a:pt x="562" y="590"/>
                  <a:pt x="562" y="590"/>
                  <a:pt x="562" y="590"/>
                </a:cubicBezTo>
                <a:cubicBezTo>
                  <a:pt x="562" y="590"/>
                  <a:pt x="562" y="590"/>
                  <a:pt x="562" y="590"/>
                </a:cubicBezTo>
                <a:cubicBezTo>
                  <a:pt x="565" y="589"/>
                  <a:pt x="567" y="585"/>
                  <a:pt x="567" y="582"/>
                </a:cubicBezTo>
                <a:cubicBezTo>
                  <a:pt x="567" y="582"/>
                  <a:pt x="567" y="582"/>
                  <a:pt x="567" y="582"/>
                </a:cubicBezTo>
                <a:cubicBezTo>
                  <a:pt x="566" y="582"/>
                  <a:pt x="565" y="581"/>
                  <a:pt x="565" y="581"/>
                </a:cubicBezTo>
                <a:cubicBezTo>
                  <a:pt x="561" y="578"/>
                  <a:pt x="560" y="569"/>
                  <a:pt x="565" y="567"/>
                </a:cubicBezTo>
                <a:cubicBezTo>
                  <a:pt x="565" y="567"/>
                  <a:pt x="565" y="567"/>
                  <a:pt x="565" y="567"/>
                </a:cubicBezTo>
                <a:cubicBezTo>
                  <a:pt x="565" y="566"/>
                  <a:pt x="565" y="566"/>
                  <a:pt x="565" y="566"/>
                </a:cubicBezTo>
                <a:cubicBezTo>
                  <a:pt x="564" y="565"/>
                  <a:pt x="565" y="566"/>
                  <a:pt x="565" y="567"/>
                </a:cubicBezTo>
                <a:cubicBezTo>
                  <a:pt x="566" y="566"/>
                  <a:pt x="566" y="566"/>
                  <a:pt x="566" y="566"/>
                </a:cubicBezTo>
                <a:cubicBezTo>
                  <a:pt x="566" y="565"/>
                  <a:pt x="566" y="564"/>
                  <a:pt x="565" y="564"/>
                </a:cubicBezTo>
                <a:cubicBezTo>
                  <a:pt x="567" y="563"/>
                  <a:pt x="565" y="561"/>
                  <a:pt x="565" y="559"/>
                </a:cubicBezTo>
                <a:cubicBezTo>
                  <a:pt x="565" y="558"/>
                  <a:pt x="568" y="557"/>
                  <a:pt x="566" y="556"/>
                </a:cubicBezTo>
                <a:cubicBezTo>
                  <a:pt x="570" y="558"/>
                  <a:pt x="566" y="547"/>
                  <a:pt x="564" y="546"/>
                </a:cubicBezTo>
                <a:cubicBezTo>
                  <a:pt x="565" y="547"/>
                  <a:pt x="561" y="552"/>
                  <a:pt x="562" y="552"/>
                </a:cubicBezTo>
                <a:cubicBezTo>
                  <a:pt x="562" y="552"/>
                  <a:pt x="562" y="552"/>
                  <a:pt x="562" y="552"/>
                </a:cubicBezTo>
                <a:cubicBezTo>
                  <a:pt x="562" y="552"/>
                  <a:pt x="562" y="552"/>
                  <a:pt x="562" y="553"/>
                </a:cubicBezTo>
                <a:cubicBezTo>
                  <a:pt x="562" y="553"/>
                  <a:pt x="563" y="554"/>
                  <a:pt x="562" y="554"/>
                </a:cubicBezTo>
                <a:cubicBezTo>
                  <a:pt x="560" y="555"/>
                  <a:pt x="561" y="553"/>
                  <a:pt x="560" y="552"/>
                </a:cubicBezTo>
                <a:cubicBezTo>
                  <a:pt x="560" y="552"/>
                  <a:pt x="560" y="552"/>
                  <a:pt x="559" y="552"/>
                </a:cubicBezTo>
                <a:cubicBezTo>
                  <a:pt x="559" y="553"/>
                  <a:pt x="558" y="553"/>
                  <a:pt x="557" y="552"/>
                </a:cubicBezTo>
                <a:cubicBezTo>
                  <a:pt x="557" y="552"/>
                  <a:pt x="557" y="552"/>
                  <a:pt x="557" y="552"/>
                </a:cubicBezTo>
                <a:cubicBezTo>
                  <a:pt x="556" y="552"/>
                  <a:pt x="555" y="552"/>
                  <a:pt x="555" y="552"/>
                </a:cubicBezTo>
                <a:cubicBezTo>
                  <a:pt x="555" y="552"/>
                  <a:pt x="553" y="548"/>
                  <a:pt x="553" y="547"/>
                </a:cubicBezTo>
                <a:cubicBezTo>
                  <a:pt x="552" y="547"/>
                  <a:pt x="548" y="543"/>
                  <a:pt x="549" y="542"/>
                </a:cubicBezTo>
                <a:cubicBezTo>
                  <a:pt x="551" y="540"/>
                  <a:pt x="551" y="543"/>
                  <a:pt x="552" y="543"/>
                </a:cubicBezTo>
                <a:cubicBezTo>
                  <a:pt x="553" y="543"/>
                  <a:pt x="553" y="540"/>
                  <a:pt x="554" y="540"/>
                </a:cubicBezTo>
                <a:cubicBezTo>
                  <a:pt x="554" y="539"/>
                  <a:pt x="556" y="541"/>
                  <a:pt x="557" y="540"/>
                </a:cubicBezTo>
                <a:cubicBezTo>
                  <a:pt x="556" y="540"/>
                  <a:pt x="556" y="537"/>
                  <a:pt x="558" y="537"/>
                </a:cubicBezTo>
                <a:cubicBezTo>
                  <a:pt x="560" y="537"/>
                  <a:pt x="558" y="539"/>
                  <a:pt x="559" y="540"/>
                </a:cubicBezTo>
                <a:cubicBezTo>
                  <a:pt x="559" y="541"/>
                  <a:pt x="561" y="540"/>
                  <a:pt x="561" y="540"/>
                </a:cubicBezTo>
                <a:cubicBezTo>
                  <a:pt x="562" y="540"/>
                  <a:pt x="561" y="542"/>
                  <a:pt x="563" y="543"/>
                </a:cubicBezTo>
                <a:cubicBezTo>
                  <a:pt x="563" y="543"/>
                  <a:pt x="565" y="543"/>
                  <a:pt x="565" y="543"/>
                </a:cubicBezTo>
                <a:cubicBezTo>
                  <a:pt x="567" y="546"/>
                  <a:pt x="567" y="553"/>
                  <a:pt x="572" y="553"/>
                </a:cubicBezTo>
                <a:cubicBezTo>
                  <a:pt x="573" y="554"/>
                  <a:pt x="573" y="552"/>
                  <a:pt x="573" y="551"/>
                </a:cubicBezTo>
                <a:cubicBezTo>
                  <a:pt x="575" y="553"/>
                  <a:pt x="582" y="559"/>
                  <a:pt x="581" y="564"/>
                </a:cubicBezTo>
                <a:cubicBezTo>
                  <a:pt x="581" y="564"/>
                  <a:pt x="579" y="567"/>
                  <a:pt x="579" y="567"/>
                </a:cubicBezTo>
                <a:cubicBezTo>
                  <a:pt x="578" y="568"/>
                  <a:pt x="577" y="568"/>
                  <a:pt x="576" y="568"/>
                </a:cubicBezTo>
                <a:cubicBezTo>
                  <a:pt x="576" y="569"/>
                  <a:pt x="575" y="569"/>
                  <a:pt x="575" y="569"/>
                </a:cubicBezTo>
                <a:cubicBezTo>
                  <a:pt x="575" y="569"/>
                  <a:pt x="575" y="569"/>
                  <a:pt x="575" y="569"/>
                </a:cubicBezTo>
                <a:cubicBezTo>
                  <a:pt x="574" y="569"/>
                  <a:pt x="574" y="569"/>
                  <a:pt x="573" y="569"/>
                </a:cubicBezTo>
                <a:cubicBezTo>
                  <a:pt x="574" y="571"/>
                  <a:pt x="575" y="573"/>
                  <a:pt x="575" y="574"/>
                </a:cubicBezTo>
                <a:cubicBezTo>
                  <a:pt x="577" y="574"/>
                  <a:pt x="576" y="572"/>
                  <a:pt x="576" y="571"/>
                </a:cubicBezTo>
                <a:cubicBezTo>
                  <a:pt x="577" y="572"/>
                  <a:pt x="577" y="572"/>
                  <a:pt x="577" y="572"/>
                </a:cubicBezTo>
                <a:cubicBezTo>
                  <a:pt x="578" y="571"/>
                  <a:pt x="578" y="570"/>
                  <a:pt x="579" y="570"/>
                </a:cubicBezTo>
                <a:cubicBezTo>
                  <a:pt x="580" y="570"/>
                  <a:pt x="579" y="572"/>
                  <a:pt x="580" y="572"/>
                </a:cubicBezTo>
                <a:cubicBezTo>
                  <a:pt x="581" y="573"/>
                  <a:pt x="580" y="571"/>
                  <a:pt x="582" y="573"/>
                </a:cubicBezTo>
                <a:cubicBezTo>
                  <a:pt x="583" y="575"/>
                  <a:pt x="581" y="577"/>
                  <a:pt x="582" y="579"/>
                </a:cubicBezTo>
                <a:cubicBezTo>
                  <a:pt x="582" y="579"/>
                  <a:pt x="582" y="579"/>
                  <a:pt x="582" y="579"/>
                </a:cubicBezTo>
                <a:cubicBezTo>
                  <a:pt x="583" y="579"/>
                  <a:pt x="584" y="578"/>
                  <a:pt x="584" y="578"/>
                </a:cubicBezTo>
                <a:cubicBezTo>
                  <a:pt x="584" y="578"/>
                  <a:pt x="585" y="580"/>
                  <a:pt x="587" y="580"/>
                </a:cubicBezTo>
                <a:cubicBezTo>
                  <a:pt x="588" y="580"/>
                  <a:pt x="587" y="579"/>
                  <a:pt x="587" y="579"/>
                </a:cubicBezTo>
                <a:cubicBezTo>
                  <a:pt x="588" y="579"/>
                  <a:pt x="592" y="580"/>
                  <a:pt x="592" y="579"/>
                </a:cubicBezTo>
                <a:cubicBezTo>
                  <a:pt x="593" y="581"/>
                  <a:pt x="591" y="582"/>
                  <a:pt x="591" y="584"/>
                </a:cubicBezTo>
                <a:cubicBezTo>
                  <a:pt x="591" y="584"/>
                  <a:pt x="592" y="588"/>
                  <a:pt x="592" y="588"/>
                </a:cubicBezTo>
                <a:cubicBezTo>
                  <a:pt x="592" y="588"/>
                  <a:pt x="594" y="587"/>
                  <a:pt x="595" y="588"/>
                </a:cubicBezTo>
                <a:cubicBezTo>
                  <a:pt x="596" y="589"/>
                  <a:pt x="596" y="591"/>
                  <a:pt x="598" y="592"/>
                </a:cubicBezTo>
                <a:cubicBezTo>
                  <a:pt x="599" y="592"/>
                  <a:pt x="601" y="596"/>
                  <a:pt x="601" y="598"/>
                </a:cubicBezTo>
                <a:cubicBezTo>
                  <a:pt x="599" y="602"/>
                  <a:pt x="593" y="597"/>
                  <a:pt x="592" y="604"/>
                </a:cubicBezTo>
                <a:cubicBezTo>
                  <a:pt x="587" y="602"/>
                  <a:pt x="595" y="611"/>
                  <a:pt x="594" y="612"/>
                </a:cubicBezTo>
                <a:cubicBezTo>
                  <a:pt x="594" y="612"/>
                  <a:pt x="594" y="612"/>
                  <a:pt x="594" y="612"/>
                </a:cubicBezTo>
                <a:cubicBezTo>
                  <a:pt x="595" y="612"/>
                  <a:pt x="595" y="613"/>
                  <a:pt x="594" y="613"/>
                </a:cubicBezTo>
                <a:cubicBezTo>
                  <a:pt x="594" y="613"/>
                  <a:pt x="594" y="613"/>
                  <a:pt x="594" y="613"/>
                </a:cubicBezTo>
                <a:cubicBezTo>
                  <a:pt x="592" y="613"/>
                  <a:pt x="593" y="612"/>
                  <a:pt x="594" y="612"/>
                </a:cubicBezTo>
                <a:cubicBezTo>
                  <a:pt x="592" y="612"/>
                  <a:pt x="589" y="606"/>
                  <a:pt x="589" y="611"/>
                </a:cubicBezTo>
                <a:cubicBezTo>
                  <a:pt x="589" y="613"/>
                  <a:pt x="592" y="612"/>
                  <a:pt x="593" y="613"/>
                </a:cubicBezTo>
                <a:cubicBezTo>
                  <a:pt x="593" y="615"/>
                  <a:pt x="591" y="617"/>
                  <a:pt x="591" y="619"/>
                </a:cubicBezTo>
                <a:cubicBezTo>
                  <a:pt x="591" y="619"/>
                  <a:pt x="593" y="622"/>
                  <a:pt x="594" y="622"/>
                </a:cubicBezTo>
                <a:cubicBezTo>
                  <a:pt x="596" y="622"/>
                  <a:pt x="596" y="620"/>
                  <a:pt x="598" y="622"/>
                </a:cubicBezTo>
                <a:cubicBezTo>
                  <a:pt x="599" y="622"/>
                  <a:pt x="597" y="621"/>
                  <a:pt x="598" y="621"/>
                </a:cubicBezTo>
                <a:cubicBezTo>
                  <a:pt x="598" y="623"/>
                  <a:pt x="600" y="622"/>
                  <a:pt x="599" y="620"/>
                </a:cubicBezTo>
                <a:cubicBezTo>
                  <a:pt x="601" y="623"/>
                  <a:pt x="600" y="626"/>
                  <a:pt x="603" y="625"/>
                </a:cubicBezTo>
                <a:cubicBezTo>
                  <a:pt x="603" y="625"/>
                  <a:pt x="608" y="621"/>
                  <a:pt x="608" y="621"/>
                </a:cubicBezTo>
                <a:cubicBezTo>
                  <a:pt x="608" y="617"/>
                  <a:pt x="604" y="622"/>
                  <a:pt x="601" y="620"/>
                </a:cubicBezTo>
                <a:cubicBezTo>
                  <a:pt x="599" y="618"/>
                  <a:pt x="606" y="619"/>
                  <a:pt x="607" y="618"/>
                </a:cubicBezTo>
                <a:cubicBezTo>
                  <a:pt x="608" y="617"/>
                  <a:pt x="606" y="617"/>
                  <a:pt x="607" y="616"/>
                </a:cubicBezTo>
                <a:cubicBezTo>
                  <a:pt x="607" y="615"/>
                  <a:pt x="610" y="614"/>
                  <a:pt x="609" y="613"/>
                </a:cubicBezTo>
                <a:cubicBezTo>
                  <a:pt x="608" y="613"/>
                  <a:pt x="607" y="616"/>
                  <a:pt x="606" y="614"/>
                </a:cubicBezTo>
                <a:cubicBezTo>
                  <a:pt x="605" y="613"/>
                  <a:pt x="608" y="611"/>
                  <a:pt x="608" y="612"/>
                </a:cubicBezTo>
                <a:cubicBezTo>
                  <a:pt x="609" y="610"/>
                  <a:pt x="609" y="610"/>
                  <a:pt x="610" y="609"/>
                </a:cubicBezTo>
                <a:cubicBezTo>
                  <a:pt x="610" y="609"/>
                  <a:pt x="609" y="608"/>
                  <a:pt x="609" y="608"/>
                </a:cubicBezTo>
                <a:cubicBezTo>
                  <a:pt x="610" y="608"/>
                  <a:pt x="611" y="609"/>
                  <a:pt x="611" y="609"/>
                </a:cubicBezTo>
                <a:cubicBezTo>
                  <a:pt x="613" y="610"/>
                  <a:pt x="615" y="611"/>
                  <a:pt x="616" y="612"/>
                </a:cubicBezTo>
                <a:cubicBezTo>
                  <a:pt x="616" y="612"/>
                  <a:pt x="616" y="612"/>
                  <a:pt x="616" y="612"/>
                </a:cubicBezTo>
                <a:cubicBezTo>
                  <a:pt x="617" y="611"/>
                  <a:pt x="616" y="611"/>
                  <a:pt x="616" y="610"/>
                </a:cubicBezTo>
                <a:cubicBezTo>
                  <a:pt x="616" y="610"/>
                  <a:pt x="617" y="609"/>
                  <a:pt x="617" y="609"/>
                </a:cubicBezTo>
                <a:cubicBezTo>
                  <a:pt x="615" y="608"/>
                  <a:pt x="613" y="606"/>
                  <a:pt x="613" y="605"/>
                </a:cubicBezTo>
                <a:cubicBezTo>
                  <a:pt x="613" y="603"/>
                  <a:pt x="616" y="603"/>
                  <a:pt x="614" y="601"/>
                </a:cubicBezTo>
                <a:cubicBezTo>
                  <a:pt x="613" y="601"/>
                  <a:pt x="610" y="602"/>
                  <a:pt x="610" y="602"/>
                </a:cubicBezTo>
                <a:cubicBezTo>
                  <a:pt x="610" y="602"/>
                  <a:pt x="608" y="602"/>
                  <a:pt x="608" y="602"/>
                </a:cubicBezTo>
                <a:cubicBezTo>
                  <a:pt x="607" y="603"/>
                  <a:pt x="608" y="605"/>
                  <a:pt x="608" y="606"/>
                </a:cubicBezTo>
                <a:cubicBezTo>
                  <a:pt x="606" y="607"/>
                  <a:pt x="605" y="604"/>
                  <a:pt x="604" y="603"/>
                </a:cubicBezTo>
                <a:cubicBezTo>
                  <a:pt x="608" y="604"/>
                  <a:pt x="605" y="600"/>
                  <a:pt x="605" y="598"/>
                </a:cubicBezTo>
                <a:cubicBezTo>
                  <a:pt x="604" y="597"/>
                  <a:pt x="605" y="595"/>
                  <a:pt x="605" y="594"/>
                </a:cubicBezTo>
                <a:cubicBezTo>
                  <a:pt x="604" y="593"/>
                  <a:pt x="602" y="594"/>
                  <a:pt x="602" y="592"/>
                </a:cubicBezTo>
                <a:cubicBezTo>
                  <a:pt x="603" y="591"/>
                  <a:pt x="604" y="592"/>
                  <a:pt x="604" y="592"/>
                </a:cubicBezTo>
                <a:cubicBezTo>
                  <a:pt x="605" y="592"/>
                  <a:pt x="603" y="589"/>
                  <a:pt x="605" y="588"/>
                </a:cubicBezTo>
                <a:cubicBezTo>
                  <a:pt x="605" y="588"/>
                  <a:pt x="607" y="589"/>
                  <a:pt x="608" y="590"/>
                </a:cubicBezTo>
                <a:cubicBezTo>
                  <a:pt x="609" y="590"/>
                  <a:pt x="610" y="590"/>
                  <a:pt x="611" y="591"/>
                </a:cubicBezTo>
                <a:cubicBezTo>
                  <a:pt x="611" y="588"/>
                  <a:pt x="613" y="584"/>
                  <a:pt x="614" y="584"/>
                </a:cubicBezTo>
                <a:cubicBezTo>
                  <a:pt x="615" y="582"/>
                  <a:pt x="617" y="585"/>
                  <a:pt x="617" y="582"/>
                </a:cubicBezTo>
                <a:cubicBezTo>
                  <a:pt x="618" y="585"/>
                  <a:pt x="621" y="582"/>
                  <a:pt x="622" y="582"/>
                </a:cubicBezTo>
                <a:cubicBezTo>
                  <a:pt x="623" y="582"/>
                  <a:pt x="622" y="584"/>
                  <a:pt x="623" y="584"/>
                </a:cubicBezTo>
                <a:cubicBezTo>
                  <a:pt x="623" y="585"/>
                  <a:pt x="624" y="584"/>
                  <a:pt x="625" y="585"/>
                </a:cubicBezTo>
                <a:cubicBezTo>
                  <a:pt x="625" y="585"/>
                  <a:pt x="625" y="585"/>
                  <a:pt x="625" y="585"/>
                </a:cubicBezTo>
                <a:cubicBezTo>
                  <a:pt x="626" y="585"/>
                  <a:pt x="628" y="585"/>
                  <a:pt x="629" y="585"/>
                </a:cubicBezTo>
                <a:cubicBezTo>
                  <a:pt x="629" y="585"/>
                  <a:pt x="629" y="584"/>
                  <a:pt x="630" y="584"/>
                </a:cubicBezTo>
                <a:cubicBezTo>
                  <a:pt x="629" y="584"/>
                  <a:pt x="628" y="584"/>
                  <a:pt x="628" y="584"/>
                </a:cubicBezTo>
                <a:cubicBezTo>
                  <a:pt x="627" y="583"/>
                  <a:pt x="626" y="583"/>
                  <a:pt x="626" y="582"/>
                </a:cubicBezTo>
                <a:cubicBezTo>
                  <a:pt x="626" y="581"/>
                  <a:pt x="625" y="581"/>
                  <a:pt x="625" y="580"/>
                </a:cubicBezTo>
                <a:cubicBezTo>
                  <a:pt x="625" y="580"/>
                  <a:pt x="625" y="580"/>
                  <a:pt x="624" y="580"/>
                </a:cubicBezTo>
                <a:cubicBezTo>
                  <a:pt x="624" y="580"/>
                  <a:pt x="624" y="579"/>
                  <a:pt x="624" y="579"/>
                </a:cubicBezTo>
                <a:cubicBezTo>
                  <a:pt x="624" y="577"/>
                  <a:pt x="624" y="575"/>
                  <a:pt x="622" y="574"/>
                </a:cubicBezTo>
                <a:cubicBezTo>
                  <a:pt x="624" y="576"/>
                  <a:pt x="625" y="573"/>
                  <a:pt x="625" y="573"/>
                </a:cubicBezTo>
                <a:cubicBezTo>
                  <a:pt x="625" y="573"/>
                  <a:pt x="625" y="573"/>
                  <a:pt x="625" y="572"/>
                </a:cubicBezTo>
                <a:cubicBezTo>
                  <a:pt x="625" y="572"/>
                  <a:pt x="625" y="572"/>
                  <a:pt x="625" y="572"/>
                </a:cubicBezTo>
                <a:cubicBezTo>
                  <a:pt x="625" y="572"/>
                  <a:pt x="625" y="573"/>
                  <a:pt x="625" y="573"/>
                </a:cubicBezTo>
                <a:cubicBezTo>
                  <a:pt x="623" y="574"/>
                  <a:pt x="619" y="571"/>
                  <a:pt x="619" y="570"/>
                </a:cubicBezTo>
                <a:cubicBezTo>
                  <a:pt x="619" y="569"/>
                  <a:pt x="619" y="570"/>
                  <a:pt x="620" y="569"/>
                </a:cubicBezTo>
                <a:cubicBezTo>
                  <a:pt x="620" y="567"/>
                  <a:pt x="618" y="565"/>
                  <a:pt x="620" y="562"/>
                </a:cubicBezTo>
                <a:cubicBezTo>
                  <a:pt x="621" y="563"/>
                  <a:pt x="620" y="565"/>
                  <a:pt x="621" y="566"/>
                </a:cubicBezTo>
                <a:cubicBezTo>
                  <a:pt x="621" y="567"/>
                  <a:pt x="622" y="565"/>
                  <a:pt x="622" y="565"/>
                </a:cubicBezTo>
                <a:cubicBezTo>
                  <a:pt x="624" y="565"/>
                  <a:pt x="627" y="568"/>
                  <a:pt x="626" y="571"/>
                </a:cubicBezTo>
                <a:cubicBezTo>
                  <a:pt x="627" y="572"/>
                  <a:pt x="628" y="572"/>
                  <a:pt x="628" y="573"/>
                </a:cubicBezTo>
                <a:cubicBezTo>
                  <a:pt x="629" y="573"/>
                  <a:pt x="629" y="572"/>
                  <a:pt x="629" y="572"/>
                </a:cubicBezTo>
                <a:cubicBezTo>
                  <a:pt x="628" y="570"/>
                  <a:pt x="628" y="568"/>
                  <a:pt x="627" y="566"/>
                </a:cubicBezTo>
                <a:cubicBezTo>
                  <a:pt x="626" y="565"/>
                  <a:pt x="625" y="565"/>
                  <a:pt x="624" y="565"/>
                </a:cubicBezTo>
                <a:cubicBezTo>
                  <a:pt x="624" y="564"/>
                  <a:pt x="624" y="563"/>
                  <a:pt x="623" y="563"/>
                </a:cubicBezTo>
                <a:cubicBezTo>
                  <a:pt x="622" y="562"/>
                  <a:pt x="622" y="564"/>
                  <a:pt x="621" y="563"/>
                </a:cubicBezTo>
                <a:cubicBezTo>
                  <a:pt x="620" y="562"/>
                  <a:pt x="621" y="561"/>
                  <a:pt x="621" y="561"/>
                </a:cubicBezTo>
                <a:cubicBezTo>
                  <a:pt x="622" y="560"/>
                  <a:pt x="624" y="562"/>
                  <a:pt x="625" y="562"/>
                </a:cubicBezTo>
                <a:cubicBezTo>
                  <a:pt x="626" y="561"/>
                  <a:pt x="626" y="560"/>
                  <a:pt x="627" y="559"/>
                </a:cubicBezTo>
                <a:cubicBezTo>
                  <a:pt x="628" y="558"/>
                  <a:pt x="630" y="559"/>
                  <a:pt x="629" y="555"/>
                </a:cubicBezTo>
                <a:cubicBezTo>
                  <a:pt x="631" y="560"/>
                  <a:pt x="631" y="555"/>
                  <a:pt x="632" y="554"/>
                </a:cubicBezTo>
                <a:cubicBezTo>
                  <a:pt x="632" y="555"/>
                  <a:pt x="638" y="557"/>
                  <a:pt x="639" y="557"/>
                </a:cubicBezTo>
                <a:cubicBezTo>
                  <a:pt x="640" y="557"/>
                  <a:pt x="641" y="560"/>
                  <a:pt x="643" y="561"/>
                </a:cubicBezTo>
                <a:cubicBezTo>
                  <a:pt x="643" y="560"/>
                  <a:pt x="643" y="560"/>
                  <a:pt x="642" y="560"/>
                </a:cubicBezTo>
                <a:cubicBezTo>
                  <a:pt x="643" y="560"/>
                  <a:pt x="644" y="560"/>
                  <a:pt x="644" y="561"/>
                </a:cubicBezTo>
                <a:cubicBezTo>
                  <a:pt x="644" y="561"/>
                  <a:pt x="644" y="561"/>
                  <a:pt x="645" y="561"/>
                </a:cubicBezTo>
                <a:cubicBezTo>
                  <a:pt x="644" y="561"/>
                  <a:pt x="644" y="561"/>
                  <a:pt x="644" y="560"/>
                </a:cubicBezTo>
                <a:cubicBezTo>
                  <a:pt x="644" y="560"/>
                  <a:pt x="644" y="560"/>
                  <a:pt x="644" y="559"/>
                </a:cubicBezTo>
                <a:cubicBezTo>
                  <a:pt x="644" y="559"/>
                  <a:pt x="644" y="559"/>
                  <a:pt x="644" y="559"/>
                </a:cubicBezTo>
                <a:cubicBezTo>
                  <a:pt x="644" y="559"/>
                  <a:pt x="644" y="559"/>
                  <a:pt x="644" y="559"/>
                </a:cubicBezTo>
                <a:cubicBezTo>
                  <a:pt x="644" y="557"/>
                  <a:pt x="646" y="551"/>
                  <a:pt x="647" y="548"/>
                </a:cubicBezTo>
                <a:cubicBezTo>
                  <a:pt x="646" y="547"/>
                  <a:pt x="646" y="547"/>
                  <a:pt x="646" y="546"/>
                </a:cubicBezTo>
                <a:cubicBezTo>
                  <a:pt x="646" y="545"/>
                  <a:pt x="647" y="546"/>
                  <a:pt x="648" y="546"/>
                </a:cubicBezTo>
                <a:cubicBezTo>
                  <a:pt x="648" y="546"/>
                  <a:pt x="649" y="545"/>
                  <a:pt x="649" y="546"/>
                </a:cubicBezTo>
                <a:cubicBezTo>
                  <a:pt x="650" y="546"/>
                  <a:pt x="650" y="547"/>
                  <a:pt x="650" y="549"/>
                </a:cubicBezTo>
                <a:cubicBezTo>
                  <a:pt x="650" y="548"/>
                  <a:pt x="651" y="548"/>
                  <a:pt x="651" y="548"/>
                </a:cubicBezTo>
                <a:cubicBezTo>
                  <a:pt x="652" y="548"/>
                  <a:pt x="653" y="550"/>
                  <a:pt x="653" y="551"/>
                </a:cubicBezTo>
                <a:cubicBezTo>
                  <a:pt x="654" y="551"/>
                  <a:pt x="655" y="551"/>
                  <a:pt x="655" y="552"/>
                </a:cubicBezTo>
                <a:cubicBezTo>
                  <a:pt x="656" y="553"/>
                  <a:pt x="655" y="554"/>
                  <a:pt x="655" y="555"/>
                </a:cubicBezTo>
                <a:cubicBezTo>
                  <a:pt x="655" y="555"/>
                  <a:pt x="656" y="554"/>
                  <a:pt x="656" y="552"/>
                </a:cubicBezTo>
                <a:cubicBezTo>
                  <a:pt x="656" y="551"/>
                  <a:pt x="654" y="549"/>
                  <a:pt x="654" y="548"/>
                </a:cubicBezTo>
                <a:cubicBezTo>
                  <a:pt x="654" y="548"/>
                  <a:pt x="653" y="548"/>
                  <a:pt x="653" y="548"/>
                </a:cubicBezTo>
                <a:cubicBezTo>
                  <a:pt x="654" y="544"/>
                  <a:pt x="661" y="548"/>
                  <a:pt x="659" y="550"/>
                </a:cubicBezTo>
                <a:cubicBezTo>
                  <a:pt x="659" y="550"/>
                  <a:pt x="657" y="550"/>
                  <a:pt x="657" y="550"/>
                </a:cubicBezTo>
                <a:cubicBezTo>
                  <a:pt x="657" y="551"/>
                  <a:pt x="659" y="555"/>
                  <a:pt x="659" y="557"/>
                </a:cubicBezTo>
                <a:cubicBezTo>
                  <a:pt x="659" y="558"/>
                  <a:pt x="659" y="559"/>
                  <a:pt x="659" y="559"/>
                </a:cubicBezTo>
                <a:cubicBezTo>
                  <a:pt x="660" y="560"/>
                  <a:pt x="662" y="559"/>
                  <a:pt x="663" y="560"/>
                </a:cubicBezTo>
                <a:cubicBezTo>
                  <a:pt x="663" y="560"/>
                  <a:pt x="663" y="561"/>
                  <a:pt x="663" y="561"/>
                </a:cubicBezTo>
                <a:cubicBezTo>
                  <a:pt x="664" y="562"/>
                  <a:pt x="666" y="564"/>
                  <a:pt x="666" y="564"/>
                </a:cubicBezTo>
                <a:cubicBezTo>
                  <a:pt x="667" y="564"/>
                  <a:pt x="667" y="562"/>
                  <a:pt x="666" y="562"/>
                </a:cubicBezTo>
                <a:cubicBezTo>
                  <a:pt x="666" y="562"/>
                  <a:pt x="669" y="561"/>
                  <a:pt x="669" y="563"/>
                </a:cubicBezTo>
                <a:cubicBezTo>
                  <a:pt x="669" y="563"/>
                  <a:pt x="669" y="563"/>
                  <a:pt x="669" y="564"/>
                </a:cubicBezTo>
                <a:cubicBezTo>
                  <a:pt x="670" y="563"/>
                  <a:pt x="670" y="563"/>
                  <a:pt x="671" y="563"/>
                </a:cubicBezTo>
                <a:cubicBezTo>
                  <a:pt x="670" y="562"/>
                  <a:pt x="669" y="562"/>
                  <a:pt x="669" y="561"/>
                </a:cubicBezTo>
                <a:cubicBezTo>
                  <a:pt x="669" y="561"/>
                  <a:pt x="669" y="562"/>
                  <a:pt x="668" y="562"/>
                </a:cubicBezTo>
                <a:cubicBezTo>
                  <a:pt x="668" y="562"/>
                  <a:pt x="667" y="562"/>
                  <a:pt x="667" y="561"/>
                </a:cubicBezTo>
                <a:cubicBezTo>
                  <a:pt x="667" y="561"/>
                  <a:pt x="666" y="560"/>
                  <a:pt x="667" y="559"/>
                </a:cubicBezTo>
                <a:cubicBezTo>
                  <a:pt x="668" y="559"/>
                  <a:pt x="668" y="560"/>
                  <a:pt x="668" y="560"/>
                </a:cubicBezTo>
                <a:cubicBezTo>
                  <a:pt x="668" y="560"/>
                  <a:pt x="668" y="560"/>
                  <a:pt x="668" y="560"/>
                </a:cubicBezTo>
                <a:cubicBezTo>
                  <a:pt x="668" y="560"/>
                  <a:pt x="668" y="560"/>
                  <a:pt x="668" y="560"/>
                </a:cubicBezTo>
                <a:cubicBezTo>
                  <a:pt x="668" y="560"/>
                  <a:pt x="669" y="560"/>
                  <a:pt x="669" y="560"/>
                </a:cubicBezTo>
                <a:cubicBezTo>
                  <a:pt x="668" y="559"/>
                  <a:pt x="669" y="558"/>
                  <a:pt x="671" y="557"/>
                </a:cubicBezTo>
                <a:cubicBezTo>
                  <a:pt x="672" y="557"/>
                  <a:pt x="673" y="558"/>
                  <a:pt x="674" y="559"/>
                </a:cubicBezTo>
                <a:cubicBezTo>
                  <a:pt x="673" y="559"/>
                  <a:pt x="673" y="559"/>
                  <a:pt x="674" y="559"/>
                </a:cubicBezTo>
                <a:cubicBezTo>
                  <a:pt x="674" y="557"/>
                  <a:pt x="674" y="559"/>
                  <a:pt x="675" y="559"/>
                </a:cubicBezTo>
                <a:cubicBezTo>
                  <a:pt x="675" y="558"/>
                  <a:pt x="675" y="558"/>
                  <a:pt x="675" y="557"/>
                </a:cubicBezTo>
                <a:cubicBezTo>
                  <a:pt x="675" y="557"/>
                  <a:pt x="675" y="557"/>
                  <a:pt x="675" y="557"/>
                </a:cubicBezTo>
                <a:cubicBezTo>
                  <a:pt x="675" y="557"/>
                  <a:pt x="675" y="556"/>
                  <a:pt x="675" y="556"/>
                </a:cubicBezTo>
                <a:cubicBezTo>
                  <a:pt x="677" y="554"/>
                  <a:pt x="678" y="556"/>
                  <a:pt x="679" y="557"/>
                </a:cubicBezTo>
                <a:cubicBezTo>
                  <a:pt x="679" y="553"/>
                  <a:pt x="679" y="553"/>
                  <a:pt x="679" y="553"/>
                </a:cubicBezTo>
                <a:cubicBezTo>
                  <a:pt x="679" y="553"/>
                  <a:pt x="678" y="553"/>
                  <a:pt x="677" y="552"/>
                </a:cubicBezTo>
                <a:cubicBezTo>
                  <a:pt x="673" y="549"/>
                  <a:pt x="676" y="544"/>
                  <a:pt x="679" y="544"/>
                </a:cubicBezTo>
                <a:cubicBezTo>
                  <a:pt x="679" y="543"/>
                  <a:pt x="679" y="543"/>
                  <a:pt x="679" y="543"/>
                </a:cubicBezTo>
                <a:cubicBezTo>
                  <a:pt x="679" y="543"/>
                  <a:pt x="679" y="542"/>
                  <a:pt x="679" y="542"/>
                </a:cubicBezTo>
                <a:cubicBezTo>
                  <a:pt x="679" y="542"/>
                  <a:pt x="679" y="543"/>
                  <a:pt x="679" y="543"/>
                </a:cubicBezTo>
                <a:cubicBezTo>
                  <a:pt x="679" y="511"/>
                  <a:pt x="679" y="511"/>
                  <a:pt x="679" y="511"/>
                </a:cubicBezTo>
                <a:cubicBezTo>
                  <a:pt x="678" y="509"/>
                  <a:pt x="677" y="507"/>
                  <a:pt x="677" y="506"/>
                </a:cubicBezTo>
                <a:cubicBezTo>
                  <a:pt x="678" y="507"/>
                  <a:pt x="679" y="508"/>
                  <a:pt x="679" y="509"/>
                </a:cubicBezTo>
                <a:cubicBezTo>
                  <a:pt x="679" y="508"/>
                  <a:pt x="679" y="508"/>
                  <a:pt x="679" y="508"/>
                </a:cubicBezTo>
                <a:cubicBezTo>
                  <a:pt x="679" y="507"/>
                  <a:pt x="678" y="507"/>
                  <a:pt x="679" y="507"/>
                </a:cubicBezTo>
                <a:cubicBezTo>
                  <a:pt x="679" y="423"/>
                  <a:pt x="679" y="423"/>
                  <a:pt x="679" y="423"/>
                </a:cubicBezTo>
                <a:cubicBezTo>
                  <a:pt x="679" y="423"/>
                  <a:pt x="679" y="422"/>
                  <a:pt x="679" y="422"/>
                </a:cubicBezTo>
                <a:cubicBezTo>
                  <a:pt x="679" y="422"/>
                  <a:pt x="679" y="422"/>
                  <a:pt x="679" y="422"/>
                </a:cubicBezTo>
                <a:cubicBezTo>
                  <a:pt x="679" y="196"/>
                  <a:pt x="679" y="196"/>
                  <a:pt x="679" y="196"/>
                </a:cubicBezTo>
                <a:cubicBezTo>
                  <a:pt x="521" y="105"/>
                  <a:pt x="521" y="105"/>
                  <a:pt x="521" y="105"/>
                </a:cubicBezTo>
                <a:cubicBezTo>
                  <a:pt x="520" y="105"/>
                  <a:pt x="517" y="104"/>
                  <a:pt x="516" y="103"/>
                </a:cubicBezTo>
                <a:cubicBezTo>
                  <a:pt x="516" y="103"/>
                  <a:pt x="517" y="102"/>
                  <a:pt x="517" y="102"/>
                </a:cubicBezTo>
                <a:cubicBezTo>
                  <a:pt x="340" y="0"/>
                  <a:pt x="340" y="0"/>
                  <a:pt x="340" y="0"/>
                </a:cubicBezTo>
                <a:cubicBezTo>
                  <a:pt x="329" y="7"/>
                  <a:pt x="329" y="7"/>
                  <a:pt x="329" y="7"/>
                </a:cubicBezTo>
                <a:cubicBezTo>
                  <a:pt x="330" y="7"/>
                  <a:pt x="330" y="7"/>
                  <a:pt x="328" y="7"/>
                </a:cubicBezTo>
                <a:cubicBezTo>
                  <a:pt x="315" y="15"/>
                  <a:pt x="315" y="15"/>
                  <a:pt x="315" y="15"/>
                </a:cubicBezTo>
                <a:cubicBezTo>
                  <a:pt x="315" y="15"/>
                  <a:pt x="315" y="15"/>
                  <a:pt x="315" y="15"/>
                </a:cubicBezTo>
                <a:cubicBezTo>
                  <a:pt x="315" y="15"/>
                  <a:pt x="314" y="15"/>
                  <a:pt x="314" y="15"/>
                </a:cubicBezTo>
                <a:cubicBezTo>
                  <a:pt x="298" y="25"/>
                  <a:pt x="298" y="25"/>
                  <a:pt x="298" y="25"/>
                </a:cubicBezTo>
                <a:cubicBezTo>
                  <a:pt x="299" y="24"/>
                  <a:pt x="301" y="24"/>
                  <a:pt x="301" y="25"/>
                </a:cubicBezTo>
                <a:cubicBezTo>
                  <a:pt x="302" y="27"/>
                  <a:pt x="300" y="27"/>
                  <a:pt x="301" y="28"/>
                </a:cubicBezTo>
                <a:cubicBezTo>
                  <a:pt x="301" y="30"/>
                  <a:pt x="303" y="30"/>
                  <a:pt x="306" y="31"/>
                </a:cubicBezTo>
                <a:cubicBezTo>
                  <a:pt x="305" y="30"/>
                  <a:pt x="305" y="30"/>
                  <a:pt x="305" y="30"/>
                </a:cubicBezTo>
                <a:cubicBezTo>
                  <a:pt x="306" y="30"/>
                  <a:pt x="306" y="30"/>
                  <a:pt x="306" y="31"/>
                </a:cubicBezTo>
                <a:cubicBezTo>
                  <a:pt x="308" y="31"/>
                  <a:pt x="310" y="31"/>
                  <a:pt x="311" y="32"/>
                </a:cubicBezTo>
                <a:cubicBezTo>
                  <a:pt x="314" y="34"/>
                  <a:pt x="318" y="34"/>
                  <a:pt x="318" y="34"/>
                </a:cubicBezTo>
                <a:cubicBezTo>
                  <a:pt x="318" y="35"/>
                  <a:pt x="316" y="37"/>
                  <a:pt x="317" y="39"/>
                </a:cubicBezTo>
                <a:cubicBezTo>
                  <a:pt x="317" y="41"/>
                  <a:pt x="319" y="40"/>
                  <a:pt x="317" y="41"/>
                </a:cubicBezTo>
                <a:cubicBezTo>
                  <a:pt x="315" y="42"/>
                  <a:pt x="318" y="42"/>
                  <a:pt x="315" y="42"/>
                </a:cubicBezTo>
                <a:cubicBezTo>
                  <a:pt x="313" y="42"/>
                  <a:pt x="307" y="41"/>
                  <a:pt x="309" y="37"/>
                </a:cubicBezTo>
                <a:cubicBezTo>
                  <a:pt x="309" y="36"/>
                  <a:pt x="311" y="35"/>
                  <a:pt x="309" y="34"/>
                </a:cubicBezTo>
                <a:cubicBezTo>
                  <a:pt x="308" y="34"/>
                  <a:pt x="306" y="35"/>
                  <a:pt x="305" y="34"/>
                </a:cubicBezTo>
                <a:cubicBezTo>
                  <a:pt x="302" y="33"/>
                  <a:pt x="298" y="30"/>
                  <a:pt x="295" y="29"/>
                </a:cubicBezTo>
                <a:cubicBezTo>
                  <a:pt x="293" y="29"/>
                  <a:pt x="292" y="29"/>
                  <a:pt x="290" y="29"/>
                </a:cubicBezTo>
                <a:cubicBezTo>
                  <a:pt x="280" y="35"/>
                  <a:pt x="280" y="35"/>
                  <a:pt x="280" y="35"/>
                </a:cubicBezTo>
                <a:cubicBezTo>
                  <a:pt x="284" y="37"/>
                  <a:pt x="288" y="43"/>
                  <a:pt x="285" y="47"/>
                </a:cubicBezTo>
                <a:cubicBezTo>
                  <a:pt x="286" y="47"/>
                  <a:pt x="285" y="47"/>
                  <a:pt x="285" y="47"/>
                </a:cubicBezTo>
                <a:cubicBezTo>
                  <a:pt x="285" y="47"/>
                  <a:pt x="285" y="47"/>
                  <a:pt x="285" y="47"/>
                </a:cubicBezTo>
                <a:cubicBezTo>
                  <a:pt x="286" y="48"/>
                  <a:pt x="285" y="47"/>
                  <a:pt x="285" y="47"/>
                </a:cubicBezTo>
                <a:cubicBezTo>
                  <a:pt x="285" y="47"/>
                  <a:pt x="285" y="48"/>
                  <a:pt x="284" y="48"/>
                </a:cubicBezTo>
                <a:cubicBezTo>
                  <a:pt x="285" y="49"/>
                  <a:pt x="286" y="50"/>
                  <a:pt x="286" y="49"/>
                </a:cubicBezTo>
                <a:cubicBezTo>
                  <a:pt x="285" y="51"/>
                  <a:pt x="288" y="52"/>
                  <a:pt x="289" y="53"/>
                </a:cubicBezTo>
                <a:cubicBezTo>
                  <a:pt x="290" y="54"/>
                  <a:pt x="288" y="56"/>
                  <a:pt x="290" y="56"/>
                </a:cubicBezTo>
                <a:cubicBezTo>
                  <a:pt x="285" y="57"/>
                  <a:pt x="295" y="64"/>
                  <a:pt x="296" y="64"/>
                </a:cubicBezTo>
                <a:cubicBezTo>
                  <a:pt x="296" y="64"/>
                  <a:pt x="296" y="57"/>
                  <a:pt x="296" y="58"/>
                </a:cubicBezTo>
                <a:cubicBezTo>
                  <a:pt x="296" y="58"/>
                  <a:pt x="296" y="58"/>
                  <a:pt x="296" y="58"/>
                </a:cubicBezTo>
                <a:cubicBezTo>
                  <a:pt x="295" y="58"/>
                  <a:pt x="295" y="57"/>
                  <a:pt x="295" y="57"/>
                </a:cubicBezTo>
                <a:cubicBezTo>
                  <a:pt x="295" y="57"/>
                  <a:pt x="294" y="56"/>
                  <a:pt x="294" y="56"/>
                </a:cubicBezTo>
                <a:cubicBezTo>
                  <a:pt x="296" y="54"/>
                  <a:pt x="296" y="57"/>
                  <a:pt x="297" y="57"/>
                </a:cubicBezTo>
                <a:cubicBezTo>
                  <a:pt x="297" y="57"/>
                  <a:pt x="297" y="57"/>
                  <a:pt x="297" y="57"/>
                </a:cubicBezTo>
                <a:cubicBezTo>
                  <a:pt x="297" y="56"/>
                  <a:pt x="298" y="55"/>
                  <a:pt x="299" y="55"/>
                </a:cubicBezTo>
                <a:cubicBezTo>
                  <a:pt x="299" y="55"/>
                  <a:pt x="299" y="55"/>
                  <a:pt x="299" y="55"/>
                </a:cubicBezTo>
                <a:cubicBezTo>
                  <a:pt x="300" y="55"/>
                  <a:pt x="301" y="54"/>
                  <a:pt x="302" y="54"/>
                </a:cubicBezTo>
                <a:cubicBezTo>
                  <a:pt x="302" y="54"/>
                  <a:pt x="305" y="57"/>
                  <a:pt x="306" y="57"/>
                </a:cubicBezTo>
                <a:cubicBezTo>
                  <a:pt x="306" y="58"/>
                  <a:pt x="312" y="59"/>
                  <a:pt x="311" y="60"/>
                </a:cubicBezTo>
                <a:cubicBezTo>
                  <a:pt x="311" y="62"/>
                  <a:pt x="309" y="60"/>
                  <a:pt x="308" y="61"/>
                </a:cubicBezTo>
                <a:cubicBezTo>
                  <a:pt x="307" y="61"/>
                  <a:pt x="309" y="63"/>
                  <a:pt x="309" y="64"/>
                </a:cubicBezTo>
                <a:cubicBezTo>
                  <a:pt x="308" y="65"/>
                  <a:pt x="307" y="65"/>
                  <a:pt x="306" y="66"/>
                </a:cubicBezTo>
                <a:cubicBezTo>
                  <a:pt x="306" y="65"/>
                  <a:pt x="308" y="68"/>
                  <a:pt x="306" y="69"/>
                </a:cubicBezTo>
                <a:cubicBezTo>
                  <a:pt x="304" y="70"/>
                  <a:pt x="305" y="67"/>
                  <a:pt x="304" y="67"/>
                </a:cubicBezTo>
                <a:cubicBezTo>
                  <a:pt x="303" y="66"/>
                  <a:pt x="303" y="68"/>
                  <a:pt x="302" y="68"/>
                </a:cubicBezTo>
                <a:cubicBezTo>
                  <a:pt x="301" y="68"/>
                  <a:pt x="301" y="66"/>
                  <a:pt x="299" y="66"/>
                </a:cubicBezTo>
                <a:cubicBezTo>
                  <a:pt x="298" y="66"/>
                  <a:pt x="298" y="67"/>
                  <a:pt x="297" y="67"/>
                </a:cubicBezTo>
                <a:cubicBezTo>
                  <a:pt x="294" y="65"/>
                  <a:pt x="291" y="60"/>
                  <a:pt x="286" y="62"/>
                </a:cubicBezTo>
                <a:cubicBezTo>
                  <a:pt x="285" y="62"/>
                  <a:pt x="286" y="63"/>
                  <a:pt x="287" y="64"/>
                </a:cubicBezTo>
                <a:cubicBezTo>
                  <a:pt x="283" y="64"/>
                  <a:pt x="275" y="63"/>
                  <a:pt x="273" y="57"/>
                </a:cubicBezTo>
                <a:cubicBezTo>
                  <a:pt x="273" y="57"/>
                  <a:pt x="273" y="54"/>
                  <a:pt x="273" y="53"/>
                </a:cubicBezTo>
                <a:cubicBezTo>
                  <a:pt x="273" y="53"/>
                  <a:pt x="274" y="52"/>
                  <a:pt x="275" y="51"/>
                </a:cubicBezTo>
                <a:cubicBezTo>
                  <a:pt x="275" y="51"/>
                  <a:pt x="275" y="50"/>
                  <a:pt x="276" y="50"/>
                </a:cubicBezTo>
                <a:cubicBezTo>
                  <a:pt x="276" y="50"/>
                  <a:pt x="276" y="50"/>
                  <a:pt x="276" y="50"/>
                </a:cubicBezTo>
                <a:cubicBezTo>
                  <a:pt x="276" y="50"/>
                  <a:pt x="276" y="49"/>
                  <a:pt x="277" y="49"/>
                </a:cubicBezTo>
                <a:cubicBezTo>
                  <a:pt x="275" y="48"/>
                  <a:pt x="274" y="46"/>
                  <a:pt x="273" y="45"/>
                </a:cubicBezTo>
                <a:cubicBezTo>
                  <a:pt x="271" y="47"/>
                  <a:pt x="273" y="48"/>
                  <a:pt x="273" y="49"/>
                </a:cubicBezTo>
                <a:cubicBezTo>
                  <a:pt x="273" y="49"/>
                  <a:pt x="272" y="48"/>
                  <a:pt x="272" y="48"/>
                </a:cubicBezTo>
                <a:cubicBezTo>
                  <a:pt x="272" y="49"/>
                  <a:pt x="272" y="50"/>
                  <a:pt x="271" y="51"/>
                </a:cubicBezTo>
                <a:cubicBezTo>
                  <a:pt x="270" y="51"/>
                  <a:pt x="270" y="50"/>
                  <a:pt x="270" y="50"/>
                </a:cubicBezTo>
                <a:cubicBezTo>
                  <a:pt x="268" y="49"/>
                  <a:pt x="270" y="51"/>
                  <a:pt x="267" y="50"/>
                </a:cubicBezTo>
                <a:cubicBezTo>
                  <a:pt x="266" y="49"/>
                  <a:pt x="266" y="46"/>
                  <a:pt x="265" y="45"/>
                </a:cubicBezTo>
                <a:cubicBezTo>
                  <a:pt x="265" y="45"/>
                  <a:pt x="264" y="45"/>
                  <a:pt x="264" y="45"/>
                </a:cubicBezTo>
                <a:cubicBezTo>
                  <a:pt x="264" y="46"/>
                  <a:pt x="263" y="47"/>
                  <a:pt x="263" y="47"/>
                </a:cubicBezTo>
                <a:cubicBezTo>
                  <a:pt x="263" y="47"/>
                  <a:pt x="261" y="45"/>
                  <a:pt x="260" y="47"/>
                </a:cubicBezTo>
                <a:cubicBezTo>
                  <a:pt x="259" y="47"/>
                  <a:pt x="260" y="48"/>
                  <a:pt x="260" y="48"/>
                </a:cubicBezTo>
                <a:cubicBezTo>
                  <a:pt x="259" y="48"/>
                  <a:pt x="255" y="50"/>
                  <a:pt x="256" y="50"/>
                </a:cubicBezTo>
                <a:cubicBezTo>
                  <a:pt x="255" y="50"/>
                  <a:pt x="255" y="49"/>
                  <a:pt x="255" y="49"/>
                </a:cubicBezTo>
                <a:cubicBezTo>
                  <a:pt x="245" y="55"/>
                  <a:pt x="245" y="55"/>
                  <a:pt x="245" y="55"/>
                </a:cubicBezTo>
                <a:cubicBezTo>
                  <a:pt x="246" y="56"/>
                  <a:pt x="246" y="57"/>
                  <a:pt x="247" y="58"/>
                </a:cubicBezTo>
                <a:cubicBezTo>
                  <a:pt x="245" y="59"/>
                  <a:pt x="243" y="58"/>
                  <a:pt x="241" y="57"/>
                </a:cubicBezTo>
                <a:cubicBezTo>
                  <a:pt x="227" y="66"/>
                  <a:pt x="227" y="66"/>
                  <a:pt x="227" y="66"/>
                </a:cubicBezTo>
                <a:cubicBezTo>
                  <a:pt x="227" y="66"/>
                  <a:pt x="227" y="66"/>
                  <a:pt x="227" y="66"/>
                </a:cubicBezTo>
                <a:cubicBezTo>
                  <a:pt x="227" y="66"/>
                  <a:pt x="227" y="66"/>
                  <a:pt x="227" y="66"/>
                </a:cubicBezTo>
                <a:cubicBezTo>
                  <a:pt x="228" y="65"/>
                  <a:pt x="228" y="66"/>
                  <a:pt x="228" y="66"/>
                </a:cubicBezTo>
                <a:cubicBezTo>
                  <a:pt x="229" y="68"/>
                  <a:pt x="230" y="69"/>
                  <a:pt x="232" y="70"/>
                </a:cubicBezTo>
                <a:cubicBezTo>
                  <a:pt x="229" y="69"/>
                  <a:pt x="231" y="72"/>
                  <a:pt x="230" y="73"/>
                </a:cubicBezTo>
                <a:cubicBezTo>
                  <a:pt x="230" y="73"/>
                  <a:pt x="230" y="73"/>
                  <a:pt x="230" y="73"/>
                </a:cubicBezTo>
                <a:cubicBezTo>
                  <a:pt x="230" y="73"/>
                  <a:pt x="230" y="73"/>
                  <a:pt x="230" y="73"/>
                </a:cubicBezTo>
                <a:cubicBezTo>
                  <a:pt x="231" y="73"/>
                  <a:pt x="231" y="72"/>
                  <a:pt x="231" y="72"/>
                </a:cubicBezTo>
                <a:cubicBezTo>
                  <a:pt x="232" y="70"/>
                  <a:pt x="236" y="71"/>
                  <a:pt x="237" y="71"/>
                </a:cubicBezTo>
                <a:cubicBezTo>
                  <a:pt x="238" y="72"/>
                  <a:pt x="237" y="72"/>
                  <a:pt x="237" y="73"/>
                </a:cubicBezTo>
                <a:cubicBezTo>
                  <a:pt x="237" y="74"/>
                  <a:pt x="241" y="76"/>
                  <a:pt x="240" y="79"/>
                </a:cubicBezTo>
                <a:cubicBezTo>
                  <a:pt x="239" y="78"/>
                  <a:pt x="239" y="76"/>
                  <a:pt x="238" y="76"/>
                </a:cubicBezTo>
                <a:cubicBezTo>
                  <a:pt x="237" y="76"/>
                  <a:pt x="237" y="77"/>
                  <a:pt x="237" y="78"/>
                </a:cubicBezTo>
                <a:cubicBezTo>
                  <a:pt x="236" y="79"/>
                  <a:pt x="231" y="77"/>
                  <a:pt x="230" y="74"/>
                </a:cubicBezTo>
                <a:cubicBezTo>
                  <a:pt x="229" y="74"/>
                  <a:pt x="229" y="74"/>
                  <a:pt x="228" y="74"/>
                </a:cubicBezTo>
                <a:cubicBezTo>
                  <a:pt x="227" y="74"/>
                  <a:pt x="227" y="74"/>
                  <a:pt x="227" y="75"/>
                </a:cubicBezTo>
                <a:cubicBezTo>
                  <a:pt x="229" y="76"/>
                  <a:pt x="230" y="78"/>
                  <a:pt x="232" y="79"/>
                </a:cubicBezTo>
                <a:cubicBezTo>
                  <a:pt x="233" y="79"/>
                  <a:pt x="234" y="79"/>
                  <a:pt x="235" y="79"/>
                </a:cubicBezTo>
                <a:cubicBezTo>
                  <a:pt x="236" y="79"/>
                  <a:pt x="236" y="80"/>
                  <a:pt x="237" y="80"/>
                </a:cubicBezTo>
                <a:cubicBezTo>
                  <a:pt x="239" y="80"/>
                  <a:pt x="237" y="78"/>
                  <a:pt x="239" y="79"/>
                </a:cubicBezTo>
                <a:cubicBezTo>
                  <a:pt x="240" y="79"/>
                  <a:pt x="240" y="80"/>
                  <a:pt x="240" y="81"/>
                </a:cubicBezTo>
                <a:cubicBezTo>
                  <a:pt x="240" y="82"/>
                  <a:pt x="237" y="81"/>
                  <a:pt x="236" y="82"/>
                </a:cubicBezTo>
                <a:cubicBezTo>
                  <a:pt x="236" y="82"/>
                  <a:pt x="236" y="84"/>
                  <a:pt x="236" y="85"/>
                </a:cubicBezTo>
                <a:cubicBezTo>
                  <a:pt x="235" y="87"/>
                  <a:pt x="233" y="86"/>
                  <a:pt x="236" y="89"/>
                </a:cubicBezTo>
                <a:cubicBezTo>
                  <a:pt x="232" y="86"/>
                  <a:pt x="234" y="91"/>
                  <a:pt x="234" y="92"/>
                </a:cubicBezTo>
                <a:cubicBezTo>
                  <a:pt x="234" y="91"/>
                  <a:pt x="227" y="93"/>
                  <a:pt x="227" y="93"/>
                </a:cubicBezTo>
                <a:cubicBezTo>
                  <a:pt x="226" y="93"/>
                  <a:pt x="223" y="92"/>
                  <a:pt x="221" y="92"/>
                </a:cubicBezTo>
                <a:cubicBezTo>
                  <a:pt x="221" y="92"/>
                  <a:pt x="222" y="92"/>
                  <a:pt x="222" y="92"/>
                </a:cubicBezTo>
                <a:cubicBezTo>
                  <a:pt x="221" y="93"/>
                  <a:pt x="221" y="92"/>
                  <a:pt x="220" y="92"/>
                </a:cubicBezTo>
                <a:cubicBezTo>
                  <a:pt x="220" y="92"/>
                  <a:pt x="220" y="92"/>
                  <a:pt x="220" y="92"/>
                </a:cubicBezTo>
                <a:cubicBezTo>
                  <a:pt x="220" y="92"/>
                  <a:pt x="220" y="92"/>
                  <a:pt x="221" y="93"/>
                </a:cubicBezTo>
                <a:cubicBezTo>
                  <a:pt x="221" y="93"/>
                  <a:pt x="221" y="93"/>
                  <a:pt x="221" y="93"/>
                </a:cubicBezTo>
                <a:cubicBezTo>
                  <a:pt x="221" y="93"/>
                  <a:pt x="221" y="93"/>
                  <a:pt x="221" y="93"/>
                </a:cubicBezTo>
                <a:cubicBezTo>
                  <a:pt x="221" y="93"/>
                  <a:pt x="221" y="93"/>
                  <a:pt x="221" y="93"/>
                </a:cubicBezTo>
                <a:cubicBezTo>
                  <a:pt x="223" y="96"/>
                  <a:pt x="224" y="101"/>
                  <a:pt x="224" y="105"/>
                </a:cubicBezTo>
                <a:cubicBezTo>
                  <a:pt x="225" y="105"/>
                  <a:pt x="226" y="105"/>
                  <a:pt x="226" y="106"/>
                </a:cubicBezTo>
                <a:cubicBezTo>
                  <a:pt x="226" y="107"/>
                  <a:pt x="225" y="107"/>
                  <a:pt x="224" y="107"/>
                </a:cubicBezTo>
                <a:cubicBezTo>
                  <a:pt x="224" y="107"/>
                  <a:pt x="224" y="108"/>
                  <a:pt x="224" y="108"/>
                </a:cubicBezTo>
                <a:cubicBezTo>
                  <a:pt x="223" y="108"/>
                  <a:pt x="222" y="107"/>
                  <a:pt x="221" y="106"/>
                </a:cubicBezTo>
                <a:cubicBezTo>
                  <a:pt x="221" y="106"/>
                  <a:pt x="221" y="107"/>
                  <a:pt x="221" y="107"/>
                </a:cubicBezTo>
                <a:cubicBezTo>
                  <a:pt x="219" y="107"/>
                  <a:pt x="218" y="106"/>
                  <a:pt x="218" y="105"/>
                </a:cubicBezTo>
                <a:cubicBezTo>
                  <a:pt x="217" y="106"/>
                  <a:pt x="216" y="106"/>
                  <a:pt x="215" y="105"/>
                </a:cubicBezTo>
                <a:cubicBezTo>
                  <a:pt x="214" y="105"/>
                  <a:pt x="214" y="104"/>
                  <a:pt x="214" y="103"/>
                </a:cubicBezTo>
                <a:cubicBezTo>
                  <a:pt x="214" y="103"/>
                  <a:pt x="213" y="104"/>
                  <a:pt x="214" y="105"/>
                </a:cubicBezTo>
                <a:cubicBezTo>
                  <a:pt x="215" y="106"/>
                  <a:pt x="218" y="108"/>
                  <a:pt x="218" y="108"/>
                </a:cubicBezTo>
                <a:cubicBezTo>
                  <a:pt x="218" y="108"/>
                  <a:pt x="219" y="108"/>
                  <a:pt x="219" y="108"/>
                </a:cubicBezTo>
                <a:cubicBezTo>
                  <a:pt x="220" y="111"/>
                  <a:pt x="212" y="112"/>
                  <a:pt x="213" y="109"/>
                </a:cubicBezTo>
                <a:cubicBezTo>
                  <a:pt x="213" y="109"/>
                  <a:pt x="214" y="108"/>
                  <a:pt x="214" y="108"/>
                </a:cubicBezTo>
                <a:cubicBezTo>
                  <a:pt x="214" y="107"/>
                  <a:pt x="210" y="104"/>
                  <a:pt x="209" y="103"/>
                </a:cubicBezTo>
                <a:cubicBezTo>
                  <a:pt x="209" y="102"/>
                  <a:pt x="208" y="102"/>
                  <a:pt x="208" y="101"/>
                </a:cubicBezTo>
                <a:cubicBezTo>
                  <a:pt x="207" y="101"/>
                  <a:pt x="206" y="103"/>
                  <a:pt x="205" y="103"/>
                </a:cubicBezTo>
                <a:cubicBezTo>
                  <a:pt x="204" y="103"/>
                  <a:pt x="204" y="102"/>
                  <a:pt x="203" y="101"/>
                </a:cubicBezTo>
                <a:cubicBezTo>
                  <a:pt x="203" y="101"/>
                  <a:pt x="200" y="100"/>
                  <a:pt x="199" y="101"/>
                </a:cubicBezTo>
                <a:cubicBezTo>
                  <a:pt x="199" y="101"/>
                  <a:pt x="200" y="103"/>
                  <a:pt x="200" y="102"/>
                </a:cubicBezTo>
                <a:cubicBezTo>
                  <a:pt x="200" y="102"/>
                  <a:pt x="199" y="104"/>
                  <a:pt x="197" y="103"/>
                </a:cubicBezTo>
                <a:cubicBezTo>
                  <a:pt x="197" y="103"/>
                  <a:pt x="197" y="103"/>
                  <a:pt x="197" y="103"/>
                </a:cubicBezTo>
                <a:cubicBezTo>
                  <a:pt x="197" y="103"/>
                  <a:pt x="197" y="103"/>
                  <a:pt x="196" y="104"/>
                </a:cubicBezTo>
                <a:cubicBezTo>
                  <a:pt x="197" y="104"/>
                  <a:pt x="198" y="104"/>
                  <a:pt x="199" y="105"/>
                </a:cubicBezTo>
                <a:cubicBezTo>
                  <a:pt x="198" y="104"/>
                  <a:pt x="198" y="104"/>
                  <a:pt x="199" y="104"/>
                </a:cubicBezTo>
                <a:cubicBezTo>
                  <a:pt x="199" y="103"/>
                  <a:pt x="200" y="103"/>
                  <a:pt x="200" y="104"/>
                </a:cubicBezTo>
                <a:cubicBezTo>
                  <a:pt x="201" y="104"/>
                  <a:pt x="202" y="104"/>
                  <a:pt x="201" y="105"/>
                </a:cubicBezTo>
                <a:cubicBezTo>
                  <a:pt x="201" y="106"/>
                  <a:pt x="200" y="105"/>
                  <a:pt x="200" y="105"/>
                </a:cubicBezTo>
                <a:cubicBezTo>
                  <a:pt x="200" y="105"/>
                  <a:pt x="200" y="105"/>
                  <a:pt x="200" y="105"/>
                </a:cubicBezTo>
                <a:cubicBezTo>
                  <a:pt x="200" y="105"/>
                  <a:pt x="200" y="105"/>
                  <a:pt x="200" y="105"/>
                </a:cubicBezTo>
                <a:cubicBezTo>
                  <a:pt x="200" y="105"/>
                  <a:pt x="199" y="105"/>
                  <a:pt x="199" y="105"/>
                </a:cubicBezTo>
                <a:cubicBezTo>
                  <a:pt x="200" y="106"/>
                  <a:pt x="201" y="107"/>
                  <a:pt x="199" y="109"/>
                </a:cubicBezTo>
                <a:cubicBezTo>
                  <a:pt x="198" y="110"/>
                  <a:pt x="197" y="109"/>
                  <a:pt x="196" y="108"/>
                </a:cubicBezTo>
                <a:cubicBezTo>
                  <a:pt x="196" y="109"/>
                  <a:pt x="196" y="109"/>
                  <a:pt x="196" y="109"/>
                </a:cubicBezTo>
                <a:cubicBezTo>
                  <a:pt x="196" y="111"/>
                  <a:pt x="195" y="109"/>
                  <a:pt x="195" y="110"/>
                </a:cubicBezTo>
                <a:cubicBezTo>
                  <a:pt x="194" y="110"/>
                  <a:pt x="195" y="110"/>
                  <a:pt x="195" y="111"/>
                </a:cubicBezTo>
                <a:cubicBezTo>
                  <a:pt x="196" y="111"/>
                  <a:pt x="196" y="111"/>
                  <a:pt x="195" y="111"/>
                </a:cubicBezTo>
                <a:cubicBezTo>
                  <a:pt x="196" y="111"/>
                  <a:pt x="196" y="112"/>
                  <a:pt x="196" y="112"/>
                </a:cubicBezTo>
                <a:cubicBezTo>
                  <a:pt x="195" y="115"/>
                  <a:pt x="191" y="113"/>
                  <a:pt x="189" y="114"/>
                </a:cubicBezTo>
                <a:cubicBezTo>
                  <a:pt x="190" y="115"/>
                  <a:pt x="190" y="117"/>
                  <a:pt x="190" y="117"/>
                </a:cubicBezTo>
                <a:cubicBezTo>
                  <a:pt x="191" y="118"/>
                  <a:pt x="192" y="118"/>
                  <a:pt x="193" y="118"/>
                </a:cubicBezTo>
                <a:cubicBezTo>
                  <a:pt x="194" y="117"/>
                  <a:pt x="195" y="116"/>
                  <a:pt x="197" y="116"/>
                </a:cubicBezTo>
                <a:cubicBezTo>
                  <a:pt x="201" y="117"/>
                  <a:pt x="201" y="123"/>
                  <a:pt x="198" y="125"/>
                </a:cubicBezTo>
                <a:cubicBezTo>
                  <a:pt x="198" y="125"/>
                  <a:pt x="198" y="126"/>
                  <a:pt x="200" y="126"/>
                </a:cubicBezTo>
                <a:cubicBezTo>
                  <a:pt x="199" y="126"/>
                  <a:pt x="199" y="126"/>
                  <a:pt x="198" y="126"/>
                </a:cubicBezTo>
                <a:cubicBezTo>
                  <a:pt x="200" y="127"/>
                  <a:pt x="201" y="130"/>
                  <a:pt x="200" y="132"/>
                </a:cubicBezTo>
                <a:cubicBezTo>
                  <a:pt x="201" y="133"/>
                  <a:pt x="202" y="134"/>
                  <a:pt x="201" y="135"/>
                </a:cubicBezTo>
                <a:cubicBezTo>
                  <a:pt x="201" y="135"/>
                  <a:pt x="200" y="134"/>
                  <a:pt x="200" y="133"/>
                </a:cubicBezTo>
                <a:cubicBezTo>
                  <a:pt x="200" y="133"/>
                  <a:pt x="200" y="133"/>
                  <a:pt x="199" y="133"/>
                </a:cubicBezTo>
                <a:cubicBezTo>
                  <a:pt x="199" y="134"/>
                  <a:pt x="198" y="134"/>
                  <a:pt x="197" y="134"/>
                </a:cubicBezTo>
                <a:cubicBezTo>
                  <a:pt x="196" y="136"/>
                  <a:pt x="196" y="138"/>
                  <a:pt x="193" y="136"/>
                </a:cubicBezTo>
                <a:cubicBezTo>
                  <a:pt x="191" y="136"/>
                  <a:pt x="190" y="137"/>
                  <a:pt x="189" y="137"/>
                </a:cubicBezTo>
                <a:cubicBezTo>
                  <a:pt x="189" y="137"/>
                  <a:pt x="188" y="136"/>
                  <a:pt x="187" y="136"/>
                </a:cubicBezTo>
                <a:cubicBezTo>
                  <a:pt x="189" y="138"/>
                  <a:pt x="191" y="139"/>
                  <a:pt x="193" y="141"/>
                </a:cubicBezTo>
                <a:cubicBezTo>
                  <a:pt x="195" y="138"/>
                  <a:pt x="197" y="136"/>
                  <a:pt x="199" y="140"/>
                </a:cubicBezTo>
                <a:cubicBezTo>
                  <a:pt x="200" y="140"/>
                  <a:pt x="200" y="141"/>
                  <a:pt x="200" y="142"/>
                </a:cubicBezTo>
                <a:cubicBezTo>
                  <a:pt x="200" y="140"/>
                  <a:pt x="205" y="140"/>
                  <a:pt x="203" y="143"/>
                </a:cubicBezTo>
                <a:cubicBezTo>
                  <a:pt x="203" y="144"/>
                  <a:pt x="202" y="143"/>
                  <a:pt x="201" y="143"/>
                </a:cubicBezTo>
                <a:cubicBezTo>
                  <a:pt x="201" y="143"/>
                  <a:pt x="201" y="142"/>
                  <a:pt x="200" y="142"/>
                </a:cubicBezTo>
                <a:cubicBezTo>
                  <a:pt x="201" y="144"/>
                  <a:pt x="202" y="147"/>
                  <a:pt x="203" y="147"/>
                </a:cubicBezTo>
                <a:cubicBezTo>
                  <a:pt x="205" y="149"/>
                  <a:pt x="205" y="148"/>
                  <a:pt x="204" y="150"/>
                </a:cubicBezTo>
                <a:cubicBezTo>
                  <a:pt x="204" y="151"/>
                  <a:pt x="203" y="152"/>
                  <a:pt x="204" y="153"/>
                </a:cubicBezTo>
                <a:cubicBezTo>
                  <a:pt x="204" y="153"/>
                  <a:pt x="209" y="155"/>
                  <a:pt x="206" y="156"/>
                </a:cubicBezTo>
                <a:cubicBezTo>
                  <a:pt x="205" y="156"/>
                  <a:pt x="205" y="155"/>
                  <a:pt x="204" y="155"/>
                </a:cubicBezTo>
                <a:cubicBezTo>
                  <a:pt x="203" y="156"/>
                  <a:pt x="204" y="159"/>
                  <a:pt x="204" y="160"/>
                </a:cubicBezTo>
                <a:cubicBezTo>
                  <a:pt x="203" y="160"/>
                  <a:pt x="200" y="156"/>
                  <a:pt x="199" y="159"/>
                </a:cubicBezTo>
                <a:cubicBezTo>
                  <a:pt x="198" y="160"/>
                  <a:pt x="198" y="160"/>
                  <a:pt x="198" y="160"/>
                </a:cubicBezTo>
                <a:cubicBezTo>
                  <a:pt x="198" y="160"/>
                  <a:pt x="198" y="160"/>
                  <a:pt x="198" y="160"/>
                </a:cubicBezTo>
                <a:cubicBezTo>
                  <a:pt x="196" y="159"/>
                  <a:pt x="196" y="159"/>
                  <a:pt x="195" y="160"/>
                </a:cubicBezTo>
                <a:cubicBezTo>
                  <a:pt x="196" y="161"/>
                  <a:pt x="196" y="162"/>
                  <a:pt x="195" y="163"/>
                </a:cubicBezTo>
                <a:cubicBezTo>
                  <a:pt x="194" y="163"/>
                  <a:pt x="194" y="162"/>
                  <a:pt x="193" y="162"/>
                </a:cubicBezTo>
                <a:cubicBezTo>
                  <a:pt x="193" y="161"/>
                  <a:pt x="193" y="161"/>
                  <a:pt x="193" y="161"/>
                </a:cubicBezTo>
                <a:cubicBezTo>
                  <a:pt x="192" y="162"/>
                  <a:pt x="192" y="163"/>
                  <a:pt x="192" y="164"/>
                </a:cubicBezTo>
                <a:cubicBezTo>
                  <a:pt x="191" y="165"/>
                  <a:pt x="189" y="163"/>
                  <a:pt x="188" y="163"/>
                </a:cubicBezTo>
                <a:cubicBezTo>
                  <a:pt x="185" y="165"/>
                  <a:pt x="189" y="167"/>
                  <a:pt x="189" y="170"/>
                </a:cubicBezTo>
                <a:cubicBezTo>
                  <a:pt x="189" y="170"/>
                  <a:pt x="187" y="172"/>
                  <a:pt x="189" y="173"/>
                </a:cubicBezTo>
                <a:cubicBezTo>
                  <a:pt x="190" y="174"/>
                  <a:pt x="192" y="172"/>
                  <a:pt x="194" y="176"/>
                </a:cubicBezTo>
                <a:cubicBezTo>
                  <a:pt x="194" y="177"/>
                  <a:pt x="197" y="182"/>
                  <a:pt x="195" y="183"/>
                </a:cubicBezTo>
                <a:cubicBezTo>
                  <a:pt x="194" y="183"/>
                  <a:pt x="194" y="181"/>
                  <a:pt x="194" y="181"/>
                </a:cubicBezTo>
                <a:cubicBezTo>
                  <a:pt x="193" y="180"/>
                  <a:pt x="190" y="182"/>
                  <a:pt x="190" y="182"/>
                </a:cubicBezTo>
                <a:cubicBezTo>
                  <a:pt x="189" y="181"/>
                  <a:pt x="189" y="179"/>
                  <a:pt x="188" y="179"/>
                </a:cubicBezTo>
                <a:cubicBezTo>
                  <a:pt x="188" y="179"/>
                  <a:pt x="188" y="179"/>
                  <a:pt x="187" y="180"/>
                </a:cubicBezTo>
                <a:cubicBezTo>
                  <a:pt x="187" y="180"/>
                  <a:pt x="187" y="179"/>
                  <a:pt x="186" y="179"/>
                </a:cubicBezTo>
                <a:cubicBezTo>
                  <a:pt x="185" y="179"/>
                  <a:pt x="184" y="180"/>
                  <a:pt x="183" y="178"/>
                </a:cubicBezTo>
                <a:cubicBezTo>
                  <a:pt x="182" y="179"/>
                  <a:pt x="182" y="179"/>
                  <a:pt x="182" y="179"/>
                </a:cubicBezTo>
                <a:cubicBezTo>
                  <a:pt x="182" y="179"/>
                  <a:pt x="182" y="179"/>
                  <a:pt x="182" y="179"/>
                </a:cubicBezTo>
                <a:cubicBezTo>
                  <a:pt x="182" y="180"/>
                  <a:pt x="181" y="180"/>
                  <a:pt x="180" y="178"/>
                </a:cubicBezTo>
                <a:cubicBezTo>
                  <a:pt x="179" y="178"/>
                  <a:pt x="179" y="178"/>
                  <a:pt x="179" y="178"/>
                </a:cubicBezTo>
                <a:cubicBezTo>
                  <a:pt x="179" y="178"/>
                  <a:pt x="179" y="179"/>
                  <a:pt x="179" y="179"/>
                </a:cubicBezTo>
                <a:cubicBezTo>
                  <a:pt x="179" y="180"/>
                  <a:pt x="179" y="181"/>
                  <a:pt x="179" y="181"/>
                </a:cubicBezTo>
                <a:cubicBezTo>
                  <a:pt x="179" y="182"/>
                  <a:pt x="179" y="182"/>
                  <a:pt x="178" y="182"/>
                </a:cubicBezTo>
                <a:cubicBezTo>
                  <a:pt x="178" y="182"/>
                  <a:pt x="177" y="182"/>
                  <a:pt x="177" y="181"/>
                </a:cubicBezTo>
                <a:cubicBezTo>
                  <a:pt x="176" y="181"/>
                  <a:pt x="175" y="181"/>
                  <a:pt x="175" y="182"/>
                </a:cubicBezTo>
                <a:cubicBezTo>
                  <a:pt x="174" y="181"/>
                  <a:pt x="175" y="178"/>
                  <a:pt x="173" y="176"/>
                </a:cubicBezTo>
                <a:cubicBezTo>
                  <a:pt x="174" y="177"/>
                  <a:pt x="176" y="176"/>
                  <a:pt x="174" y="174"/>
                </a:cubicBezTo>
                <a:cubicBezTo>
                  <a:pt x="173" y="173"/>
                  <a:pt x="173" y="175"/>
                  <a:pt x="173" y="175"/>
                </a:cubicBezTo>
                <a:cubicBezTo>
                  <a:pt x="173" y="175"/>
                  <a:pt x="172" y="174"/>
                  <a:pt x="171" y="174"/>
                </a:cubicBezTo>
                <a:cubicBezTo>
                  <a:pt x="171" y="175"/>
                  <a:pt x="171" y="175"/>
                  <a:pt x="171" y="175"/>
                </a:cubicBezTo>
                <a:cubicBezTo>
                  <a:pt x="172" y="177"/>
                  <a:pt x="173" y="179"/>
                  <a:pt x="172" y="181"/>
                </a:cubicBezTo>
                <a:cubicBezTo>
                  <a:pt x="172" y="181"/>
                  <a:pt x="172" y="181"/>
                  <a:pt x="173" y="181"/>
                </a:cubicBezTo>
                <a:cubicBezTo>
                  <a:pt x="173" y="181"/>
                  <a:pt x="173" y="180"/>
                  <a:pt x="173" y="180"/>
                </a:cubicBezTo>
                <a:cubicBezTo>
                  <a:pt x="174" y="181"/>
                  <a:pt x="173" y="181"/>
                  <a:pt x="172" y="181"/>
                </a:cubicBezTo>
                <a:cubicBezTo>
                  <a:pt x="172" y="182"/>
                  <a:pt x="171" y="182"/>
                  <a:pt x="170" y="182"/>
                </a:cubicBezTo>
                <a:cubicBezTo>
                  <a:pt x="168" y="182"/>
                  <a:pt x="167" y="180"/>
                  <a:pt x="166" y="177"/>
                </a:cubicBezTo>
                <a:cubicBezTo>
                  <a:pt x="166" y="177"/>
                  <a:pt x="165" y="178"/>
                  <a:pt x="164" y="178"/>
                </a:cubicBezTo>
                <a:cubicBezTo>
                  <a:pt x="162" y="177"/>
                  <a:pt x="161" y="174"/>
                  <a:pt x="160" y="175"/>
                </a:cubicBezTo>
                <a:cubicBezTo>
                  <a:pt x="160" y="173"/>
                  <a:pt x="159" y="171"/>
                  <a:pt x="160" y="170"/>
                </a:cubicBezTo>
                <a:cubicBezTo>
                  <a:pt x="161" y="167"/>
                  <a:pt x="162" y="168"/>
                  <a:pt x="160" y="164"/>
                </a:cubicBezTo>
                <a:cubicBezTo>
                  <a:pt x="160" y="164"/>
                  <a:pt x="160" y="163"/>
                  <a:pt x="160" y="162"/>
                </a:cubicBezTo>
                <a:cubicBezTo>
                  <a:pt x="159" y="159"/>
                  <a:pt x="159" y="160"/>
                  <a:pt x="156" y="161"/>
                </a:cubicBezTo>
                <a:cubicBezTo>
                  <a:pt x="158" y="159"/>
                  <a:pt x="156" y="160"/>
                  <a:pt x="155" y="162"/>
                </a:cubicBezTo>
                <a:cubicBezTo>
                  <a:pt x="155" y="162"/>
                  <a:pt x="156" y="162"/>
                  <a:pt x="156" y="162"/>
                </a:cubicBezTo>
                <a:cubicBezTo>
                  <a:pt x="156" y="162"/>
                  <a:pt x="155" y="162"/>
                  <a:pt x="155" y="162"/>
                </a:cubicBezTo>
                <a:cubicBezTo>
                  <a:pt x="155" y="163"/>
                  <a:pt x="155" y="163"/>
                  <a:pt x="155" y="163"/>
                </a:cubicBezTo>
                <a:cubicBezTo>
                  <a:pt x="155" y="163"/>
                  <a:pt x="158" y="164"/>
                  <a:pt x="156" y="165"/>
                </a:cubicBezTo>
                <a:cubicBezTo>
                  <a:pt x="156" y="166"/>
                  <a:pt x="152" y="162"/>
                  <a:pt x="152" y="166"/>
                </a:cubicBezTo>
                <a:cubicBezTo>
                  <a:pt x="150" y="160"/>
                  <a:pt x="148" y="168"/>
                  <a:pt x="147" y="171"/>
                </a:cubicBezTo>
                <a:cubicBezTo>
                  <a:pt x="146" y="172"/>
                  <a:pt x="144" y="172"/>
                  <a:pt x="143" y="173"/>
                </a:cubicBezTo>
                <a:cubicBezTo>
                  <a:pt x="142" y="174"/>
                  <a:pt x="142" y="174"/>
                  <a:pt x="141" y="174"/>
                </a:cubicBezTo>
                <a:cubicBezTo>
                  <a:pt x="141" y="174"/>
                  <a:pt x="141" y="174"/>
                  <a:pt x="141" y="174"/>
                </a:cubicBezTo>
                <a:cubicBezTo>
                  <a:pt x="140" y="175"/>
                  <a:pt x="140" y="175"/>
                  <a:pt x="139" y="176"/>
                </a:cubicBezTo>
                <a:cubicBezTo>
                  <a:pt x="140" y="176"/>
                  <a:pt x="140" y="177"/>
                  <a:pt x="139" y="177"/>
                </a:cubicBezTo>
                <a:cubicBezTo>
                  <a:pt x="140" y="177"/>
                  <a:pt x="140" y="177"/>
                  <a:pt x="140" y="178"/>
                </a:cubicBezTo>
                <a:cubicBezTo>
                  <a:pt x="141" y="178"/>
                  <a:pt x="142" y="179"/>
                  <a:pt x="142" y="181"/>
                </a:cubicBezTo>
                <a:cubicBezTo>
                  <a:pt x="143" y="182"/>
                  <a:pt x="142" y="183"/>
                  <a:pt x="141" y="183"/>
                </a:cubicBezTo>
                <a:cubicBezTo>
                  <a:pt x="141" y="184"/>
                  <a:pt x="142" y="185"/>
                  <a:pt x="142" y="186"/>
                </a:cubicBezTo>
                <a:cubicBezTo>
                  <a:pt x="141" y="187"/>
                  <a:pt x="141" y="185"/>
                  <a:pt x="140" y="184"/>
                </a:cubicBezTo>
                <a:cubicBezTo>
                  <a:pt x="139" y="184"/>
                  <a:pt x="138" y="184"/>
                  <a:pt x="138" y="183"/>
                </a:cubicBezTo>
                <a:cubicBezTo>
                  <a:pt x="138" y="184"/>
                  <a:pt x="138" y="187"/>
                  <a:pt x="138" y="187"/>
                </a:cubicBezTo>
                <a:cubicBezTo>
                  <a:pt x="138" y="187"/>
                  <a:pt x="138" y="187"/>
                  <a:pt x="138" y="188"/>
                </a:cubicBezTo>
                <a:cubicBezTo>
                  <a:pt x="139" y="186"/>
                  <a:pt x="139" y="185"/>
                  <a:pt x="139" y="185"/>
                </a:cubicBezTo>
                <a:cubicBezTo>
                  <a:pt x="139" y="186"/>
                  <a:pt x="139" y="187"/>
                  <a:pt x="139" y="189"/>
                </a:cubicBezTo>
                <a:cubicBezTo>
                  <a:pt x="140" y="189"/>
                  <a:pt x="140" y="189"/>
                  <a:pt x="140" y="189"/>
                </a:cubicBezTo>
                <a:cubicBezTo>
                  <a:pt x="140" y="188"/>
                  <a:pt x="142" y="189"/>
                  <a:pt x="142" y="191"/>
                </a:cubicBezTo>
                <a:cubicBezTo>
                  <a:pt x="143" y="191"/>
                  <a:pt x="143" y="192"/>
                  <a:pt x="142" y="193"/>
                </a:cubicBezTo>
                <a:cubicBezTo>
                  <a:pt x="142" y="193"/>
                  <a:pt x="141" y="192"/>
                  <a:pt x="141" y="192"/>
                </a:cubicBezTo>
                <a:cubicBezTo>
                  <a:pt x="140" y="192"/>
                  <a:pt x="139" y="193"/>
                  <a:pt x="140" y="192"/>
                </a:cubicBezTo>
                <a:cubicBezTo>
                  <a:pt x="140" y="192"/>
                  <a:pt x="140" y="191"/>
                  <a:pt x="140" y="191"/>
                </a:cubicBezTo>
                <a:cubicBezTo>
                  <a:pt x="140" y="191"/>
                  <a:pt x="140" y="191"/>
                  <a:pt x="140" y="191"/>
                </a:cubicBezTo>
                <a:cubicBezTo>
                  <a:pt x="140" y="191"/>
                  <a:pt x="140" y="190"/>
                  <a:pt x="139" y="190"/>
                </a:cubicBezTo>
                <a:cubicBezTo>
                  <a:pt x="139" y="191"/>
                  <a:pt x="139" y="192"/>
                  <a:pt x="138" y="192"/>
                </a:cubicBezTo>
                <a:cubicBezTo>
                  <a:pt x="138" y="192"/>
                  <a:pt x="138" y="191"/>
                  <a:pt x="138" y="190"/>
                </a:cubicBezTo>
                <a:cubicBezTo>
                  <a:pt x="138" y="190"/>
                  <a:pt x="137" y="190"/>
                  <a:pt x="137" y="191"/>
                </a:cubicBezTo>
                <a:cubicBezTo>
                  <a:pt x="137" y="192"/>
                  <a:pt x="138" y="192"/>
                  <a:pt x="138" y="193"/>
                </a:cubicBezTo>
                <a:cubicBezTo>
                  <a:pt x="138" y="194"/>
                  <a:pt x="134" y="195"/>
                  <a:pt x="137" y="197"/>
                </a:cubicBezTo>
                <a:cubicBezTo>
                  <a:pt x="137" y="197"/>
                  <a:pt x="138" y="196"/>
                  <a:pt x="138" y="196"/>
                </a:cubicBezTo>
                <a:cubicBezTo>
                  <a:pt x="138" y="196"/>
                  <a:pt x="138" y="196"/>
                  <a:pt x="138" y="196"/>
                </a:cubicBezTo>
                <a:cubicBezTo>
                  <a:pt x="138" y="196"/>
                  <a:pt x="138" y="195"/>
                  <a:pt x="138" y="195"/>
                </a:cubicBezTo>
                <a:cubicBezTo>
                  <a:pt x="139" y="194"/>
                  <a:pt x="140" y="195"/>
                  <a:pt x="139" y="196"/>
                </a:cubicBezTo>
                <a:cubicBezTo>
                  <a:pt x="139" y="196"/>
                  <a:pt x="139" y="196"/>
                  <a:pt x="139" y="196"/>
                </a:cubicBezTo>
                <a:cubicBezTo>
                  <a:pt x="140" y="197"/>
                  <a:pt x="138" y="201"/>
                  <a:pt x="139" y="202"/>
                </a:cubicBezTo>
                <a:cubicBezTo>
                  <a:pt x="138" y="200"/>
                  <a:pt x="137" y="202"/>
                  <a:pt x="136" y="203"/>
                </a:cubicBezTo>
                <a:cubicBezTo>
                  <a:pt x="137" y="205"/>
                  <a:pt x="138" y="207"/>
                  <a:pt x="139" y="208"/>
                </a:cubicBezTo>
                <a:cubicBezTo>
                  <a:pt x="138" y="207"/>
                  <a:pt x="136" y="205"/>
                  <a:pt x="136" y="203"/>
                </a:cubicBezTo>
                <a:cubicBezTo>
                  <a:pt x="135" y="204"/>
                  <a:pt x="134" y="205"/>
                  <a:pt x="134" y="204"/>
                </a:cubicBezTo>
                <a:cubicBezTo>
                  <a:pt x="132" y="203"/>
                  <a:pt x="133" y="199"/>
                  <a:pt x="131" y="198"/>
                </a:cubicBezTo>
                <a:cubicBezTo>
                  <a:pt x="130" y="198"/>
                  <a:pt x="131" y="199"/>
                  <a:pt x="131" y="199"/>
                </a:cubicBezTo>
                <a:cubicBezTo>
                  <a:pt x="129" y="199"/>
                  <a:pt x="128" y="197"/>
                  <a:pt x="127" y="200"/>
                </a:cubicBezTo>
                <a:cubicBezTo>
                  <a:pt x="127" y="200"/>
                  <a:pt x="126" y="205"/>
                  <a:pt x="127" y="207"/>
                </a:cubicBezTo>
                <a:cubicBezTo>
                  <a:pt x="127" y="210"/>
                  <a:pt x="127" y="211"/>
                  <a:pt x="126" y="214"/>
                </a:cubicBezTo>
                <a:cubicBezTo>
                  <a:pt x="126" y="211"/>
                  <a:pt x="123" y="210"/>
                  <a:pt x="123" y="207"/>
                </a:cubicBezTo>
                <a:cubicBezTo>
                  <a:pt x="122" y="203"/>
                  <a:pt x="125" y="199"/>
                  <a:pt x="124" y="197"/>
                </a:cubicBezTo>
                <a:cubicBezTo>
                  <a:pt x="124" y="197"/>
                  <a:pt x="120" y="193"/>
                  <a:pt x="120" y="193"/>
                </a:cubicBezTo>
                <a:cubicBezTo>
                  <a:pt x="120" y="192"/>
                  <a:pt x="121" y="191"/>
                  <a:pt x="120" y="190"/>
                </a:cubicBezTo>
                <a:cubicBezTo>
                  <a:pt x="120" y="191"/>
                  <a:pt x="120" y="191"/>
                  <a:pt x="119" y="192"/>
                </a:cubicBezTo>
                <a:cubicBezTo>
                  <a:pt x="120" y="192"/>
                  <a:pt x="120" y="192"/>
                  <a:pt x="120" y="192"/>
                </a:cubicBezTo>
                <a:cubicBezTo>
                  <a:pt x="120" y="193"/>
                  <a:pt x="121" y="194"/>
                  <a:pt x="121" y="195"/>
                </a:cubicBezTo>
                <a:cubicBezTo>
                  <a:pt x="121" y="195"/>
                  <a:pt x="121" y="195"/>
                  <a:pt x="121" y="195"/>
                </a:cubicBezTo>
                <a:cubicBezTo>
                  <a:pt x="121" y="195"/>
                  <a:pt x="121" y="195"/>
                  <a:pt x="121" y="195"/>
                </a:cubicBezTo>
                <a:cubicBezTo>
                  <a:pt x="121" y="197"/>
                  <a:pt x="121" y="198"/>
                  <a:pt x="120" y="198"/>
                </a:cubicBezTo>
                <a:cubicBezTo>
                  <a:pt x="120" y="198"/>
                  <a:pt x="119" y="198"/>
                  <a:pt x="119" y="198"/>
                </a:cubicBezTo>
                <a:cubicBezTo>
                  <a:pt x="118" y="198"/>
                  <a:pt x="117" y="197"/>
                  <a:pt x="117" y="196"/>
                </a:cubicBezTo>
                <a:cubicBezTo>
                  <a:pt x="116" y="195"/>
                  <a:pt x="117" y="192"/>
                  <a:pt x="118" y="192"/>
                </a:cubicBezTo>
                <a:cubicBezTo>
                  <a:pt x="118" y="192"/>
                  <a:pt x="118" y="192"/>
                  <a:pt x="118" y="192"/>
                </a:cubicBezTo>
                <a:cubicBezTo>
                  <a:pt x="117" y="192"/>
                  <a:pt x="117" y="190"/>
                  <a:pt x="117" y="189"/>
                </a:cubicBezTo>
                <a:cubicBezTo>
                  <a:pt x="116" y="189"/>
                  <a:pt x="116" y="189"/>
                  <a:pt x="116" y="190"/>
                </a:cubicBezTo>
                <a:cubicBezTo>
                  <a:pt x="116" y="190"/>
                  <a:pt x="116" y="190"/>
                  <a:pt x="116" y="190"/>
                </a:cubicBezTo>
                <a:cubicBezTo>
                  <a:pt x="116" y="191"/>
                  <a:pt x="116" y="191"/>
                  <a:pt x="115" y="190"/>
                </a:cubicBezTo>
                <a:cubicBezTo>
                  <a:pt x="114" y="192"/>
                  <a:pt x="114" y="194"/>
                  <a:pt x="113" y="196"/>
                </a:cubicBezTo>
                <a:cubicBezTo>
                  <a:pt x="112" y="194"/>
                  <a:pt x="112" y="194"/>
                  <a:pt x="111" y="194"/>
                </a:cubicBezTo>
                <a:cubicBezTo>
                  <a:pt x="112" y="196"/>
                  <a:pt x="112" y="199"/>
                  <a:pt x="110" y="197"/>
                </a:cubicBezTo>
                <a:cubicBezTo>
                  <a:pt x="110" y="197"/>
                  <a:pt x="110" y="196"/>
                  <a:pt x="110" y="196"/>
                </a:cubicBezTo>
                <a:cubicBezTo>
                  <a:pt x="109" y="197"/>
                  <a:pt x="109" y="197"/>
                  <a:pt x="108" y="197"/>
                </a:cubicBezTo>
                <a:cubicBezTo>
                  <a:pt x="110" y="200"/>
                  <a:pt x="111" y="202"/>
                  <a:pt x="112" y="205"/>
                </a:cubicBezTo>
                <a:cubicBezTo>
                  <a:pt x="113" y="208"/>
                  <a:pt x="109" y="203"/>
                  <a:pt x="109" y="202"/>
                </a:cubicBezTo>
                <a:cubicBezTo>
                  <a:pt x="108" y="201"/>
                  <a:pt x="108" y="199"/>
                  <a:pt x="107" y="197"/>
                </a:cubicBezTo>
                <a:cubicBezTo>
                  <a:pt x="107" y="197"/>
                  <a:pt x="106" y="196"/>
                  <a:pt x="106" y="196"/>
                </a:cubicBezTo>
                <a:cubicBezTo>
                  <a:pt x="106" y="196"/>
                  <a:pt x="106" y="195"/>
                  <a:pt x="106" y="194"/>
                </a:cubicBezTo>
                <a:cubicBezTo>
                  <a:pt x="105" y="193"/>
                  <a:pt x="104" y="192"/>
                  <a:pt x="103" y="191"/>
                </a:cubicBezTo>
                <a:cubicBezTo>
                  <a:pt x="102" y="190"/>
                  <a:pt x="101" y="189"/>
                  <a:pt x="100" y="190"/>
                </a:cubicBezTo>
                <a:cubicBezTo>
                  <a:pt x="100" y="190"/>
                  <a:pt x="100" y="191"/>
                  <a:pt x="99" y="191"/>
                </a:cubicBezTo>
                <a:cubicBezTo>
                  <a:pt x="99" y="191"/>
                  <a:pt x="99" y="191"/>
                  <a:pt x="99" y="191"/>
                </a:cubicBezTo>
                <a:cubicBezTo>
                  <a:pt x="99" y="192"/>
                  <a:pt x="99" y="192"/>
                  <a:pt x="99" y="192"/>
                </a:cubicBezTo>
                <a:cubicBezTo>
                  <a:pt x="99" y="193"/>
                  <a:pt x="99" y="195"/>
                  <a:pt x="98" y="194"/>
                </a:cubicBezTo>
                <a:cubicBezTo>
                  <a:pt x="98" y="195"/>
                  <a:pt x="98" y="195"/>
                  <a:pt x="98" y="195"/>
                </a:cubicBezTo>
                <a:cubicBezTo>
                  <a:pt x="96" y="195"/>
                  <a:pt x="96" y="194"/>
                  <a:pt x="95" y="192"/>
                </a:cubicBezTo>
                <a:cubicBezTo>
                  <a:pt x="94" y="192"/>
                  <a:pt x="94" y="192"/>
                  <a:pt x="93" y="192"/>
                </a:cubicBezTo>
                <a:cubicBezTo>
                  <a:pt x="93" y="192"/>
                  <a:pt x="93" y="191"/>
                  <a:pt x="93" y="191"/>
                </a:cubicBezTo>
                <a:cubicBezTo>
                  <a:pt x="92" y="193"/>
                  <a:pt x="92" y="194"/>
                  <a:pt x="92" y="196"/>
                </a:cubicBezTo>
                <a:cubicBezTo>
                  <a:pt x="92" y="197"/>
                  <a:pt x="92" y="199"/>
                  <a:pt x="91" y="199"/>
                </a:cubicBezTo>
                <a:cubicBezTo>
                  <a:pt x="91" y="200"/>
                  <a:pt x="90" y="201"/>
                  <a:pt x="89" y="201"/>
                </a:cubicBezTo>
                <a:cubicBezTo>
                  <a:pt x="90" y="202"/>
                  <a:pt x="90" y="202"/>
                  <a:pt x="89" y="203"/>
                </a:cubicBezTo>
                <a:cubicBezTo>
                  <a:pt x="88" y="204"/>
                  <a:pt x="86" y="205"/>
                  <a:pt x="85" y="203"/>
                </a:cubicBezTo>
                <a:cubicBezTo>
                  <a:pt x="85" y="203"/>
                  <a:pt x="85" y="203"/>
                  <a:pt x="85" y="203"/>
                </a:cubicBezTo>
                <a:cubicBezTo>
                  <a:pt x="85" y="203"/>
                  <a:pt x="84" y="203"/>
                  <a:pt x="84" y="203"/>
                </a:cubicBezTo>
                <a:cubicBezTo>
                  <a:pt x="84" y="204"/>
                  <a:pt x="85" y="205"/>
                  <a:pt x="84" y="206"/>
                </a:cubicBezTo>
                <a:cubicBezTo>
                  <a:pt x="85" y="206"/>
                  <a:pt x="86" y="207"/>
                  <a:pt x="86" y="207"/>
                </a:cubicBezTo>
                <a:cubicBezTo>
                  <a:pt x="87" y="207"/>
                  <a:pt x="87" y="209"/>
                  <a:pt x="88" y="210"/>
                </a:cubicBezTo>
                <a:cubicBezTo>
                  <a:pt x="90" y="211"/>
                  <a:pt x="90" y="212"/>
                  <a:pt x="91" y="213"/>
                </a:cubicBezTo>
                <a:cubicBezTo>
                  <a:pt x="91" y="214"/>
                  <a:pt x="92" y="213"/>
                  <a:pt x="92" y="213"/>
                </a:cubicBezTo>
                <a:cubicBezTo>
                  <a:pt x="92" y="215"/>
                  <a:pt x="91" y="216"/>
                  <a:pt x="92" y="216"/>
                </a:cubicBezTo>
                <a:cubicBezTo>
                  <a:pt x="92" y="216"/>
                  <a:pt x="92" y="217"/>
                  <a:pt x="92" y="217"/>
                </a:cubicBezTo>
                <a:cubicBezTo>
                  <a:pt x="92" y="217"/>
                  <a:pt x="92" y="217"/>
                  <a:pt x="92" y="217"/>
                </a:cubicBezTo>
                <a:cubicBezTo>
                  <a:pt x="92" y="217"/>
                  <a:pt x="92" y="217"/>
                  <a:pt x="92" y="218"/>
                </a:cubicBezTo>
                <a:cubicBezTo>
                  <a:pt x="92" y="219"/>
                  <a:pt x="93" y="219"/>
                  <a:pt x="93" y="220"/>
                </a:cubicBezTo>
                <a:cubicBezTo>
                  <a:pt x="93" y="220"/>
                  <a:pt x="92" y="219"/>
                  <a:pt x="92" y="219"/>
                </a:cubicBezTo>
                <a:cubicBezTo>
                  <a:pt x="90" y="221"/>
                  <a:pt x="87" y="226"/>
                  <a:pt x="86" y="226"/>
                </a:cubicBezTo>
                <a:cubicBezTo>
                  <a:pt x="84" y="226"/>
                  <a:pt x="83" y="222"/>
                  <a:pt x="81" y="220"/>
                </a:cubicBezTo>
                <a:cubicBezTo>
                  <a:pt x="80" y="220"/>
                  <a:pt x="79" y="222"/>
                  <a:pt x="78" y="221"/>
                </a:cubicBezTo>
                <a:cubicBezTo>
                  <a:pt x="77" y="219"/>
                  <a:pt x="79" y="219"/>
                  <a:pt x="80" y="218"/>
                </a:cubicBezTo>
                <a:cubicBezTo>
                  <a:pt x="80" y="217"/>
                  <a:pt x="80" y="213"/>
                  <a:pt x="80" y="210"/>
                </a:cubicBezTo>
                <a:cubicBezTo>
                  <a:pt x="80" y="209"/>
                  <a:pt x="81" y="208"/>
                  <a:pt x="81" y="207"/>
                </a:cubicBezTo>
                <a:cubicBezTo>
                  <a:pt x="80" y="206"/>
                  <a:pt x="79" y="202"/>
                  <a:pt x="79" y="201"/>
                </a:cubicBezTo>
                <a:cubicBezTo>
                  <a:pt x="78" y="201"/>
                  <a:pt x="78" y="203"/>
                  <a:pt x="77" y="203"/>
                </a:cubicBezTo>
                <a:cubicBezTo>
                  <a:pt x="77" y="202"/>
                  <a:pt x="78" y="201"/>
                  <a:pt x="78" y="200"/>
                </a:cubicBezTo>
                <a:cubicBezTo>
                  <a:pt x="77" y="198"/>
                  <a:pt x="76" y="194"/>
                  <a:pt x="76" y="192"/>
                </a:cubicBezTo>
                <a:cubicBezTo>
                  <a:pt x="75" y="192"/>
                  <a:pt x="74" y="192"/>
                  <a:pt x="74" y="193"/>
                </a:cubicBezTo>
                <a:cubicBezTo>
                  <a:pt x="74" y="194"/>
                  <a:pt x="75" y="194"/>
                  <a:pt x="75" y="194"/>
                </a:cubicBezTo>
                <a:cubicBezTo>
                  <a:pt x="75" y="194"/>
                  <a:pt x="74" y="197"/>
                  <a:pt x="73" y="200"/>
                </a:cubicBezTo>
                <a:cubicBezTo>
                  <a:pt x="73" y="201"/>
                  <a:pt x="73" y="201"/>
                  <a:pt x="72" y="202"/>
                </a:cubicBezTo>
                <a:cubicBezTo>
                  <a:pt x="72" y="202"/>
                  <a:pt x="72" y="202"/>
                  <a:pt x="72" y="202"/>
                </a:cubicBezTo>
                <a:cubicBezTo>
                  <a:pt x="72" y="202"/>
                  <a:pt x="72" y="202"/>
                  <a:pt x="72" y="202"/>
                </a:cubicBezTo>
                <a:cubicBezTo>
                  <a:pt x="71" y="202"/>
                  <a:pt x="70" y="202"/>
                  <a:pt x="70" y="202"/>
                </a:cubicBezTo>
                <a:cubicBezTo>
                  <a:pt x="68" y="205"/>
                  <a:pt x="70" y="208"/>
                  <a:pt x="69" y="210"/>
                </a:cubicBezTo>
                <a:cubicBezTo>
                  <a:pt x="69" y="210"/>
                  <a:pt x="69" y="211"/>
                  <a:pt x="69" y="212"/>
                </a:cubicBezTo>
                <a:cubicBezTo>
                  <a:pt x="69" y="212"/>
                  <a:pt x="69" y="212"/>
                  <a:pt x="69" y="212"/>
                </a:cubicBezTo>
                <a:cubicBezTo>
                  <a:pt x="70" y="212"/>
                  <a:pt x="73" y="217"/>
                  <a:pt x="71" y="218"/>
                </a:cubicBezTo>
                <a:cubicBezTo>
                  <a:pt x="70" y="219"/>
                  <a:pt x="68" y="218"/>
                  <a:pt x="67" y="216"/>
                </a:cubicBezTo>
                <a:cubicBezTo>
                  <a:pt x="67" y="216"/>
                  <a:pt x="67" y="216"/>
                  <a:pt x="67" y="216"/>
                </a:cubicBezTo>
                <a:cubicBezTo>
                  <a:pt x="66" y="216"/>
                  <a:pt x="66" y="216"/>
                  <a:pt x="66" y="216"/>
                </a:cubicBezTo>
                <a:cubicBezTo>
                  <a:pt x="66" y="216"/>
                  <a:pt x="66" y="216"/>
                  <a:pt x="66" y="216"/>
                </a:cubicBezTo>
                <a:cubicBezTo>
                  <a:pt x="66" y="216"/>
                  <a:pt x="66" y="216"/>
                  <a:pt x="66" y="216"/>
                </a:cubicBezTo>
                <a:cubicBezTo>
                  <a:pt x="66" y="217"/>
                  <a:pt x="66" y="219"/>
                  <a:pt x="66" y="219"/>
                </a:cubicBezTo>
                <a:cubicBezTo>
                  <a:pt x="66" y="219"/>
                  <a:pt x="66" y="219"/>
                  <a:pt x="66" y="220"/>
                </a:cubicBezTo>
                <a:cubicBezTo>
                  <a:pt x="67" y="220"/>
                  <a:pt x="68" y="220"/>
                  <a:pt x="68" y="220"/>
                </a:cubicBezTo>
                <a:cubicBezTo>
                  <a:pt x="70" y="221"/>
                  <a:pt x="70" y="224"/>
                  <a:pt x="72" y="226"/>
                </a:cubicBezTo>
                <a:cubicBezTo>
                  <a:pt x="73" y="227"/>
                  <a:pt x="76" y="230"/>
                  <a:pt x="76" y="231"/>
                </a:cubicBezTo>
                <a:cubicBezTo>
                  <a:pt x="76" y="232"/>
                  <a:pt x="74" y="233"/>
                  <a:pt x="73" y="233"/>
                </a:cubicBezTo>
                <a:cubicBezTo>
                  <a:pt x="73" y="234"/>
                  <a:pt x="74" y="234"/>
                  <a:pt x="74" y="234"/>
                </a:cubicBezTo>
                <a:cubicBezTo>
                  <a:pt x="75" y="235"/>
                  <a:pt x="74" y="236"/>
                  <a:pt x="73" y="237"/>
                </a:cubicBezTo>
                <a:cubicBezTo>
                  <a:pt x="73" y="238"/>
                  <a:pt x="73" y="239"/>
                  <a:pt x="72" y="239"/>
                </a:cubicBezTo>
                <a:cubicBezTo>
                  <a:pt x="72" y="239"/>
                  <a:pt x="71" y="238"/>
                  <a:pt x="70" y="237"/>
                </a:cubicBezTo>
                <a:cubicBezTo>
                  <a:pt x="69" y="236"/>
                  <a:pt x="68" y="235"/>
                  <a:pt x="70" y="234"/>
                </a:cubicBezTo>
                <a:cubicBezTo>
                  <a:pt x="70" y="233"/>
                  <a:pt x="70" y="233"/>
                  <a:pt x="68" y="234"/>
                </a:cubicBezTo>
                <a:cubicBezTo>
                  <a:pt x="68" y="235"/>
                  <a:pt x="68" y="236"/>
                  <a:pt x="67" y="236"/>
                </a:cubicBezTo>
                <a:cubicBezTo>
                  <a:pt x="66" y="236"/>
                  <a:pt x="65" y="235"/>
                  <a:pt x="65" y="234"/>
                </a:cubicBezTo>
                <a:cubicBezTo>
                  <a:pt x="64" y="235"/>
                  <a:pt x="63" y="237"/>
                  <a:pt x="62" y="237"/>
                </a:cubicBezTo>
                <a:cubicBezTo>
                  <a:pt x="62" y="237"/>
                  <a:pt x="59" y="236"/>
                  <a:pt x="58" y="235"/>
                </a:cubicBezTo>
                <a:cubicBezTo>
                  <a:pt x="58" y="234"/>
                  <a:pt x="57" y="231"/>
                  <a:pt x="57" y="231"/>
                </a:cubicBezTo>
                <a:cubicBezTo>
                  <a:pt x="56" y="231"/>
                  <a:pt x="56" y="232"/>
                  <a:pt x="56" y="233"/>
                </a:cubicBezTo>
                <a:cubicBezTo>
                  <a:pt x="56" y="233"/>
                  <a:pt x="57" y="233"/>
                  <a:pt x="57" y="233"/>
                </a:cubicBezTo>
                <a:cubicBezTo>
                  <a:pt x="57" y="233"/>
                  <a:pt x="57" y="233"/>
                  <a:pt x="57" y="233"/>
                </a:cubicBezTo>
                <a:cubicBezTo>
                  <a:pt x="57" y="233"/>
                  <a:pt x="57" y="233"/>
                  <a:pt x="57" y="233"/>
                </a:cubicBezTo>
                <a:cubicBezTo>
                  <a:pt x="57" y="234"/>
                  <a:pt x="58" y="235"/>
                  <a:pt x="57" y="236"/>
                </a:cubicBezTo>
                <a:cubicBezTo>
                  <a:pt x="57" y="236"/>
                  <a:pt x="57" y="236"/>
                  <a:pt x="56" y="236"/>
                </a:cubicBezTo>
                <a:cubicBezTo>
                  <a:pt x="56" y="236"/>
                  <a:pt x="56" y="237"/>
                  <a:pt x="56" y="237"/>
                </a:cubicBezTo>
                <a:cubicBezTo>
                  <a:pt x="56" y="237"/>
                  <a:pt x="56" y="237"/>
                  <a:pt x="55" y="236"/>
                </a:cubicBezTo>
                <a:cubicBezTo>
                  <a:pt x="55" y="236"/>
                  <a:pt x="55" y="237"/>
                  <a:pt x="55" y="237"/>
                </a:cubicBezTo>
                <a:cubicBezTo>
                  <a:pt x="54" y="236"/>
                  <a:pt x="54" y="233"/>
                  <a:pt x="55" y="233"/>
                </a:cubicBezTo>
                <a:cubicBezTo>
                  <a:pt x="55" y="232"/>
                  <a:pt x="55" y="230"/>
                  <a:pt x="56" y="230"/>
                </a:cubicBezTo>
                <a:cubicBezTo>
                  <a:pt x="56" y="230"/>
                  <a:pt x="57" y="231"/>
                  <a:pt x="57" y="231"/>
                </a:cubicBezTo>
                <a:cubicBezTo>
                  <a:pt x="58" y="230"/>
                  <a:pt x="57" y="229"/>
                  <a:pt x="57" y="229"/>
                </a:cubicBezTo>
                <a:cubicBezTo>
                  <a:pt x="57" y="228"/>
                  <a:pt x="58" y="227"/>
                  <a:pt x="58" y="226"/>
                </a:cubicBezTo>
                <a:cubicBezTo>
                  <a:pt x="58" y="225"/>
                  <a:pt x="58" y="224"/>
                  <a:pt x="59" y="224"/>
                </a:cubicBezTo>
                <a:cubicBezTo>
                  <a:pt x="60" y="223"/>
                  <a:pt x="60" y="224"/>
                  <a:pt x="60" y="225"/>
                </a:cubicBezTo>
                <a:cubicBezTo>
                  <a:pt x="61" y="225"/>
                  <a:pt x="61" y="225"/>
                  <a:pt x="61" y="225"/>
                </a:cubicBezTo>
                <a:cubicBezTo>
                  <a:pt x="61" y="224"/>
                  <a:pt x="61" y="222"/>
                  <a:pt x="62" y="221"/>
                </a:cubicBezTo>
                <a:cubicBezTo>
                  <a:pt x="62" y="221"/>
                  <a:pt x="62" y="222"/>
                  <a:pt x="63" y="222"/>
                </a:cubicBezTo>
                <a:cubicBezTo>
                  <a:pt x="62" y="220"/>
                  <a:pt x="62" y="219"/>
                  <a:pt x="61" y="218"/>
                </a:cubicBezTo>
                <a:cubicBezTo>
                  <a:pt x="61" y="218"/>
                  <a:pt x="61" y="217"/>
                  <a:pt x="61" y="217"/>
                </a:cubicBezTo>
                <a:cubicBezTo>
                  <a:pt x="60" y="218"/>
                  <a:pt x="60" y="218"/>
                  <a:pt x="59" y="218"/>
                </a:cubicBezTo>
                <a:cubicBezTo>
                  <a:pt x="57" y="219"/>
                  <a:pt x="58" y="213"/>
                  <a:pt x="60" y="216"/>
                </a:cubicBezTo>
                <a:cubicBezTo>
                  <a:pt x="60" y="216"/>
                  <a:pt x="60" y="216"/>
                  <a:pt x="60" y="215"/>
                </a:cubicBezTo>
                <a:cubicBezTo>
                  <a:pt x="60" y="214"/>
                  <a:pt x="59" y="212"/>
                  <a:pt x="58" y="213"/>
                </a:cubicBezTo>
                <a:cubicBezTo>
                  <a:pt x="57" y="213"/>
                  <a:pt x="58" y="216"/>
                  <a:pt x="57" y="216"/>
                </a:cubicBezTo>
                <a:cubicBezTo>
                  <a:pt x="56" y="217"/>
                  <a:pt x="54" y="213"/>
                  <a:pt x="54" y="213"/>
                </a:cubicBezTo>
                <a:cubicBezTo>
                  <a:pt x="54" y="213"/>
                  <a:pt x="53" y="213"/>
                  <a:pt x="53" y="213"/>
                </a:cubicBezTo>
                <a:cubicBezTo>
                  <a:pt x="55" y="215"/>
                  <a:pt x="55" y="219"/>
                  <a:pt x="55" y="221"/>
                </a:cubicBezTo>
                <a:cubicBezTo>
                  <a:pt x="54" y="223"/>
                  <a:pt x="51" y="223"/>
                  <a:pt x="51" y="224"/>
                </a:cubicBezTo>
                <a:cubicBezTo>
                  <a:pt x="51" y="226"/>
                  <a:pt x="51" y="228"/>
                  <a:pt x="52" y="230"/>
                </a:cubicBezTo>
                <a:cubicBezTo>
                  <a:pt x="51" y="229"/>
                  <a:pt x="51" y="228"/>
                  <a:pt x="50" y="227"/>
                </a:cubicBezTo>
                <a:cubicBezTo>
                  <a:pt x="49" y="227"/>
                  <a:pt x="50" y="226"/>
                  <a:pt x="49" y="225"/>
                </a:cubicBezTo>
                <a:cubicBezTo>
                  <a:pt x="49" y="225"/>
                  <a:pt x="49" y="225"/>
                  <a:pt x="48" y="225"/>
                </a:cubicBezTo>
                <a:cubicBezTo>
                  <a:pt x="48" y="226"/>
                  <a:pt x="48" y="226"/>
                  <a:pt x="48" y="226"/>
                </a:cubicBezTo>
                <a:cubicBezTo>
                  <a:pt x="47" y="227"/>
                  <a:pt x="47" y="226"/>
                  <a:pt x="47" y="225"/>
                </a:cubicBezTo>
                <a:cubicBezTo>
                  <a:pt x="47" y="225"/>
                  <a:pt x="46" y="225"/>
                  <a:pt x="46" y="225"/>
                </a:cubicBezTo>
                <a:cubicBezTo>
                  <a:pt x="45" y="225"/>
                  <a:pt x="44" y="225"/>
                  <a:pt x="43" y="225"/>
                </a:cubicBezTo>
                <a:cubicBezTo>
                  <a:pt x="43" y="225"/>
                  <a:pt x="43" y="226"/>
                  <a:pt x="42" y="226"/>
                </a:cubicBezTo>
                <a:cubicBezTo>
                  <a:pt x="42" y="226"/>
                  <a:pt x="42" y="226"/>
                  <a:pt x="42" y="226"/>
                </a:cubicBezTo>
                <a:cubicBezTo>
                  <a:pt x="42" y="226"/>
                  <a:pt x="42" y="226"/>
                  <a:pt x="42" y="226"/>
                </a:cubicBezTo>
                <a:cubicBezTo>
                  <a:pt x="41" y="226"/>
                  <a:pt x="41" y="226"/>
                  <a:pt x="40" y="225"/>
                </a:cubicBezTo>
                <a:cubicBezTo>
                  <a:pt x="39" y="225"/>
                  <a:pt x="38" y="225"/>
                  <a:pt x="37" y="225"/>
                </a:cubicBezTo>
                <a:cubicBezTo>
                  <a:pt x="37" y="225"/>
                  <a:pt x="36" y="225"/>
                  <a:pt x="36" y="225"/>
                </a:cubicBezTo>
                <a:cubicBezTo>
                  <a:pt x="36" y="226"/>
                  <a:pt x="36" y="226"/>
                  <a:pt x="35" y="226"/>
                </a:cubicBezTo>
                <a:cubicBezTo>
                  <a:pt x="35" y="226"/>
                  <a:pt x="35" y="226"/>
                  <a:pt x="34" y="225"/>
                </a:cubicBezTo>
                <a:cubicBezTo>
                  <a:pt x="33" y="225"/>
                  <a:pt x="32" y="224"/>
                  <a:pt x="31" y="224"/>
                </a:cubicBezTo>
                <a:cubicBezTo>
                  <a:pt x="31" y="224"/>
                  <a:pt x="31" y="224"/>
                  <a:pt x="31" y="224"/>
                </a:cubicBezTo>
                <a:cubicBezTo>
                  <a:pt x="31" y="226"/>
                  <a:pt x="31" y="228"/>
                  <a:pt x="30" y="228"/>
                </a:cubicBezTo>
                <a:cubicBezTo>
                  <a:pt x="28" y="229"/>
                  <a:pt x="27" y="225"/>
                  <a:pt x="27" y="223"/>
                </a:cubicBezTo>
                <a:cubicBezTo>
                  <a:pt x="28" y="225"/>
                  <a:pt x="28" y="224"/>
                  <a:pt x="29" y="223"/>
                </a:cubicBezTo>
                <a:cubicBezTo>
                  <a:pt x="28" y="223"/>
                  <a:pt x="27" y="223"/>
                  <a:pt x="27" y="223"/>
                </a:cubicBezTo>
                <a:cubicBezTo>
                  <a:pt x="26" y="224"/>
                  <a:pt x="25" y="224"/>
                  <a:pt x="25" y="223"/>
                </a:cubicBezTo>
                <a:cubicBezTo>
                  <a:pt x="24" y="223"/>
                  <a:pt x="25" y="221"/>
                  <a:pt x="26" y="220"/>
                </a:cubicBezTo>
                <a:cubicBezTo>
                  <a:pt x="26" y="220"/>
                  <a:pt x="26" y="220"/>
                  <a:pt x="26" y="220"/>
                </a:cubicBezTo>
                <a:cubicBezTo>
                  <a:pt x="26" y="219"/>
                  <a:pt x="25" y="218"/>
                  <a:pt x="23" y="216"/>
                </a:cubicBezTo>
                <a:cubicBezTo>
                  <a:pt x="23" y="217"/>
                  <a:pt x="22" y="217"/>
                  <a:pt x="22" y="217"/>
                </a:cubicBezTo>
                <a:cubicBezTo>
                  <a:pt x="22" y="216"/>
                  <a:pt x="22" y="216"/>
                  <a:pt x="23" y="215"/>
                </a:cubicBezTo>
                <a:cubicBezTo>
                  <a:pt x="22" y="215"/>
                  <a:pt x="22" y="215"/>
                  <a:pt x="22" y="215"/>
                </a:cubicBezTo>
                <a:cubicBezTo>
                  <a:pt x="22" y="215"/>
                  <a:pt x="21" y="216"/>
                  <a:pt x="21" y="216"/>
                </a:cubicBezTo>
                <a:cubicBezTo>
                  <a:pt x="20" y="217"/>
                  <a:pt x="18" y="217"/>
                  <a:pt x="18" y="219"/>
                </a:cubicBezTo>
                <a:cubicBezTo>
                  <a:pt x="17" y="219"/>
                  <a:pt x="18" y="218"/>
                  <a:pt x="17" y="218"/>
                </a:cubicBezTo>
                <a:cubicBezTo>
                  <a:pt x="18" y="220"/>
                  <a:pt x="16" y="219"/>
                  <a:pt x="16" y="221"/>
                </a:cubicBezTo>
                <a:cubicBezTo>
                  <a:pt x="19" y="219"/>
                  <a:pt x="20" y="220"/>
                  <a:pt x="21" y="223"/>
                </a:cubicBezTo>
                <a:cubicBezTo>
                  <a:pt x="21" y="222"/>
                  <a:pt x="22" y="222"/>
                  <a:pt x="22" y="223"/>
                </a:cubicBezTo>
                <a:cubicBezTo>
                  <a:pt x="22" y="223"/>
                  <a:pt x="22" y="223"/>
                  <a:pt x="23" y="223"/>
                </a:cubicBezTo>
                <a:cubicBezTo>
                  <a:pt x="23" y="223"/>
                  <a:pt x="23" y="223"/>
                  <a:pt x="23" y="223"/>
                </a:cubicBezTo>
                <a:cubicBezTo>
                  <a:pt x="23" y="223"/>
                  <a:pt x="23" y="223"/>
                  <a:pt x="23" y="223"/>
                </a:cubicBezTo>
                <a:cubicBezTo>
                  <a:pt x="24" y="224"/>
                  <a:pt x="25" y="226"/>
                  <a:pt x="25" y="226"/>
                </a:cubicBezTo>
                <a:cubicBezTo>
                  <a:pt x="25" y="226"/>
                  <a:pt x="25" y="228"/>
                  <a:pt x="25" y="228"/>
                </a:cubicBezTo>
                <a:cubicBezTo>
                  <a:pt x="27" y="228"/>
                  <a:pt x="31" y="229"/>
                  <a:pt x="31" y="231"/>
                </a:cubicBezTo>
                <a:cubicBezTo>
                  <a:pt x="32" y="232"/>
                  <a:pt x="31" y="236"/>
                  <a:pt x="31" y="237"/>
                </a:cubicBezTo>
                <a:cubicBezTo>
                  <a:pt x="31" y="237"/>
                  <a:pt x="29" y="237"/>
                  <a:pt x="29" y="238"/>
                </a:cubicBezTo>
                <a:cubicBezTo>
                  <a:pt x="27" y="241"/>
                  <a:pt x="27" y="237"/>
                  <a:pt x="26" y="242"/>
                </a:cubicBezTo>
                <a:cubicBezTo>
                  <a:pt x="25" y="241"/>
                  <a:pt x="24" y="239"/>
                  <a:pt x="23" y="239"/>
                </a:cubicBezTo>
                <a:cubicBezTo>
                  <a:pt x="23" y="239"/>
                  <a:pt x="21" y="239"/>
                  <a:pt x="22" y="239"/>
                </a:cubicBezTo>
                <a:cubicBezTo>
                  <a:pt x="20" y="238"/>
                  <a:pt x="22" y="235"/>
                  <a:pt x="20" y="233"/>
                </a:cubicBezTo>
                <a:cubicBezTo>
                  <a:pt x="20" y="234"/>
                  <a:pt x="20" y="235"/>
                  <a:pt x="19" y="236"/>
                </a:cubicBezTo>
                <a:cubicBezTo>
                  <a:pt x="20" y="237"/>
                  <a:pt x="20" y="238"/>
                  <a:pt x="18" y="238"/>
                </a:cubicBezTo>
                <a:cubicBezTo>
                  <a:pt x="22" y="239"/>
                  <a:pt x="22" y="249"/>
                  <a:pt x="17" y="249"/>
                </a:cubicBezTo>
                <a:cubicBezTo>
                  <a:pt x="17" y="249"/>
                  <a:pt x="17" y="249"/>
                  <a:pt x="17" y="249"/>
                </a:cubicBezTo>
                <a:cubicBezTo>
                  <a:pt x="17" y="249"/>
                  <a:pt x="17" y="249"/>
                  <a:pt x="17" y="250"/>
                </a:cubicBezTo>
                <a:cubicBezTo>
                  <a:pt x="20" y="251"/>
                  <a:pt x="21" y="254"/>
                  <a:pt x="20" y="258"/>
                </a:cubicBezTo>
                <a:cubicBezTo>
                  <a:pt x="20" y="257"/>
                  <a:pt x="20" y="258"/>
                  <a:pt x="20" y="258"/>
                </a:cubicBezTo>
                <a:cubicBezTo>
                  <a:pt x="21" y="261"/>
                  <a:pt x="23" y="263"/>
                  <a:pt x="23" y="265"/>
                </a:cubicBezTo>
                <a:cubicBezTo>
                  <a:pt x="23" y="266"/>
                  <a:pt x="23" y="267"/>
                  <a:pt x="23" y="268"/>
                </a:cubicBezTo>
                <a:cubicBezTo>
                  <a:pt x="23" y="270"/>
                  <a:pt x="27" y="272"/>
                  <a:pt x="26" y="275"/>
                </a:cubicBezTo>
                <a:cubicBezTo>
                  <a:pt x="26" y="276"/>
                  <a:pt x="26" y="275"/>
                  <a:pt x="27" y="277"/>
                </a:cubicBezTo>
                <a:cubicBezTo>
                  <a:pt x="27" y="278"/>
                  <a:pt x="28" y="280"/>
                  <a:pt x="28" y="281"/>
                </a:cubicBezTo>
                <a:cubicBezTo>
                  <a:pt x="29" y="282"/>
                  <a:pt x="30" y="285"/>
                  <a:pt x="30" y="285"/>
                </a:cubicBezTo>
                <a:cubicBezTo>
                  <a:pt x="32" y="287"/>
                  <a:pt x="32" y="285"/>
                  <a:pt x="32" y="287"/>
                </a:cubicBezTo>
                <a:cubicBezTo>
                  <a:pt x="31" y="288"/>
                  <a:pt x="32" y="288"/>
                  <a:pt x="32" y="289"/>
                </a:cubicBezTo>
                <a:cubicBezTo>
                  <a:pt x="32" y="288"/>
                  <a:pt x="32" y="288"/>
                  <a:pt x="32" y="288"/>
                </a:cubicBezTo>
                <a:cubicBezTo>
                  <a:pt x="33" y="287"/>
                  <a:pt x="34" y="290"/>
                  <a:pt x="33" y="290"/>
                </a:cubicBezTo>
                <a:cubicBezTo>
                  <a:pt x="33" y="291"/>
                  <a:pt x="34" y="291"/>
                  <a:pt x="34" y="292"/>
                </a:cubicBezTo>
                <a:cubicBezTo>
                  <a:pt x="34" y="292"/>
                  <a:pt x="35" y="292"/>
                  <a:pt x="35" y="292"/>
                </a:cubicBezTo>
                <a:cubicBezTo>
                  <a:pt x="36" y="288"/>
                  <a:pt x="34" y="286"/>
                  <a:pt x="38" y="288"/>
                </a:cubicBezTo>
                <a:cubicBezTo>
                  <a:pt x="39" y="288"/>
                  <a:pt x="39" y="287"/>
                  <a:pt x="40" y="288"/>
                </a:cubicBezTo>
                <a:cubicBezTo>
                  <a:pt x="42" y="289"/>
                  <a:pt x="39" y="291"/>
                  <a:pt x="38" y="290"/>
                </a:cubicBezTo>
                <a:cubicBezTo>
                  <a:pt x="39" y="291"/>
                  <a:pt x="40" y="291"/>
                  <a:pt x="41" y="289"/>
                </a:cubicBezTo>
                <a:cubicBezTo>
                  <a:pt x="42" y="289"/>
                  <a:pt x="42" y="292"/>
                  <a:pt x="41" y="293"/>
                </a:cubicBezTo>
                <a:cubicBezTo>
                  <a:pt x="41" y="293"/>
                  <a:pt x="38" y="295"/>
                  <a:pt x="37" y="296"/>
                </a:cubicBezTo>
                <a:cubicBezTo>
                  <a:pt x="37" y="297"/>
                  <a:pt x="38" y="298"/>
                  <a:pt x="38" y="299"/>
                </a:cubicBezTo>
                <a:cubicBezTo>
                  <a:pt x="40" y="301"/>
                  <a:pt x="40" y="304"/>
                  <a:pt x="41" y="306"/>
                </a:cubicBezTo>
                <a:cubicBezTo>
                  <a:pt x="42" y="307"/>
                  <a:pt x="42" y="307"/>
                  <a:pt x="42" y="309"/>
                </a:cubicBezTo>
                <a:cubicBezTo>
                  <a:pt x="42" y="310"/>
                  <a:pt x="43" y="310"/>
                  <a:pt x="43" y="311"/>
                </a:cubicBezTo>
                <a:cubicBezTo>
                  <a:pt x="44" y="313"/>
                  <a:pt x="45" y="316"/>
                  <a:pt x="46" y="318"/>
                </a:cubicBezTo>
                <a:cubicBezTo>
                  <a:pt x="46" y="318"/>
                  <a:pt x="46" y="317"/>
                  <a:pt x="46" y="318"/>
                </a:cubicBezTo>
                <a:cubicBezTo>
                  <a:pt x="46" y="318"/>
                  <a:pt x="46" y="318"/>
                  <a:pt x="46" y="318"/>
                </a:cubicBezTo>
                <a:cubicBezTo>
                  <a:pt x="46" y="319"/>
                  <a:pt x="46" y="319"/>
                  <a:pt x="47" y="320"/>
                </a:cubicBezTo>
                <a:cubicBezTo>
                  <a:pt x="47" y="320"/>
                  <a:pt x="47" y="324"/>
                  <a:pt x="48" y="324"/>
                </a:cubicBezTo>
                <a:cubicBezTo>
                  <a:pt x="48" y="324"/>
                  <a:pt x="47" y="317"/>
                  <a:pt x="51" y="319"/>
                </a:cubicBezTo>
                <a:cubicBezTo>
                  <a:pt x="51" y="319"/>
                  <a:pt x="52" y="319"/>
                  <a:pt x="52" y="320"/>
                </a:cubicBezTo>
                <a:cubicBezTo>
                  <a:pt x="51" y="316"/>
                  <a:pt x="51" y="310"/>
                  <a:pt x="53" y="306"/>
                </a:cubicBezTo>
                <a:cubicBezTo>
                  <a:pt x="50" y="306"/>
                  <a:pt x="50" y="314"/>
                  <a:pt x="47" y="314"/>
                </a:cubicBezTo>
                <a:cubicBezTo>
                  <a:pt x="45" y="314"/>
                  <a:pt x="48" y="308"/>
                  <a:pt x="46" y="306"/>
                </a:cubicBezTo>
                <a:cubicBezTo>
                  <a:pt x="45" y="305"/>
                  <a:pt x="45" y="306"/>
                  <a:pt x="44" y="305"/>
                </a:cubicBezTo>
                <a:cubicBezTo>
                  <a:pt x="44" y="304"/>
                  <a:pt x="46" y="301"/>
                  <a:pt x="43" y="301"/>
                </a:cubicBezTo>
                <a:cubicBezTo>
                  <a:pt x="40" y="302"/>
                  <a:pt x="46" y="290"/>
                  <a:pt x="49" y="289"/>
                </a:cubicBezTo>
                <a:cubicBezTo>
                  <a:pt x="51" y="289"/>
                  <a:pt x="55" y="290"/>
                  <a:pt x="55" y="291"/>
                </a:cubicBezTo>
                <a:cubicBezTo>
                  <a:pt x="55" y="291"/>
                  <a:pt x="56" y="298"/>
                  <a:pt x="56" y="298"/>
                </a:cubicBezTo>
                <a:cubicBezTo>
                  <a:pt x="56" y="299"/>
                  <a:pt x="56" y="300"/>
                  <a:pt x="56" y="301"/>
                </a:cubicBezTo>
                <a:cubicBezTo>
                  <a:pt x="56" y="301"/>
                  <a:pt x="56" y="301"/>
                  <a:pt x="57" y="300"/>
                </a:cubicBezTo>
                <a:cubicBezTo>
                  <a:pt x="58" y="300"/>
                  <a:pt x="60" y="299"/>
                  <a:pt x="61" y="300"/>
                </a:cubicBezTo>
                <a:cubicBezTo>
                  <a:pt x="66" y="303"/>
                  <a:pt x="64" y="314"/>
                  <a:pt x="63" y="319"/>
                </a:cubicBezTo>
                <a:cubicBezTo>
                  <a:pt x="63" y="318"/>
                  <a:pt x="64" y="318"/>
                  <a:pt x="65" y="318"/>
                </a:cubicBezTo>
                <a:cubicBezTo>
                  <a:pt x="68" y="319"/>
                  <a:pt x="67" y="328"/>
                  <a:pt x="64" y="328"/>
                </a:cubicBezTo>
                <a:cubicBezTo>
                  <a:pt x="64" y="328"/>
                  <a:pt x="64" y="330"/>
                  <a:pt x="63" y="330"/>
                </a:cubicBezTo>
                <a:cubicBezTo>
                  <a:pt x="63" y="330"/>
                  <a:pt x="62" y="328"/>
                  <a:pt x="63" y="328"/>
                </a:cubicBezTo>
                <a:cubicBezTo>
                  <a:pt x="61" y="327"/>
                  <a:pt x="61" y="324"/>
                  <a:pt x="61" y="322"/>
                </a:cubicBezTo>
                <a:cubicBezTo>
                  <a:pt x="61" y="321"/>
                  <a:pt x="60" y="319"/>
                  <a:pt x="58" y="318"/>
                </a:cubicBezTo>
                <a:cubicBezTo>
                  <a:pt x="58" y="318"/>
                  <a:pt x="56" y="319"/>
                  <a:pt x="56" y="319"/>
                </a:cubicBezTo>
                <a:cubicBezTo>
                  <a:pt x="56" y="318"/>
                  <a:pt x="55" y="316"/>
                  <a:pt x="54" y="316"/>
                </a:cubicBezTo>
                <a:cubicBezTo>
                  <a:pt x="52" y="316"/>
                  <a:pt x="53" y="319"/>
                  <a:pt x="52" y="321"/>
                </a:cubicBezTo>
                <a:cubicBezTo>
                  <a:pt x="53" y="324"/>
                  <a:pt x="52" y="328"/>
                  <a:pt x="51" y="329"/>
                </a:cubicBezTo>
                <a:cubicBezTo>
                  <a:pt x="50" y="329"/>
                  <a:pt x="49" y="329"/>
                  <a:pt x="49" y="329"/>
                </a:cubicBezTo>
                <a:cubicBezTo>
                  <a:pt x="49" y="330"/>
                  <a:pt x="50" y="330"/>
                  <a:pt x="50" y="331"/>
                </a:cubicBezTo>
                <a:cubicBezTo>
                  <a:pt x="51" y="332"/>
                  <a:pt x="52" y="333"/>
                  <a:pt x="53" y="334"/>
                </a:cubicBezTo>
                <a:cubicBezTo>
                  <a:pt x="53" y="335"/>
                  <a:pt x="53" y="335"/>
                  <a:pt x="53" y="336"/>
                </a:cubicBezTo>
                <a:cubicBezTo>
                  <a:pt x="56" y="333"/>
                  <a:pt x="57" y="335"/>
                  <a:pt x="56" y="337"/>
                </a:cubicBezTo>
                <a:cubicBezTo>
                  <a:pt x="57" y="338"/>
                  <a:pt x="57" y="339"/>
                  <a:pt x="57" y="339"/>
                </a:cubicBezTo>
                <a:cubicBezTo>
                  <a:pt x="57" y="340"/>
                  <a:pt x="56" y="340"/>
                  <a:pt x="56" y="339"/>
                </a:cubicBezTo>
                <a:cubicBezTo>
                  <a:pt x="56" y="340"/>
                  <a:pt x="56" y="341"/>
                  <a:pt x="55" y="341"/>
                </a:cubicBezTo>
                <a:cubicBezTo>
                  <a:pt x="55" y="341"/>
                  <a:pt x="56" y="342"/>
                  <a:pt x="56" y="342"/>
                </a:cubicBezTo>
                <a:cubicBezTo>
                  <a:pt x="56" y="343"/>
                  <a:pt x="57" y="343"/>
                  <a:pt x="57" y="343"/>
                </a:cubicBezTo>
                <a:cubicBezTo>
                  <a:pt x="58" y="344"/>
                  <a:pt x="57" y="345"/>
                  <a:pt x="57" y="345"/>
                </a:cubicBezTo>
                <a:cubicBezTo>
                  <a:pt x="58" y="346"/>
                  <a:pt x="59" y="347"/>
                  <a:pt x="60" y="348"/>
                </a:cubicBezTo>
                <a:cubicBezTo>
                  <a:pt x="60" y="348"/>
                  <a:pt x="61" y="348"/>
                  <a:pt x="61" y="350"/>
                </a:cubicBezTo>
                <a:cubicBezTo>
                  <a:pt x="62" y="351"/>
                  <a:pt x="62" y="351"/>
                  <a:pt x="63" y="352"/>
                </a:cubicBezTo>
                <a:cubicBezTo>
                  <a:pt x="65" y="356"/>
                  <a:pt x="66" y="361"/>
                  <a:pt x="68" y="365"/>
                </a:cubicBezTo>
                <a:cubicBezTo>
                  <a:pt x="68" y="366"/>
                  <a:pt x="68" y="366"/>
                  <a:pt x="68" y="366"/>
                </a:cubicBezTo>
                <a:cubicBezTo>
                  <a:pt x="68" y="366"/>
                  <a:pt x="69" y="365"/>
                  <a:pt x="68" y="365"/>
                </a:cubicBezTo>
                <a:cubicBezTo>
                  <a:pt x="68" y="364"/>
                  <a:pt x="69" y="362"/>
                  <a:pt x="71" y="361"/>
                </a:cubicBezTo>
                <a:cubicBezTo>
                  <a:pt x="71" y="360"/>
                  <a:pt x="71" y="360"/>
                  <a:pt x="71" y="360"/>
                </a:cubicBezTo>
                <a:cubicBezTo>
                  <a:pt x="72" y="360"/>
                  <a:pt x="74" y="359"/>
                  <a:pt x="75" y="359"/>
                </a:cubicBezTo>
                <a:cubicBezTo>
                  <a:pt x="82" y="360"/>
                  <a:pt x="82" y="374"/>
                  <a:pt x="79" y="380"/>
                </a:cubicBezTo>
                <a:cubicBezTo>
                  <a:pt x="79" y="381"/>
                  <a:pt x="77" y="383"/>
                  <a:pt x="75" y="384"/>
                </a:cubicBezTo>
                <a:cubicBezTo>
                  <a:pt x="76" y="386"/>
                  <a:pt x="77" y="388"/>
                  <a:pt x="76" y="388"/>
                </a:cubicBezTo>
                <a:cubicBezTo>
                  <a:pt x="75" y="389"/>
                  <a:pt x="75" y="387"/>
                  <a:pt x="74" y="385"/>
                </a:cubicBezTo>
                <a:cubicBezTo>
                  <a:pt x="74" y="385"/>
                  <a:pt x="74" y="385"/>
                  <a:pt x="74" y="385"/>
                </a:cubicBezTo>
                <a:cubicBezTo>
                  <a:pt x="73" y="386"/>
                  <a:pt x="73" y="388"/>
                  <a:pt x="72" y="388"/>
                </a:cubicBezTo>
                <a:cubicBezTo>
                  <a:pt x="71" y="388"/>
                  <a:pt x="69" y="384"/>
                  <a:pt x="67" y="380"/>
                </a:cubicBezTo>
                <a:cubicBezTo>
                  <a:pt x="68" y="385"/>
                  <a:pt x="68" y="392"/>
                  <a:pt x="69" y="397"/>
                </a:cubicBezTo>
                <a:cubicBezTo>
                  <a:pt x="69" y="397"/>
                  <a:pt x="71" y="404"/>
                  <a:pt x="70" y="404"/>
                </a:cubicBezTo>
                <a:cubicBezTo>
                  <a:pt x="69" y="405"/>
                  <a:pt x="69" y="398"/>
                  <a:pt x="69" y="397"/>
                </a:cubicBezTo>
                <a:cubicBezTo>
                  <a:pt x="68" y="391"/>
                  <a:pt x="66" y="381"/>
                  <a:pt x="65" y="375"/>
                </a:cubicBezTo>
                <a:cubicBezTo>
                  <a:pt x="65" y="375"/>
                  <a:pt x="65" y="374"/>
                  <a:pt x="65" y="374"/>
                </a:cubicBezTo>
                <a:cubicBezTo>
                  <a:pt x="65" y="374"/>
                  <a:pt x="65" y="374"/>
                  <a:pt x="66" y="374"/>
                </a:cubicBezTo>
                <a:cubicBezTo>
                  <a:pt x="66" y="374"/>
                  <a:pt x="66" y="375"/>
                  <a:pt x="66" y="375"/>
                </a:cubicBezTo>
                <a:cubicBezTo>
                  <a:pt x="66" y="374"/>
                  <a:pt x="66" y="373"/>
                  <a:pt x="66" y="371"/>
                </a:cubicBezTo>
                <a:cubicBezTo>
                  <a:pt x="65" y="371"/>
                  <a:pt x="64" y="370"/>
                  <a:pt x="64" y="370"/>
                </a:cubicBezTo>
                <a:cubicBezTo>
                  <a:pt x="64" y="369"/>
                  <a:pt x="65" y="369"/>
                  <a:pt x="65" y="369"/>
                </a:cubicBezTo>
                <a:cubicBezTo>
                  <a:pt x="64" y="368"/>
                  <a:pt x="64" y="368"/>
                  <a:pt x="63" y="367"/>
                </a:cubicBezTo>
                <a:cubicBezTo>
                  <a:pt x="62" y="366"/>
                  <a:pt x="62" y="364"/>
                  <a:pt x="62" y="362"/>
                </a:cubicBezTo>
                <a:cubicBezTo>
                  <a:pt x="61" y="361"/>
                  <a:pt x="60" y="359"/>
                  <a:pt x="58" y="357"/>
                </a:cubicBezTo>
                <a:cubicBezTo>
                  <a:pt x="58" y="357"/>
                  <a:pt x="59" y="357"/>
                  <a:pt x="59" y="356"/>
                </a:cubicBezTo>
                <a:cubicBezTo>
                  <a:pt x="58" y="355"/>
                  <a:pt x="55" y="353"/>
                  <a:pt x="55" y="352"/>
                </a:cubicBezTo>
                <a:cubicBezTo>
                  <a:pt x="55" y="352"/>
                  <a:pt x="55" y="351"/>
                  <a:pt x="55" y="350"/>
                </a:cubicBezTo>
                <a:cubicBezTo>
                  <a:pt x="55" y="348"/>
                  <a:pt x="53" y="347"/>
                  <a:pt x="53" y="345"/>
                </a:cubicBezTo>
                <a:cubicBezTo>
                  <a:pt x="52" y="343"/>
                  <a:pt x="51" y="341"/>
                  <a:pt x="51" y="340"/>
                </a:cubicBezTo>
                <a:cubicBezTo>
                  <a:pt x="51" y="340"/>
                  <a:pt x="51" y="340"/>
                  <a:pt x="51" y="340"/>
                </a:cubicBezTo>
                <a:cubicBezTo>
                  <a:pt x="51" y="339"/>
                  <a:pt x="50" y="339"/>
                  <a:pt x="50" y="338"/>
                </a:cubicBezTo>
                <a:cubicBezTo>
                  <a:pt x="50" y="338"/>
                  <a:pt x="50" y="337"/>
                  <a:pt x="50" y="337"/>
                </a:cubicBezTo>
                <a:cubicBezTo>
                  <a:pt x="50" y="336"/>
                  <a:pt x="49" y="336"/>
                  <a:pt x="49" y="336"/>
                </a:cubicBezTo>
                <a:cubicBezTo>
                  <a:pt x="49" y="335"/>
                  <a:pt x="50" y="335"/>
                  <a:pt x="49" y="334"/>
                </a:cubicBezTo>
                <a:cubicBezTo>
                  <a:pt x="49" y="334"/>
                  <a:pt x="48" y="334"/>
                  <a:pt x="48" y="333"/>
                </a:cubicBezTo>
                <a:cubicBezTo>
                  <a:pt x="48" y="333"/>
                  <a:pt x="48" y="332"/>
                  <a:pt x="48" y="332"/>
                </a:cubicBezTo>
                <a:cubicBezTo>
                  <a:pt x="48" y="331"/>
                  <a:pt x="47" y="331"/>
                  <a:pt x="46" y="330"/>
                </a:cubicBezTo>
                <a:cubicBezTo>
                  <a:pt x="45" y="329"/>
                  <a:pt x="46" y="327"/>
                  <a:pt x="45" y="326"/>
                </a:cubicBezTo>
                <a:cubicBezTo>
                  <a:pt x="42" y="323"/>
                  <a:pt x="41" y="319"/>
                  <a:pt x="38" y="315"/>
                </a:cubicBezTo>
                <a:cubicBezTo>
                  <a:pt x="37" y="312"/>
                  <a:pt x="35" y="309"/>
                  <a:pt x="34" y="306"/>
                </a:cubicBezTo>
                <a:cubicBezTo>
                  <a:pt x="34" y="306"/>
                  <a:pt x="34" y="307"/>
                  <a:pt x="33" y="307"/>
                </a:cubicBezTo>
                <a:cubicBezTo>
                  <a:pt x="33" y="310"/>
                  <a:pt x="29" y="311"/>
                  <a:pt x="29" y="312"/>
                </a:cubicBezTo>
                <a:cubicBezTo>
                  <a:pt x="29" y="313"/>
                  <a:pt x="30" y="314"/>
                  <a:pt x="30" y="314"/>
                </a:cubicBezTo>
                <a:cubicBezTo>
                  <a:pt x="30" y="314"/>
                  <a:pt x="30" y="314"/>
                  <a:pt x="30" y="314"/>
                </a:cubicBezTo>
                <a:cubicBezTo>
                  <a:pt x="30" y="314"/>
                  <a:pt x="30" y="314"/>
                  <a:pt x="30" y="315"/>
                </a:cubicBezTo>
                <a:cubicBezTo>
                  <a:pt x="31" y="316"/>
                  <a:pt x="32" y="316"/>
                  <a:pt x="32" y="317"/>
                </a:cubicBezTo>
                <a:cubicBezTo>
                  <a:pt x="33" y="319"/>
                  <a:pt x="32" y="319"/>
                  <a:pt x="32" y="320"/>
                </a:cubicBezTo>
                <a:cubicBezTo>
                  <a:pt x="32" y="320"/>
                  <a:pt x="32" y="320"/>
                  <a:pt x="32" y="320"/>
                </a:cubicBezTo>
                <a:cubicBezTo>
                  <a:pt x="32" y="321"/>
                  <a:pt x="33" y="321"/>
                  <a:pt x="33" y="321"/>
                </a:cubicBezTo>
                <a:cubicBezTo>
                  <a:pt x="34" y="322"/>
                  <a:pt x="34" y="326"/>
                  <a:pt x="33" y="327"/>
                </a:cubicBezTo>
                <a:cubicBezTo>
                  <a:pt x="33" y="327"/>
                  <a:pt x="32" y="326"/>
                  <a:pt x="31" y="325"/>
                </a:cubicBezTo>
                <a:cubicBezTo>
                  <a:pt x="31" y="325"/>
                  <a:pt x="31" y="326"/>
                  <a:pt x="31" y="326"/>
                </a:cubicBezTo>
                <a:cubicBezTo>
                  <a:pt x="31" y="327"/>
                  <a:pt x="31" y="328"/>
                  <a:pt x="31" y="328"/>
                </a:cubicBezTo>
                <a:cubicBezTo>
                  <a:pt x="30" y="334"/>
                  <a:pt x="27" y="336"/>
                  <a:pt x="24" y="332"/>
                </a:cubicBezTo>
                <a:cubicBezTo>
                  <a:pt x="22" y="330"/>
                  <a:pt x="23" y="321"/>
                  <a:pt x="28" y="321"/>
                </a:cubicBezTo>
                <a:cubicBezTo>
                  <a:pt x="30" y="322"/>
                  <a:pt x="29" y="322"/>
                  <a:pt x="28" y="320"/>
                </a:cubicBezTo>
                <a:cubicBezTo>
                  <a:pt x="27" y="317"/>
                  <a:pt x="29" y="315"/>
                  <a:pt x="27" y="314"/>
                </a:cubicBezTo>
                <a:cubicBezTo>
                  <a:pt x="22" y="311"/>
                  <a:pt x="22" y="308"/>
                  <a:pt x="24" y="304"/>
                </a:cubicBezTo>
                <a:cubicBezTo>
                  <a:pt x="22" y="304"/>
                  <a:pt x="23" y="301"/>
                  <a:pt x="23" y="300"/>
                </a:cubicBezTo>
                <a:cubicBezTo>
                  <a:pt x="23" y="300"/>
                  <a:pt x="22" y="299"/>
                  <a:pt x="23" y="299"/>
                </a:cubicBezTo>
                <a:cubicBezTo>
                  <a:pt x="24" y="298"/>
                  <a:pt x="25" y="298"/>
                  <a:pt x="25" y="299"/>
                </a:cubicBezTo>
                <a:cubicBezTo>
                  <a:pt x="26" y="298"/>
                  <a:pt x="27" y="298"/>
                  <a:pt x="29" y="298"/>
                </a:cubicBezTo>
                <a:cubicBezTo>
                  <a:pt x="30" y="298"/>
                  <a:pt x="31" y="298"/>
                  <a:pt x="31" y="299"/>
                </a:cubicBezTo>
                <a:cubicBezTo>
                  <a:pt x="31" y="298"/>
                  <a:pt x="31" y="298"/>
                  <a:pt x="31" y="298"/>
                </a:cubicBezTo>
                <a:cubicBezTo>
                  <a:pt x="30" y="296"/>
                  <a:pt x="31" y="294"/>
                  <a:pt x="30" y="293"/>
                </a:cubicBezTo>
                <a:cubicBezTo>
                  <a:pt x="30" y="291"/>
                  <a:pt x="29" y="291"/>
                  <a:pt x="28" y="289"/>
                </a:cubicBezTo>
                <a:cubicBezTo>
                  <a:pt x="28" y="288"/>
                  <a:pt x="28" y="286"/>
                  <a:pt x="27" y="284"/>
                </a:cubicBezTo>
                <a:cubicBezTo>
                  <a:pt x="27" y="285"/>
                  <a:pt x="26" y="287"/>
                  <a:pt x="26" y="289"/>
                </a:cubicBezTo>
                <a:cubicBezTo>
                  <a:pt x="27" y="286"/>
                  <a:pt x="24" y="287"/>
                  <a:pt x="25" y="288"/>
                </a:cubicBezTo>
                <a:cubicBezTo>
                  <a:pt x="24" y="287"/>
                  <a:pt x="22" y="287"/>
                  <a:pt x="21" y="286"/>
                </a:cubicBezTo>
                <a:cubicBezTo>
                  <a:pt x="21" y="285"/>
                  <a:pt x="21" y="284"/>
                  <a:pt x="22" y="283"/>
                </a:cubicBezTo>
                <a:cubicBezTo>
                  <a:pt x="21" y="283"/>
                  <a:pt x="21" y="281"/>
                  <a:pt x="21" y="281"/>
                </a:cubicBezTo>
                <a:cubicBezTo>
                  <a:pt x="22" y="281"/>
                  <a:pt x="22" y="281"/>
                  <a:pt x="22" y="282"/>
                </a:cubicBezTo>
                <a:cubicBezTo>
                  <a:pt x="23" y="281"/>
                  <a:pt x="24" y="280"/>
                  <a:pt x="25" y="280"/>
                </a:cubicBezTo>
                <a:cubicBezTo>
                  <a:pt x="25" y="279"/>
                  <a:pt x="24" y="278"/>
                  <a:pt x="24" y="277"/>
                </a:cubicBezTo>
                <a:cubicBezTo>
                  <a:pt x="24" y="278"/>
                  <a:pt x="23" y="278"/>
                  <a:pt x="23" y="279"/>
                </a:cubicBezTo>
                <a:cubicBezTo>
                  <a:pt x="22" y="279"/>
                  <a:pt x="20" y="277"/>
                  <a:pt x="21" y="275"/>
                </a:cubicBezTo>
                <a:cubicBezTo>
                  <a:pt x="19" y="275"/>
                  <a:pt x="19" y="273"/>
                  <a:pt x="19" y="271"/>
                </a:cubicBezTo>
                <a:cubicBezTo>
                  <a:pt x="18" y="271"/>
                  <a:pt x="17" y="271"/>
                  <a:pt x="16" y="272"/>
                </a:cubicBezTo>
                <a:cubicBezTo>
                  <a:pt x="16" y="272"/>
                  <a:pt x="17" y="273"/>
                  <a:pt x="17" y="273"/>
                </a:cubicBezTo>
                <a:cubicBezTo>
                  <a:pt x="18" y="275"/>
                  <a:pt x="16" y="278"/>
                  <a:pt x="17" y="279"/>
                </a:cubicBezTo>
                <a:cubicBezTo>
                  <a:pt x="17" y="282"/>
                  <a:pt x="15" y="284"/>
                  <a:pt x="14" y="284"/>
                </a:cubicBezTo>
                <a:cubicBezTo>
                  <a:pt x="14" y="285"/>
                  <a:pt x="13" y="285"/>
                  <a:pt x="13" y="285"/>
                </a:cubicBezTo>
                <a:cubicBezTo>
                  <a:pt x="13" y="285"/>
                  <a:pt x="13" y="285"/>
                  <a:pt x="12" y="284"/>
                </a:cubicBezTo>
                <a:cubicBezTo>
                  <a:pt x="12" y="284"/>
                  <a:pt x="12" y="284"/>
                  <a:pt x="12" y="284"/>
                </a:cubicBezTo>
                <a:cubicBezTo>
                  <a:pt x="12" y="284"/>
                  <a:pt x="11" y="284"/>
                  <a:pt x="12" y="283"/>
                </a:cubicBezTo>
                <a:cubicBezTo>
                  <a:pt x="12" y="283"/>
                  <a:pt x="12" y="283"/>
                  <a:pt x="12" y="283"/>
                </a:cubicBezTo>
                <a:cubicBezTo>
                  <a:pt x="12" y="283"/>
                  <a:pt x="12" y="283"/>
                  <a:pt x="12" y="283"/>
                </a:cubicBezTo>
                <a:cubicBezTo>
                  <a:pt x="12" y="282"/>
                  <a:pt x="12" y="280"/>
                  <a:pt x="12" y="278"/>
                </a:cubicBezTo>
                <a:cubicBezTo>
                  <a:pt x="12" y="278"/>
                  <a:pt x="12" y="277"/>
                  <a:pt x="12" y="277"/>
                </a:cubicBezTo>
                <a:cubicBezTo>
                  <a:pt x="12" y="278"/>
                  <a:pt x="12" y="278"/>
                  <a:pt x="11" y="279"/>
                </a:cubicBezTo>
                <a:cubicBezTo>
                  <a:pt x="9" y="282"/>
                  <a:pt x="7" y="277"/>
                  <a:pt x="8" y="276"/>
                </a:cubicBezTo>
                <a:cubicBezTo>
                  <a:pt x="8" y="275"/>
                  <a:pt x="9" y="274"/>
                  <a:pt x="9" y="274"/>
                </a:cubicBezTo>
                <a:cubicBezTo>
                  <a:pt x="10" y="274"/>
                  <a:pt x="10" y="275"/>
                  <a:pt x="10" y="275"/>
                </a:cubicBezTo>
                <a:cubicBezTo>
                  <a:pt x="11" y="275"/>
                  <a:pt x="11" y="275"/>
                  <a:pt x="11" y="276"/>
                </a:cubicBezTo>
                <a:cubicBezTo>
                  <a:pt x="11" y="275"/>
                  <a:pt x="11" y="275"/>
                  <a:pt x="11" y="275"/>
                </a:cubicBezTo>
                <a:cubicBezTo>
                  <a:pt x="11" y="275"/>
                  <a:pt x="10" y="274"/>
                  <a:pt x="10" y="274"/>
                </a:cubicBezTo>
                <a:cubicBezTo>
                  <a:pt x="10" y="274"/>
                  <a:pt x="10" y="273"/>
                  <a:pt x="10" y="272"/>
                </a:cubicBezTo>
                <a:cubicBezTo>
                  <a:pt x="10" y="273"/>
                  <a:pt x="10" y="273"/>
                  <a:pt x="10" y="273"/>
                </a:cubicBezTo>
                <a:cubicBezTo>
                  <a:pt x="10" y="273"/>
                  <a:pt x="9" y="272"/>
                  <a:pt x="9" y="272"/>
                </a:cubicBezTo>
                <a:cubicBezTo>
                  <a:pt x="10" y="271"/>
                  <a:pt x="11" y="271"/>
                  <a:pt x="11" y="272"/>
                </a:cubicBezTo>
                <a:cubicBezTo>
                  <a:pt x="11" y="271"/>
                  <a:pt x="12" y="270"/>
                  <a:pt x="13" y="269"/>
                </a:cubicBezTo>
                <a:cubicBezTo>
                  <a:pt x="12" y="266"/>
                  <a:pt x="11" y="263"/>
                  <a:pt x="9" y="262"/>
                </a:cubicBezTo>
                <a:cubicBezTo>
                  <a:pt x="9" y="262"/>
                  <a:pt x="8" y="262"/>
                  <a:pt x="7" y="263"/>
                </a:cubicBezTo>
                <a:cubicBezTo>
                  <a:pt x="7" y="263"/>
                  <a:pt x="7" y="263"/>
                  <a:pt x="7" y="263"/>
                </a:cubicBezTo>
                <a:cubicBezTo>
                  <a:pt x="6" y="263"/>
                  <a:pt x="6" y="263"/>
                  <a:pt x="6" y="262"/>
                </a:cubicBezTo>
                <a:cubicBezTo>
                  <a:pt x="6" y="262"/>
                  <a:pt x="7" y="257"/>
                  <a:pt x="9" y="260"/>
                </a:cubicBezTo>
                <a:cubicBezTo>
                  <a:pt x="9" y="260"/>
                  <a:pt x="8" y="261"/>
                  <a:pt x="8" y="261"/>
                </a:cubicBezTo>
                <a:cubicBezTo>
                  <a:pt x="11" y="263"/>
                  <a:pt x="10" y="259"/>
                  <a:pt x="10" y="256"/>
                </a:cubicBezTo>
                <a:cubicBezTo>
                  <a:pt x="11" y="254"/>
                  <a:pt x="12" y="252"/>
                  <a:pt x="13" y="250"/>
                </a:cubicBezTo>
                <a:cubicBezTo>
                  <a:pt x="13" y="250"/>
                  <a:pt x="11" y="245"/>
                  <a:pt x="10" y="243"/>
                </a:cubicBezTo>
                <a:cubicBezTo>
                  <a:pt x="10" y="242"/>
                  <a:pt x="9" y="241"/>
                  <a:pt x="9" y="240"/>
                </a:cubicBezTo>
                <a:cubicBezTo>
                  <a:pt x="9" y="240"/>
                  <a:pt x="9" y="240"/>
                  <a:pt x="9" y="240"/>
                </a:cubicBezTo>
                <a:cubicBezTo>
                  <a:pt x="8" y="239"/>
                  <a:pt x="8" y="239"/>
                  <a:pt x="8" y="239"/>
                </a:cubicBezTo>
                <a:cubicBezTo>
                  <a:pt x="8" y="239"/>
                  <a:pt x="8" y="239"/>
                  <a:pt x="8" y="239"/>
                </a:cubicBezTo>
                <a:cubicBezTo>
                  <a:pt x="8" y="240"/>
                  <a:pt x="8" y="240"/>
                  <a:pt x="7" y="240"/>
                </a:cubicBezTo>
                <a:cubicBezTo>
                  <a:pt x="8" y="240"/>
                  <a:pt x="8" y="238"/>
                  <a:pt x="8" y="237"/>
                </a:cubicBezTo>
                <a:cubicBezTo>
                  <a:pt x="7" y="237"/>
                  <a:pt x="7" y="237"/>
                  <a:pt x="7" y="236"/>
                </a:cubicBezTo>
                <a:cubicBezTo>
                  <a:pt x="7" y="236"/>
                  <a:pt x="7" y="236"/>
                  <a:pt x="7" y="236"/>
                </a:cubicBezTo>
                <a:cubicBezTo>
                  <a:pt x="7" y="236"/>
                  <a:pt x="7" y="236"/>
                  <a:pt x="7" y="235"/>
                </a:cubicBezTo>
                <a:cubicBezTo>
                  <a:pt x="7" y="234"/>
                  <a:pt x="6" y="234"/>
                  <a:pt x="5" y="235"/>
                </a:cubicBezTo>
                <a:cubicBezTo>
                  <a:pt x="6" y="234"/>
                  <a:pt x="5" y="239"/>
                  <a:pt x="4" y="238"/>
                </a:cubicBezTo>
                <a:cubicBezTo>
                  <a:pt x="4" y="238"/>
                  <a:pt x="4" y="235"/>
                  <a:pt x="4" y="233"/>
                </a:cubicBezTo>
                <a:cubicBezTo>
                  <a:pt x="4" y="233"/>
                  <a:pt x="3" y="233"/>
                  <a:pt x="3" y="233"/>
                </a:cubicBezTo>
                <a:cubicBezTo>
                  <a:pt x="3" y="236"/>
                  <a:pt x="3" y="234"/>
                  <a:pt x="2" y="233"/>
                </a:cubicBezTo>
                <a:cubicBezTo>
                  <a:pt x="2" y="233"/>
                  <a:pt x="2" y="233"/>
                  <a:pt x="1" y="233"/>
                </a:cubicBezTo>
                <a:cubicBezTo>
                  <a:pt x="1" y="233"/>
                  <a:pt x="1" y="234"/>
                  <a:pt x="1" y="234"/>
                </a:cubicBezTo>
                <a:cubicBezTo>
                  <a:pt x="1" y="272"/>
                  <a:pt x="1" y="272"/>
                  <a:pt x="1" y="272"/>
                </a:cubicBezTo>
                <a:cubicBezTo>
                  <a:pt x="1" y="273"/>
                  <a:pt x="2" y="274"/>
                  <a:pt x="1" y="275"/>
                </a:cubicBezTo>
                <a:cubicBezTo>
                  <a:pt x="1" y="275"/>
                  <a:pt x="1" y="275"/>
                  <a:pt x="1" y="275"/>
                </a:cubicBezTo>
                <a:cubicBezTo>
                  <a:pt x="1" y="359"/>
                  <a:pt x="1" y="359"/>
                  <a:pt x="1" y="359"/>
                </a:cubicBezTo>
                <a:cubicBezTo>
                  <a:pt x="1" y="359"/>
                  <a:pt x="1" y="359"/>
                  <a:pt x="1" y="359"/>
                </a:cubicBezTo>
                <a:cubicBezTo>
                  <a:pt x="7" y="360"/>
                  <a:pt x="4" y="368"/>
                  <a:pt x="1" y="371"/>
                </a:cubicBezTo>
                <a:cubicBezTo>
                  <a:pt x="1" y="448"/>
                  <a:pt x="1" y="448"/>
                  <a:pt x="1" y="448"/>
                </a:cubicBezTo>
                <a:cubicBezTo>
                  <a:pt x="1" y="448"/>
                  <a:pt x="1" y="449"/>
                  <a:pt x="1" y="451"/>
                </a:cubicBezTo>
                <a:cubicBezTo>
                  <a:pt x="1" y="588"/>
                  <a:pt x="1" y="588"/>
                  <a:pt x="1" y="588"/>
                </a:cubicBezTo>
                <a:cubicBezTo>
                  <a:pt x="302" y="762"/>
                  <a:pt x="302" y="762"/>
                  <a:pt x="302" y="762"/>
                </a:cubicBezTo>
                <a:cubicBezTo>
                  <a:pt x="305" y="760"/>
                  <a:pt x="299" y="759"/>
                  <a:pt x="298" y="758"/>
                </a:cubicBezTo>
                <a:close/>
                <a:moveTo>
                  <a:pt x="435" y="727"/>
                </a:moveTo>
                <a:cubicBezTo>
                  <a:pt x="435" y="728"/>
                  <a:pt x="433" y="728"/>
                  <a:pt x="432" y="727"/>
                </a:cubicBezTo>
                <a:cubicBezTo>
                  <a:pt x="432" y="726"/>
                  <a:pt x="434" y="725"/>
                  <a:pt x="435" y="727"/>
                </a:cubicBezTo>
                <a:close/>
                <a:moveTo>
                  <a:pt x="442" y="708"/>
                </a:moveTo>
                <a:cubicBezTo>
                  <a:pt x="440" y="708"/>
                  <a:pt x="440" y="706"/>
                  <a:pt x="442" y="708"/>
                </a:cubicBezTo>
                <a:close/>
                <a:moveTo>
                  <a:pt x="440" y="704"/>
                </a:moveTo>
                <a:cubicBezTo>
                  <a:pt x="439" y="704"/>
                  <a:pt x="439" y="702"/>
                  <a:pt x="440" y="704"/>
                </a:cubicBezTo>
                <a:close/>
                <a:moveTo>
                  <a:pt x="507" y="674"/>
                </a:moveTo>
                <a:cubicBezTo>
                  <a:pt x="509" y="673"/>
                  <a:pt x="509" y="676"/>
                  <a:pt x="507" y="674"/>
                </a:cubicBezTo>
                <a:close/>
                <a:moveTo>
                  <a:pt x="501" y="668"/>
                </a:moveTo>
                <a:cubicBezTo>
                  <a:pt x="502" y="670"/>
                  <a:pt x="499" y="669"/>
                  <a:pt x="499" y="668"/>
                </a:cubicBezTo>
                <a:cubicBezTo>
                  <a:pt x="499" y="667"/>
                  <a:pt x="501" y="667"/>
                  <a:pt x="501" y="668"/>
                </a:cubicBezTo>
                <a:close/>
                <a:moveTo>
                  <a:pt x="500" y="675"/>
                </a:moveTo>
                <a:cubicBezTo>
                  <a:pt x="499" y="676"/>
                  <a:pt x="498" y="674"/>
                  <a:pt x="498" y="674"/>
                </a:cubicBezTo>
                <a:cubicBezTo>
                  <a:pt x="499" y="674"/>
                  <a:pt x="499" y="675"/>
                  <a:pt x="500" y="675"/>
                </a:cubicBezTo>
                <a:close/>
                <a:moveTo>
                  <a:pt x="510" y="641"/>
                </a:moveTo>
                <a:cubicBezTo>
                  <a:pt x="510" y="641"/>
                  <a:pt x="511" y="641"/>
                  <a:pt x="511" y="641"/>
                </a:cubicBezTo>
                <a:cubicBezTo>
                  <a:pt x="513" y="643"/>
                  <a:pt x="509" y="642"/>
                  <a:pt x="510" y="641"/>
                </a:cubicBezTo>
                <a:close/>
                <a:moveTo>
                  <a:pt x="509" y="646"/>
                </a:moveTo>
                <a:cubicBezTo>
                  <a:pt x="510" y="648"/>
                  <a:pt x="507" y="646"/>
                  <a:pt x="508" y="645"/>
                </a:cubicBezTo>
                <a:cubicBezTo>
                  <a:pt x="509" y="645"/>
                  <a:pt x="509" y="646"/>
                  <a:pt x="509" y="646"/>
                </a:cubicBezTo>
                <a:close/>
                <a:moveTo>
                  <a:pt x="508" y="643"/>
                </a:moveTo>
                <a:cubicBezTo>
                  <a:pt x="509" y="642"/>
                  <a:pt x="509" y="643"/>
                  <a:pt x="509" y="644"/>
                </a:cubicBezTo>
                <a:cubicBezTo>
                  <a:pt x="510" y="645"/>
                  <a:pt x="507" y="644"/>
                  <a:pt x="508" y="643"/>
                </a:cubicBezTo>
                <a:close/>
                <a:moveTo>
                  <a:pt x="500" y="642"/>
                </a:moveTo>
                <a:cubicBezTo>
                  <a:pt x="500" y="642"/>
                  <a:pt x="502" y="645"/>
                  <a:pt x="502" y="646"/>
                </a:cubicBezTo>
                <a:cubicBezTo>
                  <a:pt x="501" y="651"/>
                  <a:pt x="497" y="643"/>
                  <a:pt x="500" y="642"/>
                </a:cubicBezTo>
                <a:close/>
                <a:moveTo>
                  <a:pt x="498" y="644"/>
                </a:moveTo>
                <a:cubicBezTo>
                  <a:pt x="498" y="644"/>
                  <a:pt x="498" y="644"/>
                  <a:pt x="498" y="644"/>
                </a:cubicBezTo>
                <a:cubicBezTo>
                  <a:pt x="498" y="644"/>
                  <a:pt x="496" y="644"/>
                  <a:pt x="498" y="644"/>
                </a:cubicBezTo>
                <a:close/>
                <a:moveTo>
                  <a:pt x="495" y="636"/>
                </a:moveTo>
                <a:cubicBezTo>
                  <a:pt x="496" y="635"/>
                  <a:pt x="497" y="638"/>
                  <a:pt x="495" y="636"/>
                </a:cubicBezTo>
                <a:close/>
                <a:moveTo>
                  <a:pt x="495" y="637"/>
                </a:moveTo>
                <a:cubicBezTo>
                  <a:pt x="496" y="637"/>
                  <a:pt x="496" y="638"/>
                  <a:pt x="496" y="638"/>
                </a:cubicBezTo>
                <a:cubicBezTo>
                  <a:pt x="496" y="639"/>
                  <a:pt x="494" y="638"/>
                  <a:pt x="495" y="637"/>
                </a:cubicBezTo>
                <a:close/>
                <a:moveTo>
                  <a:pt x="493" y="642"/>
                </a:moveTo>
                <a:cubicBezTo>
                  <a:pt x="493" y="642"/>
                  <a:pt x="494" y="643"/>
                  <a:pt x="494" y="643"/>
                </a:cubicBezTo>
                <a:cubicBezTo>
                  <a:pt x="494" y="645"/>
                  <a:pt x="492" y="643"/>
                  <a:pt x="493" y="642"/>
                </a:cubicBezTo>
                <a:close/>
                <a:moveTo>
                  <a:pt x="494" y="650"/>
                </a:moveTo>
                <a:cubicBezTo>
                  <a:pt x="494" y="650"/>
                  <a:pt x="493" y="653"/>
                  <a:pt x="492" y="651"/>
                </a:cubicBezTo>
                <a:cubicBezTo>
                  <a:pt x="492" y="650"/>
                  <a:pt x="494" y="648"/>
                  <a:pt x="494" y="650"/>
                </a:cubicBezTo>
                <a:close/>
                <a:moveTo>
                  <a:pt x="498" y="620"/>
                </a:moveTo>
                <a:cubicBezTo>
                  <a:pt x="498" y="620"/>
                  <a:pt x="498" y="620"/>
                  <a:pt x="498" y="620"/>
                </a:cubicBezTo>
                <a:cubicBezTo>
                  <a:pt x="498" y="620"/>
                  <a:pt x="498" y="620"/>
                  <a:pt x="498" y="620"/>
                </a:cubicBezTo>
                <a:cubicBezTo>
                  <a:pt x="498" y="620"/>
                  <a:pt x="498" y="620"/>
                  <a:pt x="498" y="620"/>
                </a:cubicBezTo>
                <a:close/>
                <a:moveTo>
                  <a:pt x="492" y="624"/>
                </a:moveTo>
                <a:cubicBezTo>
                  <a:pt x="493" y="624"/>
                  <a:pt x="493" y="625"/>
                  <a:pt x="492" y="624"/>
                </a:cubicBezTo>
                <a:close/>
                <a:moveTo>
                  <a:pt x="490" y="621"/>
                </a:moveTo>
                <a:cubicBezTo>
                  <a:pt x="491" y="622"/>
                  <a:pt x="490" y="624"/>
                  <a:pt x="489" y="624"/>
                </a:cubicBezTo>
                <a:cubicBezTo>
                  <a:pt x="489" y="623"/>
                  <a:pt x="490" y="621"/>
                  <a:pt x="490" y="621"/>
                </a:cubicBezTo>
                <a:close/>
                <a:moveTo>
                  <a:pt x="489" y="620"/>
                </a:moveTo>
                <a:cubicBezTo>
                  <a:pt x="490" y="620"/>
                  <a:pt x="487" y="619"/>
                  <a:pt x="489" y="620"/>
                </a:cubicBezTo>
                <a:close/>
                <a:moveTo>
                  <a:pt x="485" y="657"/>
                </a:moveTo>
                <a:cubicBezTo>
                  <a:pt x="486" y="656"/>
                  <a:pt x="487" y="657"/>
                  <a:pt x="487" y="657"/>
                </a:cubicBezTo>
                <a:cubicBezTo>
                  <a:pt x="488" y="659"/>
                  <a:pt x="484" y="658"/>
                  <a:pt x="485" y="657"/>
                </a:cubicBezTo>
                <a:close/>
                <a:moveTo>
                  <a:pt x="485" y="644"/>
                </a:moveTo>
                <a:cubicBezTo>
                  <a:pt x="489" y="644"/>
                  <a:pt x="487" y="647"/>
                  <a:pt x="485" y="644"/>
                </a:cubicBezTo>
                <a:close/>
                <a:moveTo>
                  <a:pt x="484" y="637"/>
                </a:moveTo>
                <a:cubicBezTo>
                  <a:pt x="485" y="636"/>
                  <a:pt x="486" y="637"/>
                  <a:pt x="486" y="637"/>
                </a:cubicBezTo>
                <a:cubicBezTo>
                  <a:pt x="486" y="639"/>
                  <a:pt x="484" y="637"/>
                  <a:pt x="484" y="637"/>
                </a:cubicBezTo>
                <a:close/>
                <a:moveTo>
                  <a:pt x="536" y="658"/>
                </a:moveTo>
                <a:cubicBezTo>
                  <a:pt x="533" y="660"/>
                  <a:pt x="529" y="656"/>
                  <a:pt x="530" y="654"/>
                </a:cubicBezTo>
                <a:cubicBezTo>
                  <a:pt x="531" y="652"/>
                  <a:pt x="537" y="654"/>
                  <a:pt x="538" y="655"/>
                </a:cubicBezTo>
                <a:cubicBezTo>
                  <a:pt x="538" y="655"/>
                  <a:pt x="536" y="658"/>
                  <a:pt x="536" y="658"/>
                </a:cubicBezTo>
                <a:close/>
                <a:moveTo>
                  <a:pt x="555" y="657"/>
                </a:moveTo>
                <a:cubicBezTo>
                  <a:pt x="553" y="657"/>
                  <a:pt x="556" y="658"/>
                  <a:pt x="555" y="657"/>
                </a:cubicBezTo>
                <a:close/>
                <a:moveTo>
                  <a:pt x="551" y="654"/>
                </a:moveTo>
                <a:cubicBezTo>
                  <a:pt x="551" y="654"/>
                  <a:pt x="552" y="654"/>
                  <a:pt x="552" y="654"/>
                </a:cubicBezTo>
                <a:cubicBezTo>
                  <a:pt x="553" y="656"/>
                  <a:pt x="549" y="655"/>
                  <a:pt x="551" y="654"/>
                </a:cubicBezTo>
                <a:close/>
                <a:moveTo>
                  <a:pt x="550" y="653"/>
                </a:moveTo>
                <a:cubicBezTo>
                  <a:pt x="550" y="653"/>
                  <a:pt x="550" y="654"/>
                  <a:pt x="549" y="654"/>
                </a:cubicBezTo>
                <a:cubicBezTo>
                  <a:pt x="549" y="653"/>
                  <a:pt x="550" y="653"/>
                  <a:pt x="550" y="653"/>
                </a:cubicBezTo>
                <a:close/>
                <a:moveTo>
                  <a:pt x="546" y="654"/>
                </a:moveTo>
                <a:cubicBezTo>
                  <a:pt x="547" y="654"/>
                  <a:pt x="548" y="655"/>
                  <a:pt x="547" y="656"/>
                </a:cubicBezTo>
                <a:cubicBezTo>
                  <a:pt x="546" y="656"/>
                  <a:pt x="546" y="654"/>
                  <a:pt x="546" y="654"/>
                </a:cubicBezTo>
                <a:close/>
                <a:moveTo>
                  <a:pt x="543" y="650"/>
                </a:moveTo>
                <a:cubicBezTo>
                  <a:pt x="544" y="649"/>
                  <a:pt x="545" y="650"/>
                  <a:pt x="545" y="650"/>
                </a:cubicBezTo>
                <a:cubicBezTo>
                  <a:pt x="546" y="653"/>
                  <a:pt x="542" y="651"/>
                  <a:pt x="543" y="650"/>
                </a:cubicBezTo>
                <a:close/>
                <a:moveTo>
                  <a:pt x="542" y="658"/>
                </a:moveTo>
                <a:cubicBezTo>
                  <a:pt x="544" y="657"/>
                  <a:pt x="543" y="659"/>
                  <a:pt x="542" y="658"/>
                </a:cubicBezTo>
                <a:close/>
                <a:moveTo>
                  <a:pt x="564" y="640"/>
                </a:moveTo>
                <a:cubicBezTo>
                  <a:pt x="565" y="640"/>
                  <a:pt x="564" y="641"/>
                  <a:pt x="564" y="641"/>
                </a:cubicBezTo>
                <a:cubicBezTo>
                  <a:pt x="564" y="643"/>
                  <a:pt x="562" y="640"/>
                  <a:pt x="564" y="640"/>
                </a:cubicBezTo>
                <a:close/>
                <a:moveTo>
                  <a:pt x="549" y="622"/>
                </a:moveTo>
                <a:cubicBezTo>
                  <a:pt x="549" y="622"/>
                  <a:pt x="549" y="622"/>
                  <a:pt x="549" y="622"/>
                </a:cubicBezTo>
                <a:cubicBezTo>
                  <a:pt x="548" y="621"/>
                  <a:pt x="549" y="622"/>
                  <a:pt x="549" y="622"/>
                </a:cubicBezTo>
                <a:close/>
                <a:moveTo>
                  <a:pt x="541" y="636"/>
                </a:moveTo>
                <a:cubicBezTo>
                  <a:pt x="543" y="634"/>
                  <a:pt x="547" y="636"/>
                  <a:pt x="547" y="638"/>
                </a:cubicBezTo>
                <a:cubicBezTo>
                  <a:pt x="547" y="643"/>
                  <a:pt x="539" y="639"/>
                  <a:pt x="541" y="636"/>
                </a:cubicBezTo>
                <a:close/>
                <a:moveTo>
                  <a:pt x="547" y="620"/>
                </a:moveTo>
                <a:cubicBezTo>
                  <a:pt x="547" y="620"/>
                  <a:pt x="547" y="620"/>
                  <a:pt x="547" y="619"/>
                </a:cubicBezTo>
                <a:cubicBezTo>
                  <a:pt x="546" y="619"/>
                  <a:pt x="546" y="619"/>
                  <a:pt x="546" y="619"/>
                </a:cubicBezTo>
                <a:cubicBezTo>
                  <a:pt x="546" y="619"/>
                  <a:pt x="547" y="620"/>
                  <a:pt x="547" y="620"/>
                </a:cubicBezTo>
                <a:close/>
                <a:moveTo>
                  <a:pt x="546" y="630"/>
                </a:moveTo>
                <a:cubicBezTo>
                  <a:pt x="547" y="633"/>
                  <a:pt x="544" y="631"/>
                  <a:pt x="543" y="630"/>
                </a:cubicBezTo>
                <a:cubicBezTo>
                  <a:pt x="543" y="629"/>
                  <a:pt x="546" y="629"/>
                  <a:pt x="546" y="630"/>
                </a:cubicBezTo>
                <a:close/>
                <a:moveTo>
                  <a:pt x="541" y="625"/>
                </a:moveTo>
                <a:cubicBezTo>
                  <a:pt x="542" y="625"/>
                  <a:pt x="542" y="626"/>
                  <a:pt x="542" y="626"/>
                </a:cubicBezTo>
                <a:cubicBezTo>
                  <a:pt x="543" y="628"/>
                  <a:pt x="540" y="626"/>
                  <a:pt x="541" y="625"/>
                </a:cubicBezTo>
                <a:close/>
                <a:moveTo>
                  <a:pt x="537" y="624"/>
                </a:moveTo>
                <a:cubicBezTo>
                  <a:pt x="537" y="624"/>
                  <a:pt x="538" y="625"/>
                  <a:pt x="538" y="625"/>
                </a:cubicBezTo>
                <a:cubicBezTo>
                  <a:pt x="539" y="626"/>
                  <a:pt x="535" y="625"/>
                  <a:pt x="537" y="624"/>
                </a:cubicBezTo>
                <a:close/>
                <a:moveTo>
                  <a:pt x="546" y="599"/>
                </a:moveTo>
                <a:cubicBezTo>
                  <a:pt x="547" y="598"/>
                  <a:pt x="547" y="601"/>
                  <a:pt x="546" y="599"/>
                </a:cubicBezTo>
                <a:close/>
                <a:moveTo>
                  <a:pt x="541" y="575"/>
                </a:moveTo>
                <a:cubicBezTo>
                  <a:pt x="542" y="576"/>
                  <a:pt x="541" y="573"/>
                  <a:pt x="541" y="575"/>
                </a:cubicBezTo>
                <a:close/>
                <a:moveTo>
                  <a:pt x="537" y="591"/>
                </a:moveTo>
                <a:cubicBezTo>
                  <a:pt x="537" y="591"/>
                  <a:pt x="537" y="591"/>
                  <a:pt x="537" y="591"/>
                </a:cubicBezTo>
                <a:cubicBezTo>
                  <a:pt x="535" y="590"/>
                  <a:pt x="539" y="590"/>
                  <a:pt x="537" y="591"/>
                </a:cubicBezTo>
                <a:close/>
                <a:moveTo>
                  <a:pt x="539" y="565"/>
                </a:moveTo>
                <a:cubicBezTo>
                  <a:pt x="539" y="565"/>
                  <a:pt x="539" y="565"/>
                  <a:pt x="539" y="565"/>
                </a:cubicBezTo>
                <a:cubicBezTo>
                  <a:pt x="539" y="564"/>
                  <a:pt x="539" y="563"/>
                  <a:pt x="539" y="565"/>
                </a:cubicBezTo>
                <a:close/>
                <a:moveTo>
                  <a:pt x="565" y="556"/>
                </a:moveTo>
                <a:cubicBezTo>
                  <a:pt x="564" y="557"/>
                  <a:pt x="564" y="555"/>
                  <a:pt x="565" y="556"/>
                </a:cubicBezTo>
                <a:close/>
                <a:moveTo>
                  <a:pt x="562" y="554"/>
                </a:moveTo>
                <a:cubicBezTo>
                  <a:pt x="564" y="554"/>
                  <a:pt x="562" y="555"/>
                  <a:pt x="562" y="554"/>
                </a:cubicBezTo>
                <a:close/>
                <a:moveTo>
                  <a:pt x="559" y="574"/>
                </a:moveTo>
                <a:cubicBezTo>
                  <a:pt x="559" y="574"/>
                  <a:pt x="559" y="574"/>
                  <a:pt x="560" y="574"/>
                </a:cubicBezTo>
                <a:cubicBezTo>
                  <a:pt x="560" y="574"/>
                  <a:pt x="560" y="574"/>
                  <a:pt x="560" y="574"/>
                </a:cubicBezTo>
                <a:cubicBezTo>
                  <a:pt x="560" y="574"/>
                  <a:pt x="560" y="574"/>
                  <a:pt x="560" y="574"/>
                </a:cubicBezTo>
                <a:cubicBezTo>
                  <a:pt x="559" y="574"/>
                  <a:pt x="559" y="574"/>
                  <a:pt x="559" y="573"/>
                </a:cubicBezTo>
                <a:cubicBezTo>
                  <a:pt x="559" y="573"/>
                  <a:pt x="559" y="574"/>
                  <a:pt x="559" y="574"/>
                </a:cubicBezTo>
                <a:close/>
                <a:moveTo>
                  <a:pt x="554" y="557"/>
                </a:moveTo>
                <a:cubicBezTo>
                  <a:pt x="554" y="558"/>
                  <a:pt x="553" y="554"/>
                  <a:pt x="554" y="557"/>
                </a:cubicBezTo>
                <a:close/>
                <a:moveTo>
                  <a:pt x="551" y="572"/>
                </a:moveTo>
                <a:cubicBezTo>
                  <a:pt x="552" y="572"/>
                  <a:pt x="552" y="574"/>
                  <a:pt x="552" y="574"/>
                </a:cubicBezTo>
                <a:cubicBezTo>
                  <a:pt x="552" y="575"/>
                  <a:pt x="551" y="573"/>
                  <a:pt x="551" y="572"/>
                </a:cubicBezTo>
                <a:close/>
                <a:moveTo>
                  <a:pt x="551" y="559"/>
                </a:moveTo>
                <a:cubicBezTo>
                  <a:pt x="551" y="559"/>
                  <a:pt x="552" y="560"/>
                  <a:pt x="551" y="559"/>
                </a:cubicBezTo>
                <a:cubicBezTo>
                  <a:pt x="551" y="559"/>
                  <a:pt x="551" y="559"/>
                  <a:pt x="551" y="559"/>
                </a:cubicBezTo>
                <a:close/>
                <a:moveTo>
                  <a:pt x="552" y="557"/>
                </a:moveTo>
                <a:cubicBezTo>
                  <a:pt x="552" y="558"/>
                  <a:pt x="553" y="559"/>
                  <a:pt x="552" y="559"/>
                </a:cubicBezTo>
                <a:cubicBezTo>
                  <a:pt x="550" y="560"/>
                  <a:pt x="551" y="555"/>
                  <a:pt x="552" y="557"/>
                </a:cubicBezTo>
                <a:close/>
                <a:moveTo>
                  <a:pt x="551" y="551"/>
                </a:moveTo>
                <a:cubicBezTo>
                  <a:pt x="551" y="552"/>
                  <a:pt x="551" y="550"/>
                  <a:pt x="550" y="550"/>
                </a:cubicBezTo>
                <a:cubicBezTo>
                  <a:pt x="551" y="549"/>
                  <a:pt x="551" y="551"/>
                  <a:pt x="551" y="551"/>
                </a:cubicBezTo>
                <a:close/>
                <a:moveTo>
                  <a:pt x="592" y="604"/>
                </a:moveTo>
                <a:cubicBezTo>
                  <a:pt x="592" y="605"/>
                  <a:pt x="593" y="606"/>
                  <a:pt x="593" y="608"/>
                </a:cubicBezTo>
                <a:cubicBezTo>
                  <a:pt x="592" y="607"/>
                  <a:pt x="591" y="606"/>
                  <a:pt x="592" y="604"/>
                </a:cubicBezTo>
                <a:close/>
                <a:moveTo>
                  <a:pt x="595" y="604"/>
                </a:moveTo>
                <a:cubicBezTo>
                  <a:pt x="596" y="606"/>
                  <a:pt x="594" y="603"/>
                  <a:pt x="595" y="604"/>
                </a:cubicBezTo>
                <a:close/>
                <a:moveTo>
                  <a:pt x="606" y="616"/>
                </a:moveTo>
                <a:cubicBezTo>
                  <a:pt x="606" y="616"/>
                  <a:pt x="606" y="617"/>
                  <a:pt x="606" y="617"/>
                </a:cubicBezTo>
                <a:cubicBezTo>
                  <a:pt x="605" y="618"/>
                  <a:pt x="605" y="616"/>
                  <a:pt x="606" y="616"/>
                </a:cubicBezTo>
                <a:close/>
                <a:moveTo>
                  <a:pt x="679" y="480"/>
                </a:moveTo>
                <a:cubicBezTo>
                  <a:pt x="678" y="480"/>
                  <a:pt x="678" y="480"/>
                  <a:pt x="678" y="479"/>
                </a:cubicBezTo>
                <a:cubicBezTo>
                  <a:pt x="678" y="478"/>
                  <a:pt x="680" y="480"/>
                  <a:pt x="679" y="480"/>
                </a:cubicBezTo>
                <a:close/>
                <a:moveTo>
                  <a:pt x="663" y="546"/>
                </a:moveTo>
                <a:cubicBezTo>
                  <a:pt x="664" y="544"/>
                  <a:pt x="665" y="546"/>
                  <a:pt x="666" y="547"/>
                </a:cubicBezTo>
                <a:cubicBezTo>
                  <a:pt x="666" y="550"/>
                  <a:pt x="661" y="548"/>
                  <a:pt x="663" y="546"/>
                </a:cubicBezTo>
                <a:close/>
                <a:moveTo>
                  <a:pt x="668" y="558"/>
                </a:moveTo>
                <a:cubicBezTo>
                  <a:pt x="668" y="558"/>
                  <a:pt x="668" y="558"/>
                  <a:pt x="667" y="558"/>
                </a:cubicBezTo>
                <a:cubicBezTo>
                  <a:pt x="664" y="557"/>
                  <a:pt x="669" y="555"/>
                  <a:pt x="668" y="558"/>
                </a:cubicBezTo>
                <a:close/>
                <a:moveTo>
                  <a:pt x="668" y="529"/>
                </a:moveTo>
                <a:cubicBezTo>
                  <a:pt x="669" y="528"/>
                  <a:pt x="669" y="529"/>
                  <a:pt x="670" y="529"/>
                </a:cubicBezTo>
                <a:cubicBezTo>
                  <a:pt x="670" y="531"/>
                  <a:pt x="667" y="530"/>
                  <a:pt x="668" y="529"/>
                </a:cubicBezTo>
                <a:close/>
                <a:moveTo>
                  <a:pt x="671" y="547"/>
                </a:moveTo>
                <a:cubicBezTo>
                  <a:pt x="670" y="546"/>
                  <a:pt x="670" y="545"/>
                  <a:pt x="671" y="545"/>
                </a:cubicBezTo>
                <a:cubicBezTo>
                  <a:pt x="671" y="545"/>
                  <a:pt x="673" y="547"/>
                  <a:pt x="671" y="547"/>
                </a:cubicBezTo>
                <a:close/>
                <a:moveTo>
                  <a:pt x="674" y="539"/>
                </a:moveTo>
                <a:cubicBezTo>
                  <a:pt x="674" y="540"/>
                  <a:pt x="675" y="541"/>
                  <a:pt x="674" y="541"/>
                </a:cubicBezTo>
                <a:cubicBezTo>
                  <a:pt x="672" y="541"/>
                  <a:pt x="674" y="537"/>
                  <a:pt x="674" y="539"/>
                </a:cubicBezTo>
                <a:close/>
                <a:moveTo>
                  <a:pt x="674" y="500"/>
                </a:moveTo>
                <a:cubicBezTo>
                  <a:pt x="675" y="501"/>
                  <a:pt x="673" y="501"/>
                  <a:pt x="674" y="500"/>
                </a:cubicBezTo>
                <a:close/>
                <a:moveTo>
                  <a:pt x="674" y="542"/>
                </a:moveTo>
                <a:cubicBezTo>
                  <a:pt x="674" y="542"/>
                  <a:pt x="674" y="543"/>
                  <a:pt x="674" y="544"/>
                </a:cubicBezTo>
                <a:cubicBezTo>
                  <a:pt x="674" y="544"/>
                  <a:pt x="675" y="544"/>
                  <a:pt x="674" y="545"/>
                </a:cubicBezTo>
                <a:cubicBezTo>
                  <a:pt x="674" y="545"/>
                  <a:pt x="674" y="545"/>
                  <a:pt x="674" y="545"/>
                </a:cubicBezTo>
                <a:cubicBezTo>
                  <a:pt x="674" y="546"/>
                  <a:pt x="674" y="547"/>
                  <a:pt x="674" y="549"/>
                </a:cubicBezTo>
                <a:cubicBezTo>
                  <a:pt x="673" y="547"/>
                  <a:pt x="673" y="544"/>
                  <a:pt x="674" y="542"/>
                </a:cubicBezTo>
                <a:close/>
                <a:moveTo>
                  <a:pt x="676" y="552"/>
                </a:moveTo>
                <a:cubicBezTo>
                  <a:pt x="676" y="553"/>
                  <a:pt x="676" y="553"/>
                  <a:pt x="676" y="553"/>
                </a:cubicBezTo>
                <a:cubicBezTo>
                  <a:pt x="675" y="554"/>
                  <a:pt x="675" y="551"/>
                  <a:pt x="676" y="552"/>
                </a:cubicBezTo>
                <a:close/>
                <a:moveTo>
                  <a:pt x="675" y="516"/>
                </a:moveTo>
                <a:cubicBezTo>
                  <a:pt x="676" y="516"/>
                  <a:pt x="676" y="517"/>
                  <a:pt x="676" y="517"/>
                </a:cubicBezTo>
                <a:cubicBezTo>
                  <a:pt x="677" y="519"/>
                  <a:pt x="674" y="517"/>
                  <a:pt x="675" y="516"/>
                </a:cubicBezTo>
                <a:close/>
                <a:moveTo>
                  <a:pt x="674" y="502"/>
                </a:moveTo>
                <a:cubicBezTo>
                  <a:pt x="675" y="502"/>
                  <a:pt x="676" y="504"/>
                  <a:pt x="676" y="505"/>
                </a:cubicBezTo>
                <a:cubicBezTo>
                  <a:pt x="675" y="505"/>
                  <a:pt x="675" y="503"/>
                  <a:pt x="674" y="502"/>
                </a:cubicBezTo>
                <a:close/>
                <a:moveTo>
                  <a:pt x="675" y="481"/>
                </a:moveTo>
                <a:cubicBezTo>
                  <a:pt x="674" y="481"/>
                  <a:pt x="674" y="480"/>
                  <a:pt x="674" y="480"/>
                </a:cubicBezTo>
                <a:cubicBezTo>
                  <a:pt x="675" y="479"/>
                  <a:pt x="675" y="480"/>
                  <a:pt x="675" y="481"/>
                </a:cubicBezTo>
                <a:close/>
                <a:moveTo>
                  <a:pt x="672" y="412"/>
                </a:moveTo>
                <a:cubicBezTo>
                  <a:pt x="675" y="413"/>
                  <a:pt x="672" y="417"/>
                  <a:pt x="670" y="416"/>
                </a:cubicBezTo>
                <a:cubicBezTo>
                  <a:pt x="670" y="416"/>
                  <a:pt x="670" y="411"/>
                  <a:pt x="672" y="412"/>
                </a:cubicBezTo>
                <a:close/>
                <a:moveTo>
                  <a:pt x="668" y="453"/>
                </a:moveTo>
                <a:cubicBezTo>
                  <a:pt x="669" y="453"/>
                  <a:pt x="668" y="454"/>
                  <a:pt x="667" y="453"/>
                </a:cubicBezTo>
                <a:cubicBezTo>
                  <a:pt x="667" y="453"/>
                  <a:pt x="668" y="452"/>
                  <a:pt x="668" y="453"/>
                </a:cubicBezTo>
                <a:close/>
                <a:moveTo>
                  <a:pt x="667" y="446"/>
                </a:moveTo>
                <a:cubicBezTo>
                  <a:pt x="665" y="447"/>
                  <a:pt x="668" y="444"/>
                  <a:pt x="667" y="446"/>
                </a:cubicBezTo>
                <a:close/>
                <a:moveTo>
                  <a:pt x="673" y="492"/>
                </a:moveTo>
                <a:cubicBezTo>
                  <a:pt x="672" y="498"/>
                  <a:pt x="665" y="495"/>
                  <a:pt x="665" y="490"/>
                </a:cubicBezTo>
                <a:cubicBezTo>
                  <a:pt x="665" y="482"/>
                  <a:pt x="674" y="486"/>
                  <a:pt x="673" y="492"/>
                </a:cubicBezTo>
                <a:close/>
                <a:moveTo>
                  <a:pt x="664" y="429"/>
                </a:moveTo>
                <a:cubicBezTo>
                  <a:pt x="665" y="429"/>
                  <a:pt x="665" y="430"/>
                  <a:pt x="664" y="430"/>
                </a:cubicBezTo>
                <a:cubicBezTo>
                  <a:pt x="662" y="430"/>
                  <a:pt x="663" y="427"/>
                  <a:pt x="664" y="429"/>
                </a:cubicBezTo>
                <a:close/>
                <a:moveTo>
                  <a:pt x="663" y="455"/>
                </a:moveTo>
                <a:cubicBezTo>
                  <a:pt x="663" y="455"/>
                  <a:pt x="662" y="456"/>
                  <a:pt x="662" y="456"/>
                </a:cubicBezTo>
                <a:cubicBezTo>
                  <a:pt x="662" y="456"/>
                  <a:pt x="662" y="455"/>
                  <a:pt x="663" y="455"/>
                </a:cubicBezTo>
                <a:close/>
                <a:moveTo>
                  <a:pt x="661" y="411"/>
                </a:moveTo>
                <a:cubicBezTo>
                  <a:pt x="661" y="411"/>
                  <a:pt x="661" y="411"/>
                  <a:pt x="661" y="410"/>
                </a:cubicBezTo>
                <a:cubicBezTo>
                  <a:pt x="661" y="410"/>
                  <a:pt x="661" y="410"/>
                  <a:pt x="661" y="410"/>
                </a:cubicBezTo>
                <a:cubicBezTo>
                  <a:pt x="661" y="410"/>
                  <a:pt x="661" y="411"/>
                  <a:pt x="661" y="411"/>
                </a:cubicBezTo>
                <a:close/>
                <a:moveTo>
                  <a:pt x="633" y="545"/>
                </a:moveTo>
                <a:cubicBezTo>
                  <a:pt x="633" y="545"/>
                  <a:pt x="633" y="545"/>
                  <a:pt x="633" y="545"/>
                </a:cubicBezTo>
                <a:cubicBezTo>
                  <a:pt x="633" y="545"/>
                  <a:pt x="632" y="544"/>
                  <a:pt x="633" y="545"/>
                </a:cubicBezTo>
                <a:close/>
                <a:moveTo>
                  <a:pt x="633" y="509"/>
                </a:moveTo>
                <a:cubicBezTo>
                  <a:pt x="632" y="508"/>
                  <a:pt x="633" y="507"/>
                  <a:pt x="634" y="507"/>
                </a:cubicBezTo>
                <a:cubicBezTo>
                  <a:pt x="635" y="507"/>
                  <a:pt x="635" y="510"/>
                  <a:pt x="633" y="509"/>
                </a:cubicBezTo>
                <a:close/>
                <a:moveTo>
                  <a:pt x="635" y="516"/>
                </a:moveTo>
                <a:cubicBezTo>
                  <a:pt x="634" y="517"/>
                  <a:pt x="634" y="516"/>
                  <a:pt x="634" y="516"/>
                </a:cubicBezTo>
                <a:cubicBezTo>
                  <a:pt x="634" y="515"/>
                  <a:pt x="635" y="516"/>
                  <a:pt x="635" y="516"/>
                </a:cubicBezTo>
                <a:close/>
                <a:moveTo>
                  <a:pt x="637" y="522"/>
                </a:moveTo>
                <a:cubicBezTo>
                  <a:pt x="638" y="522"/>
                  <a:pt x="639" y="528"/>
                  <a:pt x="639" y="529"/>
                </a:cubicBezTo>
                <a:cubicBezTo>
                  <a:pt x="638" y="534"/>
                  <a:pt x="636" y="523"/>
                  <a:pt x="637" y="522"/>
                </a:cubicBezTo>
                <a:close/>
                <a:moveTo>
                  <a:pt x="639" y="541"/>
                </a:moveTo>
                <a:cubicBezTo>
                  <a:pt x="639" y="541"/>
                  <a:pt x="640" y="539"/>
                  <a:pt x="640" y="541"/>
                </a:cubicBezTo>
                <a:cubicBezTo>
                  <a:pt x="640" y="540"/>
                  <a:pt x="640" y="542"/>
                  <a:pt x="639" y="541"/>
                </a:cubicBezTo>
                <a:close/>
                <a:moveTo>
                  <a:pt x="641" y="545"/>
                </a:moveTo>
                <a:cubicBezTo>
                  <a:pt x="638" y="545"/>
                  <a:pt x="640" y="542"/>
                  <a:pt x="642" y="543"/>
                </a:cubicBezTo>
                <a:cubicBezTo>
                  <a:pt x="643" y="543"/>
                  <a:pt x="642" y="546"/>
                  <a:pt x="641" y="545"/>
                </a:cubicBezTo>
                <a:close/>
                <a:moveTo>
                  <a:pt x="652" y="501"/>
                </a:moveTo>
                <a:cubicBezTo>
                  <a:pt x="652" y="501"/>
                  <a:pt x="651" y="499"/>
                  <a:pt x="652" y="500"/>
                </a:cubicBezTo>
                <a:cubicBezTo>
                  <a:pt x="652" y="500"/>
                  <a:pt x="653" y="501"/>
                  <a:pt x="652" y="501"/>
                </a:cubicBezTo>
                <a:close/>
                <a:moveTo>
                  <a:pt x="655" y="533"/>
                </a:moveTo>
                <a:cubicBezTo>
                  <a:pt x="654" y="529"/>
                  <a:pt x="654" y="522"/>
                  <a:pt x="654" y="518"/>
                </a:cubicBezTo>
                <a:cubicBezTo>
                  <a:pt x="654" y="520"/>
                  <a:pt x="654" y="517"/>
                  <a:pt x="654" y="517"/>
                </a:cubicBezTo>
                <a:cubicBezTo>
                  <a:pt x="656" y="517"/>
                  <a:pt x="655" y="519"/>
                  <a:pt x="655" y="521"/>
                </a:cubicBezTo>
                <a:cubicBezTo>
                  <a:pt x="655" y="523"/>
                  <a:pt x="656" y="529"/>
                  <a:pt x="655" y="533"/>
                </a:cubicBezTo>
                <a:close/>
                <a:moveTo>
                  <a:pt x="659" y="476"/>
                </a:moveTo>
                <a:cubicBezTo>
                  <a:pt x="659" y="479"/>
                  <a:pt x="659" y="474"/>
                  <a:pt x="659" y="476"/>
                </a:cubicBezTo>
                <a:close/>
                <a:moveTo>
                  <a:pt x="659" y="479"/>
                </a:moveTo>
                <a:cubicBezTo>
                  <a:pt x="660" y="482"/>
                  <a:pt x="659" y="477"/>
                  <a:pt x="659" y="479"/>
                </a:cubicBezTo>
                <a:close/>
                <a:moveTo>
                  <a:pt x="659" y="492"/>
                </a:moveTo>
                <a:cubicBezTo>
                  <a:pt x="659" y="492"/>
                  <a:pt x="659" y="493"/>
                  <a:pt x="659" y="493"/>
                </a:cubicBezTo>
                <a:cubicBezTo>
                  <a:pt x="660" y="495"/>
                  <a:pt x="658" y="493"/>
                  <a:pt x="659" y="492"/>
                </a:cubicBezTo>
                <a:close/>
                <a:moveTo>
                  <a:pt x="658" y="525"/>
                </a:moveTo>
                <a:cubicBezTo>
                  <a:pt x="659" y="525"/>
                  <a:pt x="659" y="526"/>
                  <a:pt x="658" y="526"/>
                </a:cubicBezTo>
                <a:cubicBezTo>
                  <a:pt x="657" y="526"/>
                  <a:pt x="658" y="525"/>
                  <a:pt x="658" y="525"/>
                </a:cubicBezTo>
                <a:close/>
                <a:moveTo>
                  <a:pt x="655" y="464"/>
                </a:moveTo>
                <a:cubicBezTo>
                  <a:pt x="654" y="464"/>
                  <a:pt x="654" y="461"/>
                  <a:pt x="655" y="461"/>
                </a:cubicBezTo>
                <a:cubicBezTo>
                  <a:pt x="656" y="461"/>
                  <a:pt x="656" y="464"/>
                  <a:pt x="655" y="464"/>
                </a:cubicBezTo>
                <a:close/>
                <a:moveTo>
                  <a:pt x="654" y="423"/>
                </a:moveTo>
                <a:cubicBezTo>
                  <a:pt x="654" y="423"/>
                  <a:pt x="654" y="423"/>
                  <a:pt x="653" y="423"/>
                </a:cubicBezTo>
                <a:cubicBezTo>
                  <a:pt x="653" y="422"/>
                  <a:pt x="653" y="422"/>
                  <a:pt x="653" y="422"/>
                </a:cubicBezTo>
                <a:cubicBezTo>
                  <a:pt x="653" y="422"/>
                  <a:pt x="653" y="423"/>
                  <a:pt x="654" y="423"/>
                </a:cubicBezTo>
                <a:close/>
                <a:moveTo>
                  <a:pt x="655" y="454"/>
                </a:moveTo>
                <a:cubicBezTo>
                  <a:pt x="653" y="452"/>
                  <a:pt x="649" y="448"/>
                  <a:pt x="649" y="445"/>
                </a:cubicBezTo>
                <a:cubicBezTo>
                  <a:pt x="651" y="449"/>
                  <a:pt x="654" y="450"/>
                  <a:pt x="655" y="454"/>
                </a:cubicBezTo>
                <a:close/>
                <a:moveTo>
                  <a:pt x="648" y="439"/>
                </a:moveTo>
                <a:cubicBezTo>
                  <a:pt x="648" y="439"/>
                  <a:pt x="648" y="440"/>
                  <a:pt x="648" y="440"/>
                </a:cubicBezTo>
                <a:cubicBezTo>
                  <a:pt x="647" y="440"/>
                  <a:pt x="647" y="438"/>
                  <a:pt x="648" y="439"/>
                </a:cubicBezTo>
                <a:close/>
                <a:moveTo>
                  <a:pt x="647" y="500"/>
                </a:moveTo>
                <a:cubicBezTo>
                  <a:pt x="648" y="501"/>
                  <a:pt x="648" y="502"/>
                  <a:pt x="647" y="502"/>
                </a:cubicBezTo>
                <a:cubicBezTo>
                  <a:pt x="643" y="503"/>
                  <a:pt x="646" y="496"/>
                  <a:pt x="647" y="500"/>
                </a:cubicBezTo>
                <a:close/>
                <a:moveTo>
                  <a:pt x="646" y="457"/>
                </a:moveTo>
                <a:cubicBezTo>
                  <a:pt x="646" y="457"/>
                  <a:pt x="646" y="458"/>
                  <a:pt x="646" y="458"/>
                </a:cubicBezTo>
                <a:cubicBezTo>
                  <a:pt x="644" y="459"/>
                  <a:pt x="645" y="456"/>
                  <a:pt x="646" y="457"/>
                </a:cubicBezTo>
                <a:close/>
                <a:moveTo>
                  <a:pt x="642" y="405"/>
                </a:moveTo>
                <a:cubicBezTo>
                  <a:pt x="642" y="406"/>
                  <a:pt x="643" y="406"/>
                  <a:pt x="642" y="406"/>
                </a:cubicBezTo>
                <a:cubicBezTo>
                  <a:pt x="642" y="407"/>
                  <a:pt x="642" y="405"/>
                  <a:pt x="642" y="405"/>
                </a:cubicBezTo>
                <a:close/>
                <a:moveTo>
                  <a:pt x="642" y="528"/>
                </a:moveTo>
                <a:cubicBezTo>
                  <a:pt x="645" y="524"/>
                  <a:pt x="650" y="530"/>
                  <a:pt x="651" y="533"/>
                </a:cubicBezTo>
                <a:cubicBezTo>
                  <a:pt x="651" y="543"/>
                  <a:pt x="638" y="533"/>
                  <a:pt x="642" y="528"/>
                </a:cubicBezTo>
                <a:close/>
                <a:moveTo>
                  <a:pt x="641" y="494"/>
                </a:moveTo>
                <a:cubicBezTo>
                  <a:pt x="640" y="493"/>
                  <a:pt x="640" y="491"/>
                  <a:pt x="641" y="490"/>
                </a:cubicBezTo>
                <a:cubicBezTo>
                  <a:pt x="641" y="491"/>
                  <a:pt x="641" y="492"/>
                  <a:pt x="641" y="494"/>
                </a:cubicBezTo>
                <a:close/>
                <a:moveTo>
                  <a:pt x="641" y="488"/>
                </a:moveTo>
                <a:cubicBezTo>
                  <a:pt x="641" y="488"/>
                  <a:pt x="641" y="488"/>
                  <a:pt x="641" y="488"/>
                </a:cubicBezTo>
                <a:cubicBezTo>
                  <a:pt x="641" y="488"/>
                  <a:pt x="641" y="488"/>
                  <a:pt x="641" y="488"/>
                </a:cubicBezTo>
                <a:cubicBezTo>
                  <a:pt x="641" y="488"/>
                  <a:pt x="641" y="488"/>
                  <a:pt x="641" y="488"/>
                </a:cubicBezTo>
                <a:close/>
                <a:moveTo>
                  <a:pt x="641" y="452"/>
                </a:moveTo>
                <a:cubicBezTo>
                  <a:pt x="641" y="452"/>
                  <a:pt x="641" y="452"/>
                  <a:pt x="641" y="452"/>
                </a:cubicBezTo>
                <a:cubicBezTo>
                  <a:pt x="641" y="454"/>
                  <a:pt x="640" y="450"/>
                  <a:pt x="641" y="452"/>
                </a:cubicBezTo>
                <a:close/>
                <a:moveTo>
                  <a:pt x="641" y="478"/>
                </a:moveTo>
                <a:cubicBezTo>
                  <a:pt x="641" y="478"/>
                  <a:pt x="641" y="479"/>
                  <a:pt x="641" y="479"/>
                </a:cubicBezTo>
                <a:cubicBezTo>
                  <a:pt x="641" y="479"/>
                  <a:pt x="641" y="479"/>
                  <a:pt x="641" y="480"/>
                </a:cubicBezTo>
                <a:cubicBezTo>
                  <a:pt x="641" y="480"/>
                  <a:pt x="641" y="481"/>
                  <a:pt x="641" y="480"/>
                </a:cubicBezTo>
                <a:cubicBezTo>
                  <a:pt x="641" y="480"/>
                  <a:pt x="641" y="479"/>
                  <a:pt x="641" y="479"/>
                </a:cubicBezTo>
                <a:cubicBezTo>
                  <a:pt x="641" y="479"/>
                  <a:pt x="641" y="479"/>
                  <a:pt x="641" y="479"/>
                </a:cubicBezTo>
                <a:cubicBezTo>
                  <a:pt x="641" y="479"/>
                  <a:pt x="641" y="478"/>
                  <a:pt x="641" y="478"/>
                </a:cubicBezTo>
                <a:close/>
                <a:moveTo>
                  <a:pt x="641" y="482"/>
                </a:moveTo>
                <a:cubicBezTo>
                  <a:pt x="641" y="483"/>
                  <a:pt x="641" y="485"/>
                  <a:pt x="641" y="487"/>
                </a:cubicBezTo>
                <a:cubicBezTo>
                  <a:pt x="640" y="486"/>
                  <a:pt x="640" y="484"/>
                  <a:pt x="641" y="482"/>
                </a:cubicBezTo>
                <a:close/>
                <a:moveTo>
                  <a:pt x="640" y="442"/>
                </a:moveTo>
                <a:cubicBezTo>
                  <a:pt x="639" y="440"/>
                  <a:pt x="634" y="435"/>
                  <a:pt x="634" y="432"/>
                </a:cubicBezTo>
                <a:cubicBezTo>
                  <a:pt x="636" y="435"/>
                  <a:pt x="639" y="439"/>
                  <a:pt x="640" y="442"/>
                </a:cubicBezTo>
                <a:close/>
                <a:moveTo>
                  <a:pt x="633" y="488"/>
                </a:moveTo>
                <a:cubicBezTo>
                  <a:pt x="634" y="488"/>
                  <a:pt x="634" y="489"/>
                  <a:pt x="634" y="489"/>
                </a:cubicBezTo>
                <a:cubicBezTo>
                  <a:pt x="634" y="492"/>
                  <a:pt x="630" y="488"/>
                  <a:pt x="633" y="488"/>
                </a:cubicBezTo>
                <a:close/>
                <a:moveTo>
                  <a:pt x="633" y="524"/>
                </a:moveTo>
                <a:cubicBezTo>
                  <a:pt x="634" y="524"/>
                  <a:pt x="634" y="526"/>
                  <a:pt x="632" y="526"/>
                </a:cubicBezTo>
                <a:cubicBezTo>
                  <a:pt x="631" y="526"/>
                  <a:pt x="631" y="524"/>
                  <a:pt x="633" y="524"/>
                </a:cubicBezTo>
                <a:close/>
                <a:moveTo>
                  <a:pt x="582" y="488"/>
                </a:moveTo>
                <a:cubicBezTo>
                  <a:pt x="583" y="489"/>
                  <a:pt x="581" y="487"/>
                  <a:pt x="582" y="488"/>
                </a:cubicBezTo>
                <a:close/>
                <a:moveTo>
                  <a:pt x="583" y="573"/>
                </a:moveTo>
                <a:cubicBezTo>
                  <a:pt x="585" y="572"/>
                  <a:pt x="587" y="574"/>
                  <a:pt x="589" y="575"/>
                </a:cubicBezTo>
                <a:cubicBezTo>
                  <a:pt x="587" y="575"/>
                  <a:pt x="585" y="574"/>
                  <a:pt x="583" y="573"/>
                </a:cubicBezTo>
                <a:close/>
                <a:moveTo>
                  <a:pt x="590" y="563"/>
                </a:moveTo>
                <a:cubicBezTo>
                  <a:pt x="591" y="564"/>
                  <a:pt x="590" y="565"/>
                  <a:pt x="590" y="563"/>
                </a:cubicBezTo>
                <a:close/>
                <a:moveTo>
                  <a:pt x="590" y="549"/>
                </a:moveTo>
                <a:cubicBezTo>
                  <a:pt x="588" y="548"/>
                  <a:pt x="590" y="547"/>
                  <a:pt x="590" y="549"/>
                </a:cubicBezTo>
                <a:close/>
                <a:moveTo>
                  <a:pt x="595" y="560"/>
                </a:moveTo>
                <a:cubicBezTo>
                  <a:pt x="594" y="559"/>
                  <a:pt x="594" y="557"/>
                  <a:pt x="595" y="555"/>
                </a:cubicBezTo>
                <a:cubicBezTo>
                  <a:pt x="596" y="556"/>
                  <a:pt x="595" y="558"/>
                  <a:pt x="595" y="560"/>
                </a:cubicBezTo>
                <a:close/>
                <a:moveTo>
                  <a:pt x="603" y="595"/>
                </a:moveTo>
                <a:cubicBezTo>
                  <a:pt x="600" y="596"/>
                  <a:pt x="600" y="592"/>
                  <a:pt x="603" y="595"/>
                </a:cubicBezTo>
                <a:close/>
                <a:moveTo>
                  <a:pt x="607" y="583"/>
                </a:moveTo>
                <a:cubicBezTo>
                  <a:pt x="603" y="584"/>
                  <a:pt x="604" y="579"/>
                  <a:pt x="604" y="577"/>
                </a:cubicBezTo>
                <a:cubicBezTo>
                  <a:pt x="607" y="576"/>
                  <a:pt x="611" y="582"/>
                  <a:pt x="607" y="583"/>
                </a:cubicBezTo>
                <a:close/>
                <a:moveTo>
                  <a:pt x="606" y="564"/>
                </a:moveTo>
                <a:cubicBezTo>
                  <a:pt x="608" y="564"/>
                  <a:pt x="609" y="565"/>
                  <a:pt x="610" y="567"/>
                </a:cubicBezTo>
                <a:cubicBezTo>
                  <a:pt x="610" y="567"/>
                  <a:pt x="610" y="567"/>
                  <a:pt x="610" y="567"/>
                </a:cubicBezTo>
                <a:cubicBezTo>
                  <a:pt x="610" y="567"/>
                  <a:pt x="610" y="567"/>
                  <a:pt x="610" y="567"/>
                </a:cubicBezTo>
                <a:cubicBezTo>
                  <a:pt x="611" y="568"/>
                  <a:pt x="612" y="569"/>
                  <a:pt x="612" y="569"/>
                </a:cubicBezTo>
                <a:cubicBezTo>
                  <a:pt x="613" y="569"/>
                  <a:pt x="613" y="569"/>
                  <a:pt x="613" y="570"/>
                </a:cubicBezTo>
                <a:cubicBezTo>
                  <a:pt x="613" y="570"/>
                  <a:pt x="613" y="570"/>
                  <a:pt x="613" y="570"/>
                </a:cubicBezTo>
                <a:cubicBezTo>
                  <a:pt x="613" y="570"/>
                  <a:pt x="613" y="570"/>
                  <a:pt x="613" y="570"/>
                </a:cubicBezTo>
                <a:cubicBezTo>
                  <a:pt x="613" y="570"/>
                  <a:pt x="613" y="570"/>
                  <a:pt x="613" y="571"/>
                </a:cubicBezTo>
                <a:cubicBezTo>
                  <a:pt x="613" y="570"/>
                  <a:pt x="612" y="570"/>
                  <a:pt x="612" y="570"/>
                </a:cubicBezTo>
                <a:cubicBezTo>
                  <a:pt x="610" y="568"/>
                  <a:pt x="608" y="565"/>
                  <a:pt x="606" y="564"/>
                </a:cubicBezTo>
                <a:close/>
                <a:moveTo>
                  <a:pt x="613" y="568"/>
                </a:moveTo>
                <a:cubicBezTo>
                  <a:pt x="611" y="567"/>
                  <a:pt x="613" y="565"/>
                  <a:pt x="613" y="568"/>
                </a:cubicBezTo>
                <a:close/>
                <a:moveTo>
                  <a:pt x="616" y="579"/>
                </a:moveTo>
                <a:cubicBezTo>
                  <a:pt x="612" y="580"/>
                  <a:pt x="611" y="573"/>
                  <a:pt x="613" y="572"/>
                </a:cubicBezTo>
                <a:cubicBezTo>
                  <a:pt x="616" y="570"/>
                  <a:pt x="618" y="575"/>
                  <a:pt x="618" y="576"/>
                </a:cubicBezTo>
                <a:cubicBezTo>
                  <a:pt x="618" y="578"/>
                  <a:pt x="617" y="579"/>
                  <a:pt x="616" y="579"/>
                </a:cubicBezTo>
                <a:close/>
                <a:moveTo>
                  <a:pt x="615" y="543"/>
                </a:moveTo>
                <a:cubicBezTo>
                  <a:pt x="616" y="543"/>
                  <a:pt x="617" y="543"/>
                  <a:pt x="617" y="544"/>
                </a:cubicBezTo>
                <a:cubicBezTo>
                  <a:pt x="618" y="547"/>
                  <a:pt x="613" y="545"/>
                  <a:pt x="615" y="543"/>
                </a:cubicBezTo>
                <a:close/>
                <a:moveTo>
                  <a:pt x="615" y="515"/>
                </a:moveTo>
                <a:cubicBezTo>
                  <a:pt x="616" y="515"/>
                  <a:pt x="616" y="516"/>
                  <a:pt x="616" y="516"/>
                </a:cubicBezTo>
                <a:cubicBezTo>
                  <a:pt x="617" y="518"/>
                  <a:pt x="614" y="516"/>
                  <a:pt x="615" y="515"/>
                </a:cubicBezTo>
                <a:close/>
                <a:moveTo>
                  <a:pt x="617" y="556"/>
                </a:moveTo>
                <a:cubicBezTo>
                  <a:pt x="617" y="556"/>
                  <a:pt x="617" y="556"/>
                  <a:pt x="617" y="556"/>
                </a:cubicBezTo>
                <a:cubicBezTo>
                  <a:pt x="615" y="555"/>
                  <a:pt x="618" y="555"/>
                  <a:pt x="617" y="556"/>
                </a:cubicBezTo>
                <a:close/>
                <a:moveTo>
                  <a:pt x="618" y="554"/>
                </a:moveTo>
                <a:cubicBezTo>
                  <a:pt x="618" y="553"/>
                  <a:pt x="618" y="555"/>
                  <a:pt x="618" y="555"/>
                </a:cubicBezTo>
                <a:cubicBezTo>
                  <a:pt x="618" y="556"/>
                  <a:pt x="616" y="555"/>
                  <a:pt x="618" y="554"/>
                </a:cubicBezTo>
                <a:close/>
                <a:moveTo>
                  <a:pt x="618" y="537"/>
                </a:moveTo>
                <a:cubicBezTo>
                  <a:pt x="617" y="536"/>
                  <a:pt x="617" y="533"/>
                  <a:pt x="619" y="534"/>
                </a:cubicBezTo>
                <a:cubicBezTo>
                  <a:pt x="620" y="534"/>
                  <a:pt x="620" y="538"/>
                  <a:pt x="618" y="537"/>
                </a:cubicBezTo>
                <a:close/>
                <a:moveTo>
                  <a:pt x="621" y="553"/>
                </a:moveTo>
                <a:cubicBezTo>
                  <a:pt x="619" y="554"/>
                  <a:pt x="620" y="549"/>
                  <a:pt x="621" y="552"/>
                </a:cubicBezTo>
                <a:cubicBezTo>
                  <a:pt x="622" y="552"/>
                  <a:pt x="622" y="553"/>
                  <a:pt x="621" y="553"/>
                </a:cubicBezTo>
                <a:close/>
                <a:moveTo>
                  <a:pt x="623" y="544"/>
                </a:moveTo>
                <a:cubicBezTo>
                  <a:pt x="622" y="543"/>
                  <a:pt x="624" y="543"/>
                  <a:pt x="623" y="544"/>
                </a:cubicBezTo>
                <a:close/>
                <a:moveTo>
                  <a:pt x="624" y="553"/>
                </a:moveTo>
                <a:cubicBezTo>
                  <a:pt x="625" y="554"/>
                  <a:pt x="623" y="551"/>
                  <a:pt x="624" y="553"/>
                </a:cubicBezTo>
                <a:close/>
                <a:moveTo>
                  <a:pt x="624" y="503"/>
                </a:moveTo>
                <a:cubicBezTo>
                  <a:pt x="622" y="502"/>
                  <a:pt x="623" y="497"/>
                  <a:pt x="626" y="497"/>
                </a:cubicBezTo>
                <a:cubicBezTo>
                  <a:pt x="629" y="498"/>
                  <a:pt x="627" y="505"/>
                  <a:pt x="624" y="503"/>
                </a:cubicBezTo>
                <a:close/>
                <a:moveTo>
                  <a:pt x="628" y="419"/>
                </a:moveTo>
                <a:cubicBezTo>
                  <a:pt x="629" y="420"/>
                  <a:pt x="628" y="421"/>
                  <a:pt x="627" y="420"/>
                </a:cubicBezTo>
                <a:cubicBezTo>
                  <a:pt x="627" y="419"/>
                  <a:pt x="628" y="419"/>
                  <a:pt x="628" y="419"/>
                </a:cubicBezTo>
                <a:close/>
                <a:moveTo>
                  <a:pt x="628" y="466"/>
                </a:moveTo>
                <a:cubicBezTo>
                  <a:pt x="629" y="467"/>
                  <a:pt x="627" y="472"/>
                  <a:pt x="624" y="469"/>
                </a:cubicBezTo>
                <a:cubicBezTo>
                  <a:pt x="623" y="468"/>
                  <a:pt x="626" y="465"/>
                  <a:pt x="628" y="466"/>
                </a:cubicBezTo>
                <a:close/>
                <a:moveTo>
                  <a:pt x="624" y="448"/>
                </a:moveTo>
                <a:cubicBezTo>
                  <a:pt x="627" y="450"/>
                  <a:pt x="625" y="451"/>
                  <a:pt x="624" y="448"/>
                </a:cubicBezTo>
                <a:close/>
                <a:moveTo>
                  <a:pt x="624" y="438"/>
                </a:moveTo>
                <a:cubicBezTo>
                  <a:pt x="625" y="439"/>
                  <a:pt x="623" y="437"/>
                  <a:pt x="624" y="438"/>
                </a:cubicBezTo>
                <a:close/>
                <a:moveTo>
                  <a:pt x="625" y="439"/>
                </a:moveTo>
                <a:cubicBezTo>
                  <a:pt x="628" y="439"/>
                  <a:pt x="628" y="444"/>
                  <a:pt x="625" y="444"/>
                </a:cubicBezTo>
                <a:cubicBezTo>
                  <a:pt x="623" y="444"/>
                  <a:pt x="623" y="439"/>
                  <a:pt x="625" y="439"/>
                </a:cubicBezTo>
                <a:close/>
                <a:moveTo>
                  <a:pt x="623" y="483"/>
                </a:moveTo>
                <a:cubicBezTo>
                  <a:pt x="624" y="484"/>
                  <a:pt x="622" y="484"/>
                  <a:pt x="623" y="483"/>
                </a:cubicBezTo>
                <a:close/>
                <a:moveTo>
                  <a:pt x="621" y="454"/>
                </a:moveTo>
                <a:cubicBezTo>
                  <a:pt x="622" y="454"/>
                  <a:pt x="621" y="455"/>
                  <a:pt x="621" y="455"/>
                </a:cubicBezTo>
                <a:cubicBezTo>
                  <a:pt x="620" y="454"/>
                  <a:pt x="621" y="454"/>
                  <a:pt x="621" y="454"/>
                </a:cubicBezTo>
                <a:close/>
                <a:moveTo>
                  <a:pt x="618" y="462"/>
                </a:moveTo>
                <a:cubicBezTo>
                  <a:pt x="618" y="462"/>
                  <a:pt x="619" y="463"/>
                  <a:pt x="619" y="463"/>
                </a:cubicBezTo>
                <a:cubicBezTo>
                  <a:pt x="618" y="464"/>
                  <a:pt x="618" y="461"/>
                  <a:pt x="618" y="462"/>
                </a:cubicBezTo>
                <a:close/>
                <a:moveTo>
                  <a:pt x="615" y="421"/>
                </a:moveTo>
                <a:cubicBezTo>
                  <a:pt x="616" y="421"/>
                  <a:pt x="616" y="422"/>
                  <a:pt x="616" y="422"/>
                </a:cubicBezTo>
                <a:cubicBezTo>
                  <a:pt x="615" y="423"/>
                  <a:pt x="615" y="421"/>
                  <a:pt x="615" y="421"/>
                </a:cubicBezTo>
                <a:close/>
                <a:moveTo>
                  <a:pt x="625" y="495"/>
                </a:moveTo>
                <a:cubicBezTo>
                  <a:pt x="624" y="495"/>
                  <a:pt x="622" y="497"/>
                  <a:pt x="621" y="496"/>
                </a:cubicBezTo>
                <a:cubicBezTo>
                  <a:pt x="620" y="495"/>
                  <a:pt x="622" y="494"/>
                  <a:pt x="621" y="493"/>
                </a:cubicBezTo>
                <a:cubicBezTo>
                  <a:pt x="620" y="490"/>
                  <a:pt x="616" y="488"/>
                  <a:pt x="615" y="485"/>
                </a:cubicBezTo>
                <a:cubicBezTo>
                  <a:pt x="618" y="487"/>
                  <a:pt x="621" y="491"/>
                  <a:pt x="625" y="495"/>
                </a:cubicBezTo>
                <a:close/>
                <a:moveTo>
                  <a:pt x="612" y="402"/>
                </a:moveTo>
                <a:cubicBezTo>
                  <a:pt x="613" y="401"/>
                  <a:pt x="614" y="403"/>
                  <a:pt x="614" y="403"/>
                </a:cubicBezTo>
                <a:cubicBezTo>
                  <a:pt x="614" y="406"/>
                  <a:pt x="610" y="403"/>
                  <a:pt x="612" y="402"/>
                </a:cubicBezTo>
                <a:close/>
                <a:moveTo>
                  <a:pt x="612" y="522"/>
                </a:moveTo>
                <a:cubicBezTo>
                  <a:pt x="613" y="522"/>
                  <a:pt x="613" y="524"/>
                  <a:pt x="612" y="524"/>
                </a:cubicBezTo>
                <a:cubicBezTo>
                  <a:pt x="611" y="523"/>
                  <a:pt x="611" y="522"/>
                  <a:pt x="612" y="522"/>
                </a:cubicBezTo>
                <a:close/>
                <a:moveTo>
                  <a:pt x="612" y="517"/>
                </a:moveTo>
                <a:cubicBezTo>
                  <a:pt x="613" y="519"/>
                  <a:pt x="612" y="516"/>
                  <a:pt x="612" y="517"/>
                </a:cubicBezTo>
                <a:close/>
                <a:moveTo>
                  <a:pt x="613" y="502"/>
                </a:moveTo>
                <a:cubicBezTo>
                  <a:pt x="613" y="503"/>
                  <a:pt x="614" y="504"/>
                  <a:pt x="613" y="505"/>
                </a:cubicBezTo>
                <a:cubicBezTo>
                  <a:pt x="613" y="504"/>
                  <a:pt x="612" y="503"/>
                  <a:pt x="613" y="502"/>
                </a:cubicBezTo>
                <a:close/>
                <a:moveTo>
                  <a:pt x="612" y="484"/>
                </a:moveTo>
                <a:cubicBezTo>
                  <a:pt x="613" y="484"/>
                  <a:pt x="614" y="487"/>
                  <a:pt x="612" y="487"/>
                </a:cubicBezTo>
                <a:cubicBezTo>
                  <a:pt x="610" y="486"/>
                  <a:pt x="611" y="484"/>
                  <a:pt x="612" y="484"/>
                </a:cubicBezTo>
                <a:close/>
                <a:moveTo>
                  <a:pt x="611" y="489"/>
                </a:moveTo>
                <a:cubicBezTo>
                  <a:pt x="612" y="488"/>
                  <a:pt x="612" y="490"/>
                  <a:pt x="612" y="490"/>
                </a:cubicBezTo>
                <a:cubicBezTo>
                  <a:pt x="613" y="493"/>
                  <a:pt x="609" y="489"/>
                  <a:pt x="611" y="489"/>
                </a:cubicBezTo>
                <a:close/>
                <a:moveTo>
                  <a:pt x="609" y="556"/>
                </a:moveTo>
                <a:cubicBezTo>
                  <a:pt x="612" y="553"/>
                  <a:pt x="618" y="559"/>
                  <a:pt x="614" y="562"/>
                </a:cubicBezTo>
                <a:cubicBezTo>
                  <a:pt x="615" y="561"/>
                  <a:pt x="617" y="563"/>
                  <a:pt x="616" y="564"/>
                </a:cubicBezTo>
                <a:cubicBezTo>
                  <a:pt x="615" y="566"/>
                  <a:pt x="612" y="563"/>
                  <a:pt x="614" y="562"/>
                </a:cubicBezTo>
                <a:cubicBezTo>
                  <a:pt x="611" y="563"/>
                  <a:pt x="607" y="558"/>
                  <a:pt x="609" y="556"/>
                </a:cubicBezTo>
                <a:close/>
                <a:moveTo>
                  <a:pt x="607" y="532"/>
                </a:moveTo>
                <a:cubicBezTo>
                  <a:pt x="607" y="532"/>
                  <a:pt x="608" y="533"/>
                  <a:pt x="608" y="533"/>
                </a:cubicBezTo>
                <a:cubicBezTo>
                  <a:pt x="607" y="534"/>
                  <a:pt x="607" y="532"/>
                  <a:pt x="607" y="532"/>
                </a:cubicBezTo>
                <a:close/>
                <a:moveTo>
                  <a:pt x="607" y="517"/>
                </a:moveTo>
                <a:cubicBezTo>
                  <a:pt x="607" y="517"/>
                  <a:pt x="606" y="517"/>
                  <a:pt x="606" y="517"/>
                </a:cubicBezTo>
                <a:cubicBezTo>
                  <a:pt x="606" y="517"/>
                  <a:pt x="606" y="517"/>
                  <a:pt x="606" y="517"/>
                </a:cubicBezTo>
                <a:cubicBezTo>
                  <a:pt x="606" y="517"/>
                  <a:pt x="607" y="517"/>
                  <a:pt x="607" y="517"/>
                </a:cubicBezTo>
                <a:close/>
                <a:moveTo>
                  <a:pt x="606" y="571"/>
                </a:moveTo>
                <a:cubicBezTo>
                  <a:pt x="606" y="570"/>
                  <a:pt x="606" y="570"/>
                  <a:pt x="606" y="570"/>
                </a:cubicBezTo>
                <a:cubicBezTo>
                  <a:pt x="606" y="571"/>
                  <a:pt x="607" y="572"/>
                  <a:pt x="606" y="571"/>
                </a:cubicBezTo>
                <a:close/>
                <a:moveTo>
                  <a:pt x="605" y="461"/>
                </a:moveTo>
                <a:cubicBezTo>
                  <a:pt x="605" y="461"/>
                  <a:pt x="606" y="462"/>
                  <a:pt x="605" y="462"/>
                </a:cubicBezTo>
                <a:cubicBezTo>
                  <a:pt x="605" y="463"/>
                  <a:pt x="605" y="461"/>
                  <a:pt x="605" y="461"/>
                </a:cubicBezTo>
                <a:close/>
                <a:moveTo>
                  <a:pt x="602" y="525"/>
                </a:moveTo>
                <a:cubicBezTo>
                  <a:pt x="603" y="527"/>
                  <a:pt x="604" y="530"/>
                  <a:pt x="604" y="534"/>
                </a:cubicBezTo>
                <a:cubicBezTo>
                  <a:pt x="603" y="531"/>
                  <a:pt x="602" y="528"/>
                  <a:pt x="602" y="525"/>
                </a:cubicBezTo>
                <a:close/>
                <a:moveTo>
                  <a:pt x="604" y="450"/>
                </a:moveTo>
                <a:cubicBezTo>
                  <a:pt x="604" y="450"/>
                  <a:pt x="604" y="450"/>
                  <a:pt x="604" y="450"/>
                </a:cubicBezTo>
                <a:cubicBezTo>
                  <a:pt x="603" y="450"/>
                  <a:pt x="604" y="450"/>
                  <a:pt x="604" y="450"/>
                </a:cubicBezTo>
                <a:close/>
                <a:moveTo>
                  <a:pt x="604" y="477"/>
                </a:moveTo>
                <a:cubicBezTo>
                  <a:pt x="603" y="476"/>
                  <a:pt x="604" y="475"/>
                  <a:pt x="604" y="477"/>
                </a:cubicBezTo>
                <a:close/>
                <a:moveTo>
                  <a:pt x="602" y="450"/>
                </a:moveTo>
                <a:cubicBezTo>
                  <a:pt x="602" y="450"/>
                  <a:pt x="601" y="450"/>
                  <a:pt x="601" y="450"/>
                </a:cubicBezTo>
                <a:cubicBezTo>
                  <a:pt x="599" y="450"/>
                  <a:pt x="603" y="448"/>
                  <a:pt x="602" y="450"/>
                </a:cubicBezTo>
                <a:close/>
                <a:moveTo>
                  <a:pt x="601" y="516"/>
                </a:moveTo>
                <a:cubicBezTo>
                  <a:pt x="602" y="518"/>
                  <a:pt x="602" y="521"/>
                  <a:pt x="602" y="522"/>
                </a:cubicBezTo>
                <a:cubicBezTo>
                  <a:pt x="602" y="522"/>
                  <a:pt x="600" y="518"/>
                  <a:pt x="601" y="516"/>
                </a:cubicBezTo>
                <a:close/>
                <a:moveTo>
                  <a:pt x="597" y="521"/>
                </a:moveTo>
                <a:cubicBezTo>
                  <a:pt x="598" y="521"/>
                  <a:pt x="598" y="522"/>
                  <a:pt x="599" y="522"/>
                </a:cubicBezTo>
                <a:cubicBezTo>
                  <a:pt x="599" y="523"/>
                  <a:pt x="597" y="522"/>
                  <a:pt x="597" y="521"/>
                </a:cubicBezTo>
                <a:close/>
                <a:moveTo>
                  <a:pt x="597" y="542"/>
                </a:moveTo>
                <a:cubicBezTo>
                  <a:pt x="598" y="545"/>
                  <a:pt x="593" y="542"/>
                  <a:pt x="595" y="540"/>
                </a:cubicBezTo>
                <a:cubicBezTo>
                  <a:pt x="596" y="539"/>
                  <a:pt x="597" y="541"/>
                  <a:pt x="597" y="542"/>
                </a:cubicBezTo>
                <a:close/>
                <a:moveTo>
                  <a:pt x="594" y="433"/>
                </a:moveTo>
                <a:cubicBezTo>
                  <a:pt x="593" y="434"/>
                  <a:pt x="594" y="431"/>
                  <a:pt x="594" y="433"/>
                </a:cubicBezTo>
                <a:close/>
                <a:moveTo>
                  <a:pt x="595" y="451"/>
                </a:moveTo>
                <a:cubicBezTo>
                  <a:pt x="595" y="451"/>
                  <a:pt x="595" y="452"/>
                  <a:pt x="596" y="453"/>
                </a:cubicBezTo>
                <a:cubicBezTo>
                  <a:pt x="596" y="455"/>
                  <a:pt x="592" y="452"/>
                  <a:pt x="595" y="451"/>
                </a:cubicBezTo>
                <a:close/>
                <a:moveTo>
                  <a:pt x="595" y="520"/>
                </a:moveTo>
                <a:cubicBezTo>
                  <a:pt x="595" y="520"/>
                  <a:pt x="595" y="520"/>
                  <a:pt x="594" y="519"/>
                </a:cubicBezTo>
                <a:cubicBezTo>
                  <a:pt x="594" y="519"/>
                  <a:pt x="594" y="519"/>
                  <a:pt x="594" y="519"/>
                </a:cubicBezTo>
                <a:cubicBezTo>
                  <a:pt x="594" y="519"/>
                  <a:pt x="595" y="520"/>
                  <a:pt x="595" y="520"/>
                </a:cubicBezTo>
                <a:close/>
                <a:moveTo>
                  <a:pt x="595" y="538"/>
                </a:moveTo>
                <a:cubicBezTo>
                  <a:pt x="595" y="543"/>
                  <a:pt x="590" y="531"/>
                  <a:pt x="590" y="529"/>
                </a:cubicBezTo>
                <a:cubicBezTo>
                  <a:pt x="591" y="532"/>
                  <a:pt x="589" y="528"/>
                  <a:pt x="589" y="527"/>
                </a:cubicBezTo>
                <a:cubicBezTo>
                  <a:pt x="591" y="527"/>
                  <a:pt x="592" y="531"/>
                  <a:pt x="592" y="531"/>
                </a:cubicBezTo>
                <a:cubicBezTo>
                  <a:pt x="593" y="533"/>
                  <a:pt x="595" y="536"/>
                  <a:pt x="595" y="538"/>
                </a:cubicBezTo>
                <a:close/>
                <a:moveTo>
                  <a:pt x="590" y="422"/>
                </a:moveTo>
                <a:cubicBezTo>
                  <a:pt x="589" y="421"/>
                  <a:pt x="591" y="423"/>
                  <a:pt x="590" y="422"/>
                </a:cubicBezTo>
                <a:close/>
                <a:moveTo>
                  <a:pt x="591" y="452"/>
                </a:moveTo>
                <a:cubicBezTo>
                  <a:pt x="591" y="452"/>
                  <a:pt x="591" y="454"/>
                  <a:pt x="590" y="454"/>
                </a:cubicBezTo>
                <a:cubicBezTo>
                  <a:pt x="589" y="454"/>
                  <a:pt x="590" y="452"/>
                  <a:pt x="591" y="452"/>
                </a:cubicBezTo>
                <a:close/>
                <a:moveTo>
                  <a:pt x="588" y="505"/>
                </a:moveTo>
                <a:cubicBezTo>
                  <a:pt x="590" y="505"/>
                  <a:pt x="591" y="509"/>
                  <a:pt x="590" y="510"/>
                </a:cubicBezTo>
                <a:cubicBezTo>
                  <a:pt x="588" y="511"/>
                  <a:pt x="587" y="507"/>
                  <a:pt x="588" y="505"/>
                </a:cubicBezTo>
                <a:close/>
                <a:moveTo>
                  <a:pt x="589" y="546"/>
                </a:moveTo>
                <a:cubicBezTo>
                  <a:pt x="589" y="545"/>
                  <a:pt x="589" y="545"/>
                  <a:pt x="589" y="545"/>
                </a:cubicBezTo>
                <a:cubicBezTo>
                  <a:pt x="589" y="545"/>
                  <a:pt x="589" y="545"/>
                  <a:pt x="589" y="546"/>
                </a:cubicBezTo>
                <a:cubicBezTo>
                  <a:pt x="589" y="546"/>
                  <a:pt x="589" y="546"/>
                  <a:pt x="589" y="546"/>
                </a:cubicBezTo>
                <a:cubicBezTo>
                  <a:pt x="589" y="546"/>
                  <a:pt x="589" y="546"/>
                  <a:pt x="589" y="546"/>
                </a:cubicBezTo>
                <a:close/>
                <a:moveTo>
                  <a:pt x="590" y="552"/>
                </a:moveTo>
                <a:cubicBezTo>
                  <a:pt x="589" y="552"/>
                  <a:pt x="587" y="550"/>
                  <a:pt x="587" y="549"/>
                </a:cubicBezTo>
                <a:cubicBezTo>
                  <a:pt x="589" y="549"/>
                  <a:pt x="588" y="551"/>
                  <a:pt x="590" y="552"/>
                </a:cubicBezTo>
                <a:close/>
                <a:moveTo>
                  <a:pt x="587" y="548"/>
                </a:moveTo>
                <a:cubicBezTo>
                  <a:pt x="586" y="545"/>
                  <a:pt x="587" y="549"/>
                  <a:pt x="587" y="548"/>
                </a:cubicBezTo>
                <a:close/>
                <a:moveTo>
                  <a:pt x="586" y="410"/>
                </a:moveTo>
                <a:cubicBezTo>
                  <a:pt x="586" y="410"/>
                  <a:pt x="586" y="410"/>
                  <a:pt x="586" y="410"/>
                </a:cubicBezTo>
                <a:cubicBezTo>
                  <a:pt x="586" y="410"/>
                  <a:pt x="586" y="410"/>
                  <a:pt x="586" y="410"/>
                </a:cubicBezTo>
                <a:close/>
                <a:moveTo>
                  <a:pt x="586" y="566"/>
                </a:moveTo>
                <a:cubicBezTo>
                  <a:pt x="585" y="565"/>
                  <a:pt x="587" y="568"/>
                  <a:pt x="586" y="566"/>
                </a:cubicBezTo>
                <a:close/>
                <a:moveTo>
                  <a:pt x="585" y="530"/>
                </a:moveTo>
                <a:cubicBezTo>
                  <a:pt x="586" y="530"/>
                  <a:pt x="586" y="532"/>
                  <a:pt x="585" y="531"/>
                </a:cubicBezTo>
                <a:cubicBezTo>
                  <a:pt x="584" y="531"/>
                  <a:pt x="585" y="530"/>
                  <a:pt x="585" y="530"/>
                </a:cubicBezTo>
                <a:close/>
                <a:moveTo>
                  <a:pt x="583" y="469"/>
                </a:moveTo>
                <a:cubicBezTo>
                  <a:pt x="583" y="469"/>
                  <a:pt x="584" y="470"/>
                  <a:pt x="583" y="470"/>
                </a:cubicBezTo>
                <a:cubicBezTo>
                  <a:pt x="583" y="471"/>
                  <a:pt x="583" y="468"/>
                  <a:pt x="583" y="469"/>
                </a:cubicBezTo>
                <a:close/>
                <a:moveTo>
                  <a:pt x="582" y="481"/>
                </a:moveTo>
                <a:cubicBezTo>
                  <a:pt x="582" y="481"/>
                  <a:pt x="582" y="482"/>
                  <a:pt x="582" y="482"/>
                </a:cubicBezTo>
                <a:cubicBezTo>
                  <a:pt x="584" y="484"/>
                  <a:pt x="580" y="480"/>
                  <a:pt x="582" y="481"/>
                </a:cubicBezTo>
                <a:close/>
                <a:moveTo>
                  <a:pt x="574" y="537"/>
                </a:moveTo>
                <a:cubicBezTo>
                  <a:pt x="573" y="535"/>
                  <a:pt x="575" y="538"/>
                  <a:pt x="574" y="537"/>
                </a:cubicBezTo>
                <a:close/>
                <a:moveTo>
                  <a:pt x="577" y="514"/>
                </a:moveTo>
                <a:cubicBezTo>
                  <a:pt x="576" y="514"/>
                  <a:pt x="576" y="510"/>
                  <a:pt x="575" y="509"/>
                </a:cubicBezTo>
                <a:cubicBezTo>
                  <a:pt x="578" y="509"/>
                  <a:pt x="576" y="512"/>
                  <a:pt x="577" y="514"/>
                </a:cubicBezTo>
                <a:close/>
                <a:moveTo>
                  <a:pt x="579" y="552"/>
                </a:moveTo>
                <a:cubicBezTo>
                  <a:pt x="577" y="553"/>
                  <a:pt x="576" y="548"/>
                  <a:pt x="576" y="546"/>
                </a:cubicBezTo>
                <a:cubicBezTo>
                  <a:pt x="578" y="547"/>
                  <a:pt x="581" y="552"/>
                  <a:pt x="579" y="552"/>
                </a:cubicBezTo>
                <a:close/>
                <a:moveTo>
                  <a:pt x="577" y="515"/>
                </a:moveTo>
                <a:cubicBezTo>
                  <a:pt x="578" y="522"/>
                  <a:pt x="580" y="527"/>
                  <a:pt x="581" y="534"/>
                </a:cubicBezTo>
                <a:cubicBezTo>
                  <a:pt x="579" y="528"/>
                  <a:pt x="577" y="522"/>
                  <a:pt x="577" y="515"/>
                </a:cubicBezTo>
                <a:close/>
                <a:moveTo>
                  <a:pt x="580" y="426"/>
                </a:moveTo>
                <a:cubicBezTo>
                  <a:pt x="581" y="426"/>
                  <a:pt x="581" y="427"/>
                  <a:pt x="581" y="427"/>
                </a:cubicBezTo>
                <a:cubicBezTo>
                  <a:pt x="582" y="429"/>
                  <a:pt x="579" y="427"/>
                  <a:pt x="580" y="426"/>
                </a:cubicBezTo>
                <a:close/>
                <a:moveTo>
                  <a:pt x="578" y="464"/>
                </a:moveTo>
                <a:cubicBezTo>
                  <a:pt x="577" y="465"/>
                  <a:pt x="577" y="464"/>
                  <a:pt x="577" y="464"/>
                </a:cubicBezTo>
                <a:cubicBezTo>
                  <a:pt x="578" y="463"/>
                  <a:pt x="578" y="464"/>
                  <a:pt x="578" y="464"/>
                </a:cubicBezTo>
                <a:close/>
                <a:moveTo>
                  <a:pt x="576" y="475"/>
                </a:moveTo>
                <a:cubicBezTo>
                  <a:pt x="576" y="474"/>
                  <a:pt x="577" y="477"/>
                  <a:pt x="576" y="475"/>
                </a:cubicBezTo>
                <a:close/>
                <a:moveTo>
                  <a:pt x="576" y="497"/>
                </a:moveTo>
                <a:cubicBezTo>
                  <a:pt x="576" y="497"/>
                  <a:pt x="576" y="498"/>
                  <a:pt x="576" y="498"/>
                </a:cubicBezTo>
                <a:cubicBezTo>
                  <a:pt x="576" y="499"/>
                  <a:pt x="576" y="497"/>
                  <a:pt x="576" y="497"/>
                </a:cubicBezTo>
                <a:close/>
                <a:moveTo>
                  <a:pt x="576" y="507"/>
                </a:moveTo>
                <a:cubicBezTo>
                  <a:pt x="577" y="507"/>
                  <a:pt x="577" y="508"/>
                  <a:pt x="576" y="508"/>
                </a:cubicBezTo>
                <a:cubicBezTo>
                  <a:pt x="574" y="509"/>
                  <a:pt x="575" y="505"/>
                  <a:pt x="576" y="507"/>
                </a:cubicBezTo>
                <a:close/>
                <a:moveTo>
                  <a:pt x="575" y="486"/>
                </a:moveTo>
                <a:cubicBezTo>
                  <a:pt x="575" y="485"/>
                  <a:pt x="576" y="488"/>
                  <a:pt x="575" y="486"/>
                </a:cubicBezTo>
                <a:close/>
                <a:moveTo>
                  <a:pt x="573" y="519"/>
                </a:moveTo>
                <a:cubicBezTo>
                  <a:pt x="574" y="524"/>
                  <a:pt x="577" y="528"/>
                  <a:pt x="576" y="533"/>
                </a:cubicBezTo>
                <a:cubicBezTo>
                  <a:pt x="573" y="530"/>
                  <a:pt x="572" y="524"/>
                  <a:pt x="573" y="519"/>
                </a:cubicBezTo>
                <a:close/>
                <a:moveTo>
                  <a:pt x="556" y="517"/>
                </a:moveTo>
                <a:cubicBezTo>
                  <a:pt x="556" y="517"/>
                  <a:pt x="556" y="516"/>
                  <a:pt x="556" y="516"/>
                </a:cubicBezTo>
                <a:cubicBezTo>
                  <a:pt x="554" y="516"/>
                  <a:pt x="557" y="515"/>
                  <a:pt x="556" y="517"/>
                </a:cubicBezTo>
                <a:close/>
                <a:moveTo>
                  <a:pt x="559" y="486"/>
                </a:moveTo>
                <a:cubicBezTo>
                  <a:pt x="558" y="486"/>
                  <a:pt x="559" y="485"/>
                  <a:pt x="559" y="485"/>
                </a:cubicBezTo>
                <a:cubicBezTo>
                  <a:pt x="559" y="485"/>
                  <a:pt x="559" y="486"/>
                  <a:pt x="559" y="486"/>
                </a:cubicBezTo>
                <a:close/>
                <a:moveTo>
                  <a:pt x="561" y="516"/>
                </a:moveTo>
                <a:cubicBezTo>
                  <a:pt x="560" y="516"/>
                  <a:pt x="560" y="515"/>
                  <a:pt x="560" y="515"/>
                </a:cubicBezTo>
                <a:cubicBezTo>
                  <a:pt x="562" y="514"/>
                  <a:pt x="563" y="517"/>
                  <a:pt x="561" y="516"/>
                </a:cubicBezTo>
                <a:close/>
                <a:moveTo>
                  <a:pt x="572" y="517"/>
                </a:moveTo>
                <a:cubicBezTo>
                  <a:pt x="572" y="517"/>
                  <a:pt x="567" y="506"/>
                  <a:pt x="569" y="506"/>
                </a:cubicBezTo>
                <a:cubicBezTo>
                  <a:pt x="569" y="505"/>
                  <a:pt x="572" y="514"/>
                  <a:pt x="572" y="515"/>
                </a:cubicBezTo>
                <a:cubicBezTo>
                  <a:pt x="572" y="515"/>
                  <a:pt x="572" y="516"/>
                  <a:pt x="572" y="517"/>
                </a:cubicBezTo>
                <a:close/>
                <a:moveTo>
                  <a:pt x="569" y="480"/>
                </a:moveTo>
                <a:cubicBezTo>
                  <a:pt x="570" y="480"/>
                  <a:pt x="570" y="480"/>
                  <a:pt x="570" y="480"/>
                </a:cubicBezTo>
                <a:cubicBezTo>
                  <a:pt x="571" y="482"/>
                  <a:pt x="567" y="479"/>
                  <a:pt x="569" y="480"/>
                </a:cubicBezTo>
                <a:close/>
                <a:moveTo>
                  <a:pt x="570" y="451"/>
                </a:moveTo>
                <a:cubicBezTo>
                  <a:pt x="570" y="451"/>
                  <a:pt x="570" y="452"/>
                  <a:pt x="570" y="453"/>
                </a:cubicBezTo>
                <a:cubicBezTo>
                  <a:pt x="568" y="454"/>
                  <a:pt x="568" y="449"/>
                  <a:pt x="570" y="451"/>
                </a:cubicBezTo>
                <a:close/>
                <a:moveTo>
                  <a:pt x="569" y="528"/>
                </a:moveTo>
                <a:cubicBezTo>
                  <a:pt x="569" y="528"/>
                  <a:pt x="569" y="529"/>
                  <a:pt x="569" y="529"/>
                </a:cubicBezTo>
                <a:cubicBezTo>
                  <a:pt x="567" y="529"/>
                  <a:pt x="569" y="526"/>
                  <a:pt x="569" y="528"/>
                </a:cubicBezTo>
                <a:close/>
                <a:moveTo>
                  <a:pt x="567" y="520"/>
                </a:moveTo>
                <a:cubicBezTo>
                  <a:pt x="567" y="520"/>
                  <a:pt x="567" y="519"/>
                  <a:pt x="567" y="519"/>
                </a:cubicBezTo>
                <a:cubicBezTo>
                  <a:pt x="568" y="519"/>
                  <a:pt x="567" y="521"/>
                  <a:pt x="567" y="520"/>
                </a:cubicBezTo>
                <a:close/>
                <a:moveTo>
                  <a:pt x="567" y="511"/>
                </a:moveTo>
                <a:cubicBezTo>
                  <a:pt x="566" y="511"/>
                  <a:pt x="566" y="509"/>
                  <a:pt x="566" y="508"/>
                </a:cubicBezTo>
                <a:cubicBezTo>
                  <a:pt x="567" y="509"/>
                  <a:pt x="567" y="510"/>
                  <a:pt x="567" y="511"/>
                </a:cubicBezTo>
                <a:close/>
                <a:moveTo>
                  <a:pt x="566" y="507"/>
                </a:moveTo>
                <a:cubicBezTo>
                  <a:pt x="565" y="506"/>
                  <a:pt x="567" y="504"/>
                  <a:pt x="566" y="507"/>
                </a:cubicBezTo>
                <a:close/>
                <a:moveTo>
                  <a:pt x="565" y="501"/>
                </a:moveTo>
                <a:cubicBezTo>
                  <a:pt x="565" y="501"/>
                  <a:pt x="565" y="501"/>
                  <a:pt x="565" y="501"/>
                </a:cubicBezTo>
                <a:cubicBezTo>
                  <a:pt x="565" y="501"/>
                  <a:pt x="565" y="501"/>
                  <a:pt x="565" y="500"/>
                </a:cubicBezTo>
                <a:cubicBezTo>
                  <a:pt x="565" y="501"/>
                  <a:pt x="565" y="501"/>
                  <a:pt x="565" y="501"/>
                </a:cubicBezTo>
                <a:close/>
                <a:moveTo>
                  <a:pt x="565" y="508"/>
                </a:moveTo>
                <a:cubicBezTo>
                  <a:pt x="566" y="510"/>
                  <a:pt x="562" y="508"/>
                  <a:pt x="564" y="507"/>
                </a:cubicBezTo>
                <a:cubicBezTo>
                  <a:pt x="564" y="507"/>
                  <a:pt x="565" y="507"/>
                  <a:pt x="565" y="508"/>
                </a:cubicBezTo>
                <a:close/>
                <a:moveTo>
                  <a:pt x="564" y="502"/>
                </a:moveTo>
                <a:cubicBezTo>
                  <a:pt x="564" y="502"/>
                  <a:pt x="564" y="503"/>
                  <a:pt x="564" y="503"/>
                </a:cubicBezTo>
                <a:cubicBezTo>
                  <a:pt x="565" y="505"/>
                  <a:pt x="561" y="503"/>
                  <a:pt x="564" y="502"/>
                </a:cubicBezTo>
                <a:close/>
                <a:moveTo>
                  <a:pt x="560" y="494"/>
                </a:moveTo>
                <a:cubicBezTo>
                  <a:pt x="562" y="492"/>
                  <a:pt x="564" y="496"/>
                  <a:pt x="564" y="496"/>
                </a:cubicBezTo>
                <a:cubicBezTo>
                  <a:pt x="565" y="501"/>
                  <a:pt x="557" y="496"/>
                  <a:pt x="560" y="494"/>
                </a:cubicBezTo>
                <a:close/>
                <a:moveTo>
                  <a:pt x="557" y="439"/>
                </a:moveTo>
                <a:cubicBezTo>
                  <a:pt x="557" y="440"/>
                  <a:pt x="556" y="438"/>
                  <a:pt x="557" y="439"/>
                </a:cubicBezTo>
                <a:close/>
                <a:moveTo>
                  <a:pt x="555" y="457"/>
                </a:moveTo>
                <a:cubicBezTo>
                  <a:pt x="556" y="456"/>
                  <a:pt x="558" y="461"/>
                  <a:pt x="558" y="460"/>
                </a:cubicBezTo>
                <a:cubicBezTo>
                  <a:pt x="558" y="462"/>
                  <a:pt x="558" y="464"/>
                  <a:pt x="559" y="467"/>
                </a:cubicBezTo>
                <a:cubicBezTo>
                  <a:pt x="560" y="471"/>
                  <a:pt x="564" y="476"/>
                  <a:pt x="564" y="480"/>
                </a:cubicBezTo>
                <a:cubicBezTo>
                  <a:pt x="560" y="478"/>
                  <a:pt x="561" y="472"/>
                  <a:pt x="559" y="469"/>
                </a:cubicBezTo>
                <a:cubicBezTo>
                  <a:pt x="558" y="468"/>
                  <a:pt x="556" y="462"/>
                  <a:pt x="555" y="459"/>
                </a:cubicBezTo>
                <a:cubicBezTo>
                  <a:pt x="555" y="458"/>
                  <a:pt x="553" y="457"/>
                  <a:pt x="555" y="457"/>
                </a:cubicBezTo>
                <a:close/>
                <a:moveTo>
                  <a:pt x="549" y="528"/>
                </a:moveTo>
                <a:cubicBezTo>
                  <a:pt x="549" y="527"/>
                  <a:pt x="550" y="527"/>
                  <a:pt x="550" y="528"/>
                </a:cubicBezTo>
                <a:cubicBezTo>
                  <a:pt x="551" y="529"/>
                  <a:pt x="549" y="528"/>
                  <a:pt x="549" y="528"/>
                </a:cubicBezTo>
                <a:close/>
                <a:moveTo>
                  <a:pt x="540" y="511"/>
                </a:moveTo>
                <a:cubicBezTo>
                  <a:pt x="540" y="513"/>
                  <a:pt x="539" y="510"/>
                  <a:pt x="540" y="511"/>
                </a:cubicBezTo>
                <a:close/>
                <a:moveTo>
                  <a:pt x="541" y="554"/>
                </a:moveTo>
                <a:cubicBezTo>
                  <a:pt x="543" y="553"/>
                  <a:pt x="546" y="557"/>
                  <a:pt x="546" y="557"/>
                </a:cubicBezTo>
                <a:cubicBezTo>
                  <a:pt x="546" y="563"/>
                  <a:pt x="538" y="556"/>
                  <a:pt x="541" y="554"/>
                </a:cubicBezTo>
                <a:close/>
                <a:moveTo>
                  <a:pt x="541" y="528"/>
                </a:moveTo>
                <a:cubicBezTo>
                  <a:pt x="541" y="527"/>
                  <a:pt x="543" y="529"/>
                  <a:pt x="542" y="529"/>
                </a:cubicBezTo>
                <a:cubicBezTo>
                  <a:pt x="542" y="529"/>
                  <a:pt x="541" y="529"/>
                  <a:pt x="541" y="528"/>
                </a:cubicBezTo>
                <a:close/>
                <a:moveTo>
                  <a:pt x="549" y="540"/>
                </a:moveTo>
                <a:cubicBezTo>
                  <a:pt x="550" y="541"/>
                  <a:pt x="548" y="539"/>
                  <a:pt x="549" y="540"/>
                </a:cubicBezTo>
                <a:close/>
                <a:moveTo>
                  <a:pt x="548" y="494"/>
                </a:moveTo>
                <a:cubicBezTo>
                  <a:pt x="547" y="494"/>
                  <a:pt x="547" y="493"/>
                  <a:pt x="547" y="492"/>
                </a:cubicBezTo>
                <a:cubicBezTo>
                  <a:pt x="547" y="492"/>
                  <a:pt x="548" y="493"/>
                  <a:pt x="548" y="494"/>
                </a:cubicBezTo>
                <a:close/>
                <a:moveTo>
                  <a:pt x="546" y="541"/>
                </a:moveTo>
                <a:cubicBezTo>
                  <a:pt x="546" y="544"/>
                  <a:pt x="543" y="538"/>
                  <a:pt x="546" y="539"/>
                </a:cubicBezTo>
                <a:cubicBezTo>
                  <a:pt x="546" y="539"/>
                  <a:pt x="546" y="540"/>
                  <a:pt x="546" y="541"/>
                </a:cubicBezTo>
                <a:close/>
                <a:moveTo>
                  <a:pt x="545" y="522"/>
                </a:moveTo>
                <a:cubicBezTo>
                  <a:pt x="545" y="521"/>
                  <a:pt x="546" y="522"/>
                  <a:pt x="546" y="522"/>
                </a:cubicBezTo>
                <a:cubicBezTo>
                  <a:pt x="546" y="523"/>
                  <a:pt x="544" y="522"/>
                  <a:pt x="545" y="522"/>
                </a:cubicBezTo>
                <a:close/>
                <a:moveTo>
                  <a:pt x="545" y="470"/>
                </a:moveTo>
                <a:cubicBezTo>
                  <a:pt x="545" y="468"/>
                  <a:pt x="544" y="467"/>
                  <a:pt x="544" y="465"/>
                </a:cubicBezTo>
                <a:cubicBezTo>
                  <a:pt x="545" y="466"/>
                  <a:pt x="546" y="468"/>
                  <a:pt x="545" y="470"/>
                </a:cubicBezTo>
                <a:close/>
                <a:moveTo>
                  <a:pt x="543" y="518"/>
                </a:moveTo>
                <a:cubicBezTo>
                  <a:pt x="543" y="518"/>
                  <a:pt x="543" y="518"/>
                  <a:pt x="544" y="518"/>
                </a:cubicBezTo>
                <a:cubicBezTo>
                  <a:pt x="545" y="517"/>
                  <a:pt x="546" y="522"/>
                  <a:pt x="543" y="521"/>
                </a:cubicBezTo>
                <a:cubicBezTo>
                  <a:pt x="543" y="521"/>
                  <a:pt x="542" y="520"/>
                  <a:pt x="542" y="519"/>
                </a:cubicBezTo>
                <a:cubicBezTo>
                  <a:pt x="542" y="519"/>
                  <a:pt x="541" y="519"/>
                  <a:pt x="541" y="518"/>
                </a:cubicBezTo>
                <a:cubicBezTo>
                  <a:pt x="541" y="517"/>
                  <a:pt x="543" y="517"/>
                  <a:pt x="543" y="518"/>
                </a:cubicBezTo>
                <a:cubicBezTo>
                  <a:pt x="543" y="518"/>
                  <a:pt x="543" y="518"/>
                  <a:pt x="543" y="518"/>
                </a:cubicBezTo>
                <a:close/>
                <a:moveTo>
                  <a:pt x="541" y="454"/>
                </a:moveTo>
                <a:cubicBezTo>
                  <a:pt x="542" y="456"/>
                  <a:pt x="543" y="459"/>
                  <a:pt x="543" y="461"/>
                </a:cubicBezTo>
                <a:cubicBezTo>
                  <a:pt x="542" y="459"/>
                  <a:pt x="541" y="457"/>
                  <a:pt x="541" y="454"/>
                </a:cubicBezTo>
                <a:close/>
                <a:moveTo>
                  <a:pt x="539" y="439"/>
                </a:moveTo>
                <a:cubicBezTo>
                  <a:pt x="541" y="443"/>
                  <a:pt x="541" y="450"/>
                  <a:pt x="542" y="454"/>
                </a:cubicBezTo>
                <a:cubicBezTo>
                  <a:pt x="540" y="450"/>
                  <a:pt x="540" y="445"/>
                  <a:pt x="539" y="439"/>
                </a:cubicBezTo>
                <a:close/>
                <a:moveTo>
                  <a:pt x="539" y="439"/>
                </a:moveTo>
                <a:cubicBezTo>
                  <a:pt x="538" y="438"/>
                  <a:pt x="538" y="436"/>
                  <a:pt x="538" y="434"/>
                </a:cubicBezTo>
                <a:cubicBezTo>
                  <a:pt x="540" y="435"/>
                  <a:pt x="540" y="437"/>
                  <a:pt x="539" y="439"/>
                </a:cubicBezTo>
                <a:close/>
                <a:moveTo>
                  <a:pt x="539" y="432"/>
                </a:moveTo>
                <a:cubicBezTo>
                  <a:pt x="539" y="433"/>
                  <a:pt x="540" y="433"/>
                  <a:pt x="539" y="434"/>
                </a:cubicBezTo>
                <a:cubicBezTo>
                  <a:pt x="538" y="434"/>
                  <a:pt x="538" y="429"/>
                  <a:pt x="539" y="432"/>
                </a:cubicBezTo>
                <a:close/>
                <a:moveTo>
                  <a:pt x="538" y="420"/>
                </a:moveTo>
                <a:cubicBezTo>
                  <a:pt x="538" y="420"/>
                  <a:pt x="539" y="420"/>
                  <a:pt x="538" y="421"/>
                </a:cubicBezTo>
                <a:cubicBezTo>
                  <a:pt x="537" y="421"/>
                  <a:pt x="537" y="418"/>
                  <a:pt x="538" y="420"/>
                </a:cubicBezTo>
                <a:close/>
                <a:moveTo>
                  <a:pt x="537" y="551"/>
                </a:moveTo>
                <a:cubicBezTo>
                  <a:pt x="538" y="550"/>
                  <a:pt x="539" y="551"/>
                  <a:pt x="539" y="552"/>
                </a:cubicBezTo>
                <a:cubicBezTo>
                  <a:pt x="539" y="554"/>
                  <a:pt x="536" y="553"/>
                  <a:pt x="537" y="551"/>
                </a:cubicBezTo>
                <a:close/>
                <a:moveTo>
                  <a:pt x="535" y="409"/>
                </a:moveTo>
                <a:cubicBezTo>
                  <a:pt x="536" y="409"/>
                  <a:pt x="536" y="411"/>
                  <a:pt x="535" y="409"/>
                </a:cubicBezTo>
                <a:close/>
                <a:moveTo>
                  <a:pt x="535" y="418"/>
                </a:moveTo>
                <a:cubicBezTo>
                  <a:pt x="533" y="417"/>
                  <a:pt x="535" y="416"/>
                  <a:pt x="535" y="418"/>
                </a:cubicBezTo>
                <a:close/>
                <a:moveTo>
                  <a:pt x="534" y="460"/>
                </a:moveTo>
                <a:cubicBezTo>
                  <a:pt x="535" y="460"/>
                  <a:pt x="536" y="461"/>
                  <a:pt x="536" y="461"/>
                </a:cubicBezTo>
                <a:cubicBezTo>
                  <a:pt x="537" y="465"/>
                  <a:pt x="533" y="461"/>
                  <a:pt x="534" y="460"/>
                </a:cubicBezTo>
                <a:close/>
                <a:moveTo>
                  <a:pt x="301" y="28"/>
                </a:moveTo>
                <a:cubicBezTo>
                  <a:pt x="300" y="27"/>
                  <a:pt x="303" y="29"/>
                  <a:pt x="301" y="28"/>
                </a:cubicBezTo>
                <a:close/>
                <a:moveTo>
                  <a:pt x="308" y="19"/>
                </a:moveTo>
                <a:cubicBezTo>
                  <a:pt x="310" y="20"/>
                  <a:pt x="312" y="22"/>
                  <a:pt x="314" y="24"/>
                </a:cubicBezTo>
                <a:cubicBezTo>
                  <a:pt x="311" y="23"/>
                  <a:pt x="310" y="21"/>
                  <a:pt x="308" y="19"/>
                </a:cubicBezTo>
                <a:close/>
                <a:moveTo>
                  <a:pt x="314" y="19"/>
                </a:moveTo>
                <a:cubicBezTo>
                  <a:pt x="314" y="19"/>
                  <a:pt x="314" y="19"/>
                  <a:pt x="314" y="19"/>
                </a:cubicBezTo>
                <a:cubicBezTo>
                  <a:pt x="315" y="20"/>
                  <a:pt x="314" y="19"/>
                  <a:pt x="314" y="19"/>
                </a:cubicBezTo>
                <a:close/>
                <a:moveTo>
                  <a:pt x="286" y="38"/>
                </a:moveTo>
                <a:cubicBezTo>
                  <a:pt x="286" y="38"/>
                  <a:pt x="286" y="38"/>
                  <a:pt x="286" y="38"/>
                </a:cubicBezTo>
                <a:cubicBezTo>
                  <a:pt x="286" y="38"/>
                  <a:pt x="287" y="38"/>
                  <a:pt x="287" y="38"/>
                </a:cubicBezTo>
                <a:cubicBezTo>
                  <a:pt x="287" y="38"/>
                  <a:pt x="287" y="38"/>
                  <a:pt x="286" y="38"/>
                </a:cubicBezTo>
                <a:close/>
                <a:moveTo>
                  <a:pt x="290" y="56"/>
                </a:moveTo>
                <a:cubicBezTo>
                  <a:pt x="291" y="55"/>
                  <a:pt x="292" y="57"/>
                  <a:pt x="290" y="56"/>
                </a:cubicBezTo>
                <a:close/>
                <a:moveTo>
                  <a:pt x="294" y="57"/>
                </a:moveTo>
                <a:cubicBezTo>
                  <a:pt x="292" y="57"/>
                  <a:pt x="293" y="55"/>
                  <a:pt x="294" y="57"/>
                </a:cubicBezTo>
                <a:close/>
                <a:moveTo>
                  <a:pt x="292" y="34"/>
                </a:moveTo>
                <a:cubicBezTo>
                  <a:pt x="293" y="33"/>
                  <a:pt x="294" y="34"/>
                  <a:pt x="294" y="35"/>
                </a:cubicBezTo>
                <a:cubicBezTo>
                  <a:pt x="293" y="35"/>
                  <a:pt x="293" y="34"/>
                  <a:pt x="292" y="34"/>
                </a:cubicBezTo>
                <a:close/>
                <a:moveTo>
                  <a:pt x="301" y="46"/>
                </a:moveTo>
                <a:cubicBezTo>
                  <a:pt x="302" y="47"/>
                  <a:pt x="299" y="45"/>
                  <a:pt x="301" y="46"/>
                </a:cubicBezTo>
                <a:close/>
                <a:moveTo>
                  <a:pt x="300" y="50"/>
                </a:moveTo>
                <a:cubicBezTo>
                  <a:pt x="298" y="49"/>
                  <a:pt x="302" y="52"/>
                  <a:pt x="300" y="50"/>
                </a:cubicBezTo>
                <a:close/>
                <a:moveTo>
                  <a:pt x="301" y="48"/>
                </a:moveTo>
                <a:cubicBezTo>
                  <a:pt x="300" y="48"/>
                  <a:pt x="300" y="47"/>
                  <a:pt x="300" y="47"/>
                </a:cubicBezTo>
                <a:cubicBezTo>
                  <a:pt x="301" y="45"/>
                  <a:pt x="304" y="50"/>
                  <a:pt x="301" y="48"/>
                </a:cubicBezTo>
                <a:close/>
                <a:moveTo>
                  <a:pt x="197" y="116"/>
                </a:moveTo>
                <a:cubicBezTo>
                  <a:pt x="197" y="115"/>
                  <a:pt x="196" y="115"/>
                  <a:pt x="197" y="115"/>
                </a:cubicBezTo>
                <a:cubicBezTo>
                  <a:pt x="198" y="114"/>
                  <a:pt x="199" y="117"/>
                  <a:pt x="197" y="116"/>
                </a:cubicBezTo>
                <a:close/>
                <a:moveTo>
                  <a:pt x="204" y="118"/>
                </a:moveTo>
                <a:cubicBezTo>
                  <a:pt x="205" y="118"/>
                  <a:pt x="206" y="119"/>
                  <a:pt x="205" y="119"/>
                </a:cubicBezTo>
                <a:cubicBezTo>
                  <a:pt x="205" y="120"/>
                  <a:pt x="203" y="119"/>
                  <a:pt x="204" y="118"/>
                </a:cubicBezTo>
                <a:close/>
                <a:moveTo>
                  <a:pt x="201" y="107"/>
                </a:moveTo>
                <a:cubicBezTo>
                  <a:pt x="205" y="105"/>
                  <a:pt x="202" y="110"/>
                  <a:pt x="201" y="107"/>
                </a:cubicBezTo>
                <a:cubicBezTo>
                  <a:pt x="201" y="106"/>
                  <a:pt x="201" y="107"/>
                  <a:pt x="201" y="107"/>
                </a:cubicBezTo>
                <a:close/>
                <a:moveTo>
                  <a:pt x="203" y="122"/>
                </a:moveTo>
                <a:cubicBezTo>
                  <a:pt x="203" y="122"/>
                  <a:pt x="202" y="122"/>
                  <a:pt x="202" y="121"/>
                </a:cubicBezTo>
                <a:cubicBezTo>
                  <a:pt x="202" y="121"/>
                  <a:pt x="202" y="121"/>
                  <a:pt x="202" y="121"/>
                </a:cubicBezTo>
                <a:cubicBezTo>
                  <a:pt x="202" y="120"/>
                  <a:pt x="201" y="119"/>
                  <a:pt x="200" y="118"/>
                </a:cubicBezTo>
                <a:cubicBezTo>
                  <a:pt x="202" y="119"/>
                  <a:pt x="203" y="121"/>
                  <a:pt x="205" y="124"/>
                </a:cubicBezTo>
                <a:cubicBezTo>
                  <a:pt x="204" y="123"/>
                  <a:pt x="203" y="123"/>
                  <a:pt x="203" y="122"/>
                </a:cubicBezTo>
                <a:close/>
                <a:moveTo>
                  <a:pt x="205" y="124"/>
                </a:moveTo>
                <a:cubicBezTo>
                  <a:pt x="206" y="123"/>
                  <a:pt x="207" y="128"/>
                  <a:pt x="205" y="126"/>
                </a:cubicBezTo>
                <a:cubicBezTo>
                  <a:pt x="205" y="125"/>
                  <a:pt x="204" y="125"/>
                  <a:pt x="205" y="124"/>
                </a:cubicBezTo>
                <a:close/>
                <a:moveTo>
                  <a:pt x="205" y="140"/>
                </a:moveTo>
                <a:cubicBezTo>
                  <a:pt x="204" y="140"/>
                  <a:pt x="204" y="139"/>
                  <a:pt x="205" y="139"/>
                </a:cubicBezTo>
                <a:cubicBezTo>
                  <a:pt x="206" y="138"/>
                  <a:pt x="207" y="141"/>
                  <a:pt x="205" y="140"/>
                </a:cubicBezTo>
                <a:close/>
                <a:moveTo>
                  <a:pt x="77" y="199"/>
                </a:moveTo>
                <a:cubicBezTo>
                  <a:pt x="79" y="200"/>
                  <a:pt x="77" y="201"/>
                  <a:pt x="77" y="199"/>
                </a:cubicBezTo>
                <a:close/>
                <a:moveTo>
                  <a:pt x="21" y="249"/>
                </a:moveTo>
                <a:cubicBezTo>
                  <a:pt x="20" y="248"/>
                  <a:pt x="22" y="247"/>
                  <a:pt x="21" y="249"/>
                </a:cubicBezTo>
                <a:close/>
                <a:moveTo>
                  <a:pt x="24" y="252"/>
                </a:moveTo>
                <a:cubicBezTo>
                  <a:pt x="23" y="252"/>
                  <a:pt x="23" y="251"/>
                  <a:pt x="24" y="251"/>
                </a:cubicBezTo>
                <a:cubicBezTo>
                  <a:pt x="24" y="250"/>
                  <a:pt x="24" y="252"/>
                  <a:pt x="24" y="252"/>
                </a:cubicBezTo>
                <a:close/>
                <a:moveTo>
                  <a:pt x="23" y="249"/>
                </a:moveTo>
                <a:cubicBezTo>
                  <a:pt x="23" y="249"/>
                  <a:pt x="24" y="248"/>
                  <a:pt x="24" y="248"/>
                </a:cubicBezTo>
                <a:cubicBezTo>
                  <a:pt x="26" y="247"/>
                  <a:pt x="24" y="251"/>
                  <a:pt x="23" y="249"/>
                </a:cubicBezTo>
                <a:close/>
                <a:moveTo>
                  <a:pt x="26" y="245"/>
                </a:moveTo>
                <a:cubicBezTo>
                  <a:pt x="25" y="245"/>
                  <a:pt x="25" y="244"/>
                  <a:pt x="25" y="244"/>
                </a:cubicBezTo>
                <a:cubicBezTo>
                  <a:pt x="26" y="243"/>
                  <a:pt x="26" y="245"/>
                  <a:pt x="26" y="245"/>
                </a:cubicBezTo>
                <a:close/>
                <a:moveTo>
                  <a:pt x="33" y="251"/>
                </a:moveTo>
                <a:cubicBezTo>
                  <a:pt x="34" y="250"/>
                  <a:pt x="34" y="253"/>
                  <a:pt x="33" y="253"/>
                </a:cubicBezTo>
                <a:cubicBezTo>
                  <a:pt x="33" y="252"/>
                  <a:pt x="33" y="251"/>
                  <a:pt x="33" y="251"/>
                </a:cubicBezTo>
                <a:close/>
                <a:moveTo>
                  <a:pt x="28" y="258"/>
                </a:moveTo>
                <a:cubicBezTo>
                  <a:pt x="28" y="259"/>
                  <a:pt x="27" y="257"/>
                  <a:pt x="27" y="257"/>
                </a:cubicBezTo>
                <a:cubicBezTo>
                  <a:pt x="28" y="256"/>
                  <a:pt x="28" y="258"/>
                  <a:pt x="28" y="258"/>
                </a:cubicBezTo>
                <a:close/>
                <a:moveTo>
                  <a:pt x="29" y="249"/>
                </a:moveTo>
                <a:cubicBezTo>
                  <a:pt x="29" y="248"/>
                  <a:pt x="30" y="249"/>
                  <a:pt x="29" y="250"/>
                </a:cubicBezTo>
                <a:cubicBezTo>
                  <a:pt x="29" y="250"/>
                  <a:pt x="28" y="249"/>
                  <a:pt x="29" y="249"/>
                </a:cubicBezTo>
                <a:close/>
                <a:moveTo>
                  <a:pt x="29" y="275"/>
                </a:moveTo>
                <a:cubicBezTo>
                  <a:pt x="29" y="276"/>
                  <a:pt x="30" y="274"/>
                  <a:pt x="29" y="275"/>
                </a:cubicBezTo>
                <a:close/>
                <a:moveTo>
                  <a:pt x="29" y="247"/>
                </a:moveTo>
                <a:cubicBezTo>
                  <a:pt x="29" y="247"/>
                  <a:pt x="28" y="247"/>
                  <a:pt x="29" y="248"/>
                </a:cubicBezTo>
                <a:cubicBezTo>
                  <a:pt x="28" y="247"/>
                  <a:pt x="28" y="246"/>
                  <a:pt x="28" y="246"/>
                </a:cubicBezTo>
                <a:cubicBezTo>
                  <a:pt x="28" y="246"/>
                  <a:pt x="28" y="245"/>
                  <a:pt x="28" y="245"/>
                </a:cubicBezTo>
                <a:cubicBezTo>
                  <a:pt x="28" y="244"/>
                  <a:pt x="25" y="241"/>
                  <a:pt x="27" y="240"/>
                </a:cubicBezTo>
                <a:cubicBezTo>
                  <a:pt x="31" y="239"/>
                  <a:pt x="30" y="243"/>
                  <a:pt x="30" y="244"/>
                </a:cubicBezTo>
                <a:cubicBezTo>
                  <a:pt x="30" y="244"/>
                  <a:pt x="30" y="245"/>
                  <a:pt x="30" y="245"/>
                </a:cubicBezTo>
                <a:cubicBezTo>
                  <a:pt x="31" y="245"/>
                  <a:pt x="31" y="247"/>
                  <a:pt x="30" y="247"/>
                </a:cubicBezTo>
                <a:cubicBezTo>
                  <a:pt x="30" y="247"/>
                  <a:pt x="30" y="247"/>
                  <a:pt x="30" y="247"/>
                </a:cubicBezTo>
                <a:cubicBezTo>
                  <a:pt x="29" y="247"/>
                  <a:pt x="29" y="247"/>
                  <a:pt x="29" y="247"/>
                </a:cubicBezTo>
                <a:close/>
                <a:moveTo>
                  <a:pt x="30" y="259"/>
                </a:moveTo>
                <a:cubicBezTo>
                  <a:pt x="31" y="258"/>
                  <a:pt x="32" y="262"/>
                  <a:pt x="31" y="262"/>
                </a:cubicBezTo>
                <a:cubicBezTo>
                  <a:pt x="30" y="262"/>
                  <a:pt x="29" y="260"/>
                  <a:pt x="30" y="259"/>
                </a:cubicBezTo>
                <a:close/>
                <a:moveTo>
                  <a:pt x="32" y="282"/>
                </a:moveTo>
                <a:cubicBezTo>
                  <a:pt x="32" y="281"/>
                  <a:pt x="33" y="281"/>
                  <a:pt x="33" y="282"/>
                </a:cubicBezTo>
                <a:cubicBezTo>
                  <a:pt x="33" y="284"/>
                  <a:pt x="29" y="282"/>
                  <a:pt x="32" y="282"/>
                </a:cubicBezTo>
                <a:close/>
                <a:moveTo>
                  <a:pt x="33" y="261"/>
                </a:moveTo>
                <a:cubicBezTo>
                  <a:pt x="33" y="261"/>
                  <a:pt x="32" y="260"/>
                  <a:pt x="33" y="259"/>
                </a:cubicBezTo>
                <a:cubicBezTo>
                  <a:pt x="34" y="259"/>
                  <a:pt x="34" y="261"/>
                  <a:pt x="33" y="261"/>
                </a:cubicBezTo>
                <a:close/>
                <a:moveTo>
                  <a:pt x="34" y="281"/>
                </a:moveTo>
                <a:cubicBezTo>
                  <a:pt x="33" y="279"/>
                  <a:pt x="35" y="278"/>
                  <a:pt x="34" y="281"/>
                </a:cubicBezTo>
                <a:close/>
                <a:moveTo>
                  <a:pt x="35" y="279"/>
                </a:moveTo>
                <a:cubicBezTo>
                  <a:pt x="35" y="280"/>
                  <a:pt x="34" y="277"/>
                  <a:pt x="35" y="277"/>
                </a:cubicBezTo>
                <a:cubicBezTo>
                  <a:pt x="36" y="278"/>
                  <a:pt x="36" y="278"/>
                  <a:pt x="35" y="279"/>
                </a:cubicBezTo>
                <a:close/>
                <a:moveTo>
                  <a:pt x="37" y="226"/>
                </a:moveTo>
                <a:cubicBezTo>
                  <a:pt x="37" y="226"/>
                  <a:pt x="37" y="227"/>
                  <a:pt x="37" y="228"/>
                </a:cubicBezTo>
                <a:cubicBezTo>
                  <a:pt x="37" y="228"/>
                  <a:pt x="36" y="227"/>
                  <a:pt x="37" y="226"/>
                </a:cubicBezTo>
                <a:close/>
                <a:moveTo>
                  <a:pt x="38" y="238"/>
                </a:moveTo>
                <a:cubicBezTo>
                  <a:pt x="37" y="238"/>
                  <a:pt x="37" y="236"/>
                  <a:pt x="38" y="236"/>
                </a:cubicBezTo>
                <a:cubicBezTo>
                  <a:pt x="39" y="235"/>
                  <a:pt x="39" y="238"/>
                  <a:pt x="38" y="238"/>
                </a:cubicBezTo>
                <a:close/>
                <a:moveTo>
                  <a:pt x="40" y="226"/>
                </a:moveTo>
                <a:cubicBezTo>
                  <a:pt x="41" y="226"/>
                  <a:pt x="40" y="228"/>
                  <a:pt x="40" y="228"/>
                </a:cubicBezTo>
                <a:cubicBezTo>
                  <a:pt x="39" y="228"/>
                  <a:pt x="38" y="227"/>
                  <a:pt x="40" y="226"/>
                </a:cubicBezTo>
                <a:close/>
                <a:moveTo>
                  <a:pt x="40" y="265"/>
                </a:moveTo>
                <a:cubicBezTo>
                  <a:pt x="39" y="266"/>
                  <a:pt x="40" y="264"/>
                  <a:pt x="40" y="265"/>
                </a:cubicBezTo>
                <a:close/>
                <a:moveTo>
                  <a:pt x="40" y="249"/>
                </a:moveTo>
                <a:cubicBezTo>
                  <a:pt x="40" y="249"/>
                  <a:pt x="41" y="250"/>
                  <a:pt x="41" y="250"/>
                </a:cubicBezTo>
                <a:cubicBezTo>
                  <a:pt x="40" y="250"/>
                  <a:pt x="40" y="250"/>
                  <a:pt x="40" y="249"/>
                </a:cubicBezTo>
                <a:close/>
                <a:moveTo>
                  <a:pt x="41" y="284"/>
                </a:moveTo>
                <a:cubicBezTo>
                  <a:pt x="40" y="284"/>
                  <a:pt x="39" y="281"/>
                  <a:pt x="40" y="281"/>
                </a:cubicBezTo>
                <a:cubicBezTo>
                  <a:pt x="41" y="280"/>
                  <a:pt x="42" y="283"/>
                  <a:pt x="41" y="284"/>
                </a:cubicBezTo>
                <a:close/>
                <a:moveTo>
                  <a:pt x="40" y="241"/>
                </a:moveTo>
                <a:cubicBezTo>
                  <a:pt x="39" y="241"/>
                  <a:pt x="38" y="238"/>
                  <a:pt x="40" y="237"/>
                </a:cubicBezTo>
                <a:cubicBezTo>
                  <a:pt x="42" y="237"/>
                  <a:pt x="41" y="241"/>
                  <a:pt x="40" y="241"/>
                </a:cubicBezTo>
                <a:close/>
                <a:moveTo>
                  <a:pt x="57" y="241"/>
                </a:moveTo>
                <a:cubicBezTo>
                  <a:pt x="57" y="241"/>
                  <a:pt x="56" y="243"/>
                  <a:pt x="56" y="243"/>
                </a:cubicBezTo>
                <a:cubicBezTo>
                  <a:pt x="56" y="243"/>
                  <a:pt x="56" y="241"/>
                  <a:pt x="57" y="241"/>
                </a:cubicBezTo>
                <a:close/>
                <a:moveTo>
                  <a:pt x="53" y="238"/>
                </a:moveTo>
                <a:cubicBezTo>
                  <a:pt x="56" y="242"/>
                  <a:pt x="53" y="244"/>
                  <a:pt x="53" y="238"/>
                </a:cubicBezTo>
                <a:close/>
                <a:moveTo>
                  <a:pt x="47" y="255"/>
                </a:moveTo>
                <a:cubicBezTo>
                  <a:pt x="46" y="254"/>
                  <a:pt x="48" y="253"/>
                  <a:pt x="47" y="255"/>
                </a:cubicBezTo>
                <a:close/>
                <a:moveTo>
                  <a:pt x="46" y="251"/>
                </a:moveTo>
                <a:cubicBezTo>
                  <a:pt x="47" y="251"/>
                  <a:pt x="47" y="253"/>
                  <a:pt x="46" y="253"/>
                </a:cubicBezTo>
                <a:cubicBezTo>
                  <a:pt x="45" y="253"/>
                  <a:pt x="46" y="251"/>
                  <a:pt x="46" y="251"/>
                </a:cubicBezTo>
                <a:close/>
                <a:moveTo>
                  <a:pt x="42" y="252"/>
                </a:moveTo>
                <a:cubicBezTo>
                  <a:pt x="43" y="251"/>
                  <a:pt x="44" y="254"/>
                  <a:pt x="43" y="254"/>
                </a:cubicBezTo>
                <a:cubicBezTo>
                  <a:pt x="42" y="255"/>
                  <a:pt x="42" y="252"/>
                  <a:pt x="42" y="252"/>
                </a:cubicBezTo>
                <a:close/>
                <a:moveTo>
                  <a:pt x="43" y="259"/>
                </a:moveTo>
                <a:cubicBezTo>
                  <a:pt x="43" y="260"/>
                  <a:pt x="44" y="261"/>
                  <a:pt x="43" y="262"/>
                </a:cubicBezTo>
                <a:cubicBezTo>
                  <a:pt x="42" y="261"/>
                  <a:pt x="42" y="260"/>
                  <a:pt x="43" y="259"/>
                </a:cubicBezTo>
                <a:close/>
                <a:moveTo>
                  <a:pt x="43" y="292"/>
                </a:moveTo>
                <a:cubicBezTo>
                  <a:pt x="43" y="292"/>
                  <a:pt x="43" y="292"/>
                  <a:pt x="44" y="292"/>
                </a:cubicBezTo>
                <a:cubicBezTo>
                  <a:pt x="44" y="292"/>
                  <a:pt x="44" y="292"/>
                  <a:pt x="44" y="292"/>
                </a:cubicBezTo>
                <a:cubicBezTo>
                  <a:pt x="44" y="292"/>
                  <a:pt x="43" y="292"/>
                  <a:pt x="43" y="292"/>
                </a:cubicBezTo>
                <a:close/>
                <a:moveTo>
                  <a:pt x="44" y="265"/>
                </a:moveTo>
                <a:cubicBezTo>
                  <a:pt x="44" y="265"/>
                  <a:pt x="43" y="264"/>
                  <a:pt x="44" y="264"/>
                </a:cubicBezTo>
                <a:cubicBezTo>
                  <a:pt x="44" y="263"/>
                  <a:pt x="45" y="264"/>
                  <a:pt x="44" y="265"/>
                </a:cubicBezTo>
                <a:close/>
                <a:moveTo>
                  <a:pt x="47" y="274"/>
                </a:moveTo>
                <a:cubicBezTo>
                  <a:pt x="46" y="275"/>
                  <a:pt x="44" y="270"/>
                  <a:pt x="46" y="269"/>
                </a:cubicBezTo>
                <a:cubicBezTo>
                  <a:pt x="48" y="269"/>
                  <a:pt x="48" y="274"/>
                  <a:pt x="47" y="274"/>
                </a:cubicBezTo>
                <a:close/>
                <a:moveTo>
                  <a:pt x="48" y="282"/>
                </a:moveTo>
                <a:cubicBezTo>
                  <a:pt x="46" y="280"/>
                  <a:pt x="50" y="279"/>
                  <a:pt x="48" y="282"/>
                </a:cubicBezTo>
                <a:close/>
                <a:moveTo>
                  <a:pt x="51" y="287"/>
                </a:moveTo>
                <a:cubicBezTo>
                  <a:pt x="48" y="289"/>
                  <a:pt x="51" y="281"/>
                  <a:pt x="52" y="285"/>
                </a:cubicBezTo>
                <a:cubicBezTo>
                  <a:pt x="52" y="286"/>
                  <a:pt x="51" y="287"/>
                  <a:pt x="51" y="287"/>
                </a:cubicBezTo>
                <a:close/>
                <a:moveTo>
                  <a:pt x="53" y="285"/>
                </a:moveTo>
                <a:cubicBezTo>
                  <a:pt x="54" y="284"/>
                  <a:pt x="54" y="285"/>
                  <a:pt x="54" y="285"/>
                </a:cubicBezTo>
                <a:cubicBezTo>
                  <a:pt x="53" y="286"/>
                  <a:pt x="54" y="285"/>
                  <a:pt x="53" y="285"/>
                </a:cubicBezTo>
                <a:close/>
                <a:moveTo>
                  <a:pt x="55" y="281"/>
                </a:moveTo>
                <a:cubicBezTo>
                  <a:pt x="54" y="282"/>
                  <a:pt x="56" y="280"/>
                  <a:pt x="55" y="281"/>
                </a:cubicBezTo>
                <a:close/>
                <a:moveTo>
                  <a:pt x="57" y="266"/>
                </a:moveTo>
                <a:cubicBezTo>
                  <a:pt x="56" y="266"/>
                  <a:pt x="54" y="265"/>
                  <a:pt x="54" y="265"/>
                </a:cubicBezTo>
                <a:cubicBezTo>
                  <a:pt x="50" y="263"/>
                  <a:pt x="46" y="255"/>
                  <a:pt x="50" y="252"/>
                </a:cubicBezTo>
                <a:cubicBezTo>
                  <a:pt x="52" y="251"/>
                  <a:pt x="56" y="253"/>
                  <a:pt x="56" y="254"/>
                </a:cubicBezTo>
                <a:cubicBezTo>
                  <a:pt x="56" y="255"/>
                  <a:pt x="56" y="256"/>
                  <a:pt x="56" y="257"/>
                </a:cubicBezTo>
                <a:cubicBezTo>
                  <a:pt x="56" y="258"/>
                  <a:pt x="57" y="258"/>
                  <a:pt x="57" y="258"/>
                </a:cubicBezTo>
                <a:cubicBezTo>
                  <a:pt x="58" y="260"/>
                  <a:pt x="57" y="262"/>
                  <a:pt x="57" y="264"/>
                </a:cubicBezTo>
                <a:cubicBezTo>
                  <a:pt x="57" y="265"/>
                  <a:pt x="57" y="265"/>
                  <a:pt x="57" y="266"/>
                </a:cubicBezTo>
                <a:close/>
                <a:moveTo>
                  <a:pt x="58" y="333"/>
                </a:moveTo>
                <a:cubicBezTo>
                  <a:pt x="58" y="333"/>
                  <a:pt x="57" y="333"/>
                  <a:pt x="57" y="332"/>
                </a:cubicBezTo>
                <a:cubicBezTo>
                  <a:pt x="57" y="331"/>
                  <a:pt x="58" y="332"/>
                  <a:pt x="58" y="333"/>
                </a:cubicBezTo>
                <a:close/>
                <a:moveTo>
                  <a:pt x="64" y="334"/>
                </a:moveTo>
                <a:cubicBezTo>
                  <a:pt x="63" y="334"/>
                  <a:pt x="63" y="333"/>
                  <a:pt x="64" y="332"/>
                </a:cubicBezTo>
                <a:cubicBezTo>
                  <a:pt x="64" y="332"/>
                  <a:pt x="65" y="334"/>
                  <a:pt x="64" y="334"/>
                </a:cubicBezTo>
                <a:close/>
                <a:moveTo>
                  <a:pt x="70" y="242"/>
                </a:moveTo>
                <a:cubicBezTo>
                  <a:pt x="71" y="242"/>
                  <a:pt x="72" y="242"/>
                  <a:pt x="72" y="243"/>
                </a:cubicBezTo>
                <a:cubicBezTo>
                  <a:pt x="72" y="245"/>
                  <a:pt x="68" y="243"/>
                  <a:pt x="70" y="242"/>
                </a:cubicBezTo>
                <a:close/>
                <a:moveTo>
                  <a:pt x="71" y="259"/>
                </a:moveTo>
                <a:cubicBezTo>
                  <a:pt x="70" y="259"/>
                  <a:pt x="70" y="258"/>
                  <a:pt x="70" y="258"/>
                </a:cubicBezTo>
                <a:cubicBezTo>
                  <a:pt x="71" y="257"/>
                  <a:pt x="71" y="259"/>
                  <a:pt x="71" y="259"/>
                </a:cubicBezTo>
                <a:close/>
                <a:moveTo>
                  <a:pt x="68" y="253"/>
                </a:moveTo>
                <a:cubicBezTo>
                  <a:pt x="69" y="252"/>
                  <a:pt x="69" y="254"/>
                  <a:pt x="68" y="254"/>
                </a:cubicBezTo>
                <a:cubicBezTo>
                  <a:pt x="68" y="254"/>
                  <a:pt x="67" y="253"/>
                  <a:pt x="68" y="253"/>
                </a:cubicBezTo>
                <a:close/>
                <a:moveTo>
                  <a:pt x="68" y="246"/>
                </a:moveTo>
                <a:cubicBezTo>
                  <a:pt x="68" y="246"/>
                  <a:pt x="69" y="247"/>
                  <a:pt x="68" y="247"/>
                </a:cubicBezTo>
                <a:cubicBezTo>
                  <a:pt x="68" y="247"/>
                  <a:pt x="67" y="247"/>
                  <a:pt x="68" y="246"/>
                </a:cubicBezTo>
                <a:close/>
                <a:moveTo>
                  <a:pt x="69" y="248"/>
                </a:moveTo>
                <a:cubicBezTo>
                  <a:pt x="68" y="246"/>
                  <a:pt x="69" y="250"/>
                  <a:pt x="69" y="248"/>
                </a:cubicBezTo>
                <a:close/>
                <a:moveTo>
                  <a:pt x="67" y="243"/>
                </a:moveTo>
                <a:cubicBezTo>
                  <a:pt x="68" y="244"/>
                  <a:pt x="68" y="245"/>
                  <a:pt x="69" y="246"/>
                </a:cubicBezTo>
                <a:cubicBezTo>
                  <a:pt x="68" y="246"/>
                  <a:pt x="67" y="244"/>
                  <a:pt x="67" y="243"/>
                </a:cubicBezTo>
                <a:close/>
                <a:moveTo>
                  <a:pt x="67" y="277"/>
                </a:moveTo>
                <a:cubicBezTo>
                  <a:pt x="69" y="275"/>
                  <a:pt x="70" y="280"/>
                  <a:pt x="70" y="282"/>
                </a:cubicBezTo>
                <a:cubicBezTo>
                  <a:pt x="68" y="281"/>
                  <a:pt x="66" y="279"/>
                  <a:pt x="67" y="277"/>
                </a:cubicBezTo>
                <a:close/>
                <a:moveTo>
                  <a:pt x="66" y="267"/>
                </a:moveTo>
                <a:cubicBezTo>
                  <a:pt x="65" y="267"/>
                  <a:pt x="65" y="266"/>
                  <a:pt x="66" y="266"/>
                </a:cubicBezTo>
                <a:cubicBezTo>
                  <a:pt x="67" y="265"/>
                  <a:pt x="66" y="267"/>
                  <a:pt x="66" y="267"/>
                </a:cubicBezTo>
                <a:close/>
                <a:moveTo>
                  <a:pt x="64" y="237"/>
                </a:moveTo>
                <a:cubicBezTo>
                  <a:pt x="65" y="236"/>
                  <a:pt x="66" y="239"/>
                  <a:pt x="65" y="239"/>
                </a:cubicBezTo>
                <a:cubicBezTo>
                  <a:pt x="64" y="239"/>
                  <a:pt x="64" y="238"/>
                  <a:pt x="64" y="237"/>
                </a:cubicBezTo>
                <a:close/>
                <a:moveTo>
                  <a:pt x="64" y="255"/>
                </a:moveTo>
                <a:cubicBezTo>
                  <a:pt x="64" y="255"/>
                  <a:pt x="65" y="256"/>
                  <a:pt x="64" y="257"/>
                </a:cubicBezTo>
                <a:cubicBezTo>
                  <a:pt x="64" y="256"/>
                  <a:pt x="64" y="256"/>
                  <a:pt x="64" y="255"/>
                </a:cubicBezTo>
                <a:close/>
                <a:moveTo>
                  <a:pt x="64" y="265"/>
                </a:moveTo>
                <a:cubicBezTo>
                  <a:pt x="64" y="265"/>
                  <a:pt x="64" y="265"/>
                  <a:pt x="64" y="265"/>
                </a:cubicBezTo>
                <a:cubicBezTo>
                  <a:pt x="65" y="264"/>
                  <a:pt x="62" y="267"/>
                  <a:pt x="64" y="265"/>
                </a:cubicBezTo>
                <a:close/>
                <a:moveTo>
                  <a:pt x="63" y="259"/>
                </a:moveTo>
                <a:cubicBezTo>
                  <a:pt x="64" y="258"/>
                  <a:pt x="64" y="259"/>
                  <a:pt x="64" y="259"/>
                </a:cubicBezTo>
                <a:cubicBezTo>
                  <a:pt x="64" y="260"/>
                  <a:pt x="63" y="259"/>
                  <a:pt x="63" y="259"/>
                </a:cubicBezTo>
                <a:close/>
                <a:moveTo>
                  <a:pt x="59" y="265"/>
                </a:moveTo>
                <a:cubicBezTo>
                  <a:pt x="60" y="265"/>
                  <a:pt x="61" y="268"/>
                  <a:pt x="60" y="269"/>
                </a:cubicBezTo>
                <a:cubicBezTo>
                  <a:pt x="59" y="269"/>
                  <a:pt x="58" y="266"/>
                  <a:pt x="59" y="265"/>
                </a:cubicBezTo>
                <a:close/>
                <a:moveTo>
                  <a:pt x="67" y="342"/>
                </a:moveTo>
                <a:cubicBezTo>
                  <a:pt x="66" y="343"/>
                  <a:pt x="65" y="341"/>
                  <a:pt x="66" y="341"/>
                </a:cubicBezTo>
                <a:cubicBezTo>
                  <a:pt x="67" y="341"/>
                  <a:pt x="67" y="342"/>
                  <a:pt x="67" y="342"/>
                </a:cubicBezTo>
                <a:close/>
                <a:moveTo>
                  <a:pt x="70" y="301"/>
                </a:moveTo>
                <a:cubicBezTo>
                  <a:pt x="70" y="301"/>
                  <a:pt x="69" y="301"/>
                  <a:pt x="69" y="301"/>
                </a:cubicBezTo>
                <a:cubicBezTo>
                  <a:pt x="68" y="302"/>
                  <a:pt x="66" y="299"/>
                  <a:pt x="65" y="297"/>
                </a:cubicBezTo>
                <a:cubicBezTo>
                  <a:pt x="65" y="298"/>
                  <a:pt x="65" y="300"/>
                  <a:pt x="65" y="301"/>
                </a:cubicBezTo>
                <a:cubicBezTo>
                  <a:pt x="65" y="306"/>
                  <a:pt x="63" y="297"/>
                  <a:pt x="63" y="297"/>
                </a:cubicBezTo>
                <a:cubicBezTo>
                  <a:pt x="62" y="291"/>
                  <a:pt x="61" y="287"/>
                  <a:pt x="60" y="282"/>
                </a:cubicBezTo>
                <a:cubicBezTo>
                  <a:pt x="60" y="281"/>
                  <a:pt x="59" y="274"/>
                  <a:pt x="60" y="273"/>
                </a:cubicBezTo>
                <a:cubicBezTo>
                  <a:pt x="61" y="272"/>
                  <a:pt x="62" y="281"/>
                  <a:pt x="63" y="284"/>
                </a:cubicBezTo>
                <a:cubicBezTo>
                  <a:pt x="63" y="288"/>
                  <a:pt x="63" y="291"/>
                  <a:pt x="64" y="293"/>
                </a:cubicBezTo>
                <a:cubicBezTo>
                  <a:pt x="64" y="291"/>
                  <a:pt x="65" y="289"/>
                  <a:pt x="68" y="289"/>
                </a:cubicBezTo>
                <a:cubicBezTo>
                  <a:pt x="73" y="289"/>
                  <a:pt x="72" y="297"/>
                  <a:pt x="70" y="301"/>
                </a:cubicBezTo>
                <a:close/>
                <a:moveTo>
                  <a:pt x="72" y="283"/>
                </a:moveTo>
                <a:cubicBezTo>
                  <a:pt x="72" y="283"/>
                  <a:pt x="72" y="283"/>
                  <a:pt x="72" y="283"/>
                </a:cubicBezTo>
                <a:cubicBezTo>
                  <a:pt x="74" y="282"/>
                  <a:pt x="70" y="285"/>
                  <a:pt x="72" y="283"/>
                </a:cubicBezTo>
                <a:close/>
                <a:moveTo>
                  <a:pt x="25" y="317"/>
                </a:moveTo>
                <a:cubicBezTo>
                  <a:pt x="27" y="317"/>
                  <a:pt x="26" y="320"/>
                  <a:pt x="25" y="320"/>
                </a:cubicBezTo>
                <a:cubicBezTo>
                  <a:pt x="24" y="321"/>
                  <a:pt x="23" y="317"/>
                  <a:pt x="25" y="317"/>
                </a:cubicBezTo>
                <a:close/>
                <a:moveTo>
                  <a:pt x="24" y="294"/>
                </a:moveTo>
                <a:cubicBezTo>
                  <a:pt x="26" y="293"/>
                  <a:pt x="25" y="296"/>
                  <a:pt x="24" y="296"/>
                </a:cubicBezTo>
                <a:cubicBezTo>
                  <a:pt x="23" y="296"/>
                  <a:pt x="23" y="295"/>
                  <a:pt x="24" y="294"/>
                </a:cubicBezTo>
                <a:close/>
                <a:moveTo>
                  <a:pt x="8" y="242"/>
                </a:moveTo>
                <a:cubicBezTo>
                  <a:pt x="9" y="241"/>
                  <a:pt x="9" y="244"/>
                  <a:pt x="8" y="243"/>
                </a:cubicBezTo>
                <a:cubicBezTo>
                  <a:pt x="8" y="243"/>
                  <a:pt x="8" y="242"/>
                  <a:pt x="8" y="242"/>
                </a:cubicBezTo>
                <a:close/>
                <a:moveTo>
                  <a:pt x="2" y="238"/>
                </a:moveTo>
                <a:cubicBezTo>
                  <a:pt x="2" y="237"/>
                  <a:pt x="0" y="239"/>
                  <a:pt x="2" y="238"/>
                </a:cubicBezTo>
                <a:close/>
                <a:moveTo>
                  <a:pt x="2" y="242"/>
                </a:moveTo>
                <a:cubicBezTo>
                  <a:pt x="2" y="242"/>
                  <a:pt x="2" y="241"/>
                  <a:pt x="2" y="241"/>
                </a:cubicBezTo>
                <a:cubicBezTo>
                  <a:pt x="3" y="240"/>
                  <a:pt x="3" y="242"/>
                  <a:pt x="2" y="242"/>
                </a:cubicBezTo>
                <a:close/>
                <a:moveTo>
                  <a:pt x="3" y="351"/>
                </a:moveTo>
                <a:cubicBezTo>
                  <a:pt x="2" y="353"/>
                  <a:pt x="4" y="350"/>
                  <a:pt x="3" y="351"/>
                </a:cubicBezTo>
                <a:close/>
                <a:moveTo>
                  <a:pt x="3" y="442"/>
                </a:moveTo>
                <a:cubicBezTo>
                  <a:pt x="3" y="442"/>
                  <a:pt x="3" y="442"/>
                  <a:pt x="3" y="442"/>
                </a:cubicBezTo>
                <a:cubicBezTo>
                  <a:pt x="4" y="441"/>
                  <a:pt x="1" y="445"/>
                  <a:pt x="3" y="442"/>
                </a:cubicBezTo>
                <a:close/>
                <a:moveTo>
                  <a:pt x="11" y="295"/>
                </a:moveTo>
                <a:cubicBezTo>
                  <a:pt x="13" y="295"/>
                  <a:pt x="12" y="300"/>
                  <a:pt x="11" y="299"/>
                </a:cubicBezTo>
                <a:cubicBezTo>
                  <a:pt x="9" y="299"/>
                  <a:pt x="10" y="295"/>
                  <a:pt x="11" y="295"/>
                </a:cubicBezTo>
                <a:close/>
                <a:moveTo>
                  <a:pt x="9" y="283"/>
                </a:moveTo>
                <a:cubicBezTo>
                  <a:pt x="12" y="283"/>
                  <a:pt x="10" y="288"/>
                  <a:pt x="8" y="288"/>
                </a:cubicBezTo>
                <a:cubicBezTo>
                  <a:pt x="6" y="288"/>
                  <a:pt x="7" y="283"/>
                  <a:pt x="9" y="283"/>
                </a:cubicBezTo>
                <a:close/>
                <a:moveTo>
                  <a:pt x="5" y="239"/>
                </a:moveTo>
                <a:cubicBezTo>
                  <a:pt x="6" y="239"/>
                  <a:pt x="6" y="243"/>
                  <a:pt x="5" y="243"/>
                </a:cubicBezTo>
                <a:cubicBezTo>
                  <a:pt x="4" y="243"/>
                  <a:pt x="3" y="239"/>
                  <a:pt x="5" y="239"/>
                </a:cubicBezTo>
                <a:close/>
                <a:moveTo>
                  <a:pt x="5" y="282"/>
                </a:moveTo>
                <a:cubicBezTo>
                  <a:pt x="4" y="281"/>
                  <a:pt x="7" y="281"/>
                  <a:pt x="5" y="282"/>
                </a:cubicBezTo>
                <a:close/>
                <a:moveTo>
                  <a:pt x="6" y="383"/>
                </a:moveTo>
                <a:cubicBezTo>
                  <a:pt x="5" y="382"/>
                  <a:pt x="7" y="381"/>
                  <a:pt x="6" y="383"/>
                </a:cubicBezTo>
                <a:close/>
                <a:moveTo>
                  <a:pt x="7" y="413"/>
                </a:moveTo>
                <a:cubicBezTo>
                  <a:pt x="7" y="414"/>
                  <a:pt x="7" y="414"/>
                  <a:pt x="7" y="413"/>
                </a:cubicBezTo>
                <a:close/>
                <a:moveTo>
                  <a:pt x="7" y="412"/>
                </a:moveTo>
                <a:cubicBezTo>
                  <a:pt x="6" y="411"/>
                  <a:pt x="8" y="410"/>
                  <a:pt x="7" y="412"/>
                </a:cubicBezTo>
                <a:close/>
                <a:moveTo>
                  <a:pt x="11" y="364"/>
                </a:moveTo>
                <a:cubicBezTo>
                  <a:pt x="9" y="362"/>
                  <a:pt x="12" y="361"/>
                  <a:pt x="11" y="364"/>
                </a:cubicBezTo>
                <a:close/>
                <a:moveTo>
                  <a:pt x="11" y="360"/>
                </a:moveTo>
                <a:cubicBezTo>
                  <a:pt x="10" y="360"/>
                  <a:pt x="11" y="359"/>
                  <a:pt x="11" y="358"/>
                </a:cubicBezTo>
                <a:cubicBezTo>
                  <a:pt x="12" y="359"/>
                  <a:pt x="11" y="360"/>
                  <a:pt x="11" y="360"/>
                </a:cubicBezTo>
                <a:close/>
                <a:moveTo>
                  <a:pt x="12" y="342"/>
                </a:moveTo>
                <a:cubicBezTo>
                  <a:pt x="11" y="344"/>
                  <a:pt x="9" y="343"/>
                  <a:pt x="7" y="345"/>
                </a:cubicBezTo>
                <a:cubicBezTo>
                  <a:pt x="4" y="343"/>
                  <a:pt x="3" y="336"/>
                  <a:pt x="6" y="332"/>
                </a:cubicBezTo>
                <a:cubicBezTo>
                  <a:pt x="10" y="324"/>
                  <a:pt x="16" y="336"/>
                  <a:pt x="12" y="342"/>
                </a:cubicBezTo>
                <a:close/>
                <a:moveTo>
                  <a:pt x="13" y="293"/>
                </a:moveTo>
                <a:cubicBezTo>
                  <a:pt x="12" y="293"/>
                  <a:pt x="12" y="291"/>
                  <a:pt x="13" y="291"/>
                </a:cubicBezTo>
                <a:cubicBezTo>
                  <a:pt x="14" y="292"/>
                  <a:pt x="14" y="294"/>
                  <a:pt x="13" y="293"/>
                </a:cubicBezTo>
                <a:close/>
                <a:moveTo>
                  <a:pt x="20" y="292"/>
                </a:moveTo>
                <a:cubicBezTo>
                  <a:pt x="19" y="292"/>
                  <a:pt x="18" y="288"/>
                  <a:pt x="20" y="288"/>
                </a:cubicBezTo>
                <a:cubicBezTo>
                  <a:pt x="22" y="288"/>
                  <a:pt x="21" y="292"/>
                  <a:pt x="20" y="292"/>
                </a:cubicBezTo>
                <a:close/>
                <a:moveTo>
                  <a:pt x="21" y="325"/>
                </a:moveTo>
                <a:cubicBezTo>
                  <a:pt x="21" y="325"/>
                  <a:pt x="20" y="324"/>
                  <a:pt x="21" y="324"/>
                </a:cubicBezTo>
                <a:cubicBezTo>
                  <a:pt x="22" y="324"/>
                  <a:pt x="22" y="325"/>
                  <a:pt x="21" y="325"/>
                </a:cubicBezTo>
                <a:close/>
                <a:moveTo>
                  <a:pt x="22" y="295"/>
                </a:moveTo>
                <a:cubicBezTo>
                  <a:pt x="21" y="296"/>
                  <a:pt x="21" y="293"/>
                  <a:pt x="21" y="293"/>
                </a:cubicBezTo>
                <a:cubicBezTo>
                  <a:pt x="22" y="292"/>
                  <a:pt x="23" y="295"/>
                  <a:pt x="22" y="295"/>
                </a:cubicBezTo>
                <a:close/>
                <a:moveTo>
                  <a:pt x="26" y="373"/>
                </a:moveTo>
                <a:cubicBezTo>
                  <a:pt x="25" y="372"/>
                  <a:pt x="28" y="371"/>
                  <a:pt x="26" y="373"/>
                </a:cubicBezTo>
                <a:close/>
                <a:moveTo>
                  <a:pt x="27" y="459"/>
                </a:moveTo>
                <a:cubicBezTo>
                  <a:pt x="26" y="458"/>
                  <a:pt x="28" y="457"/>
                  <a:pt x="27" y="459"/>
                </a:cubicBezTo>
                <a:close/>
                <a:moveTo>
                  <a:pt x="31" y="330"/>
                </a:moveTo>
                <a:cubicBezTo>
                  <a:pt x="32" y="329"/>
                  <a:pt x="32" y="332"/>
                  <a:pt x="31" y="332"/>
                </a:cubicBezTo>
                <a:cubicBezTo>
                  <a:pt x="31" y="332"/>
                  <a:pt x="31" y="330"/>
                  <a:pt x="31" y="330"/>
                </a:cubicBezTo>
                <a:close/>
                <a:moveTo>
                  <a:pt x="31" y="465"/>
                </a:moveTo>
                <a:cubicBezTo>
                  <a:pt x="30" y="463"/>
                  <a:pt x="30" y="461"/>
                  <a:pt x="31" y="458"/>
                </a:cubicBezTo>
                <a:cubicBezTo>
                  <a:pt x="32" y="460"/>
                  <a:pt x="31" y="463"/>
                  <a:pt x="31" y="465"/>
                </a:cubicBezTo>
                <a:close/>
                <a:moveTo>
                  <a:pt x="33" y="366"/>
                </a:moveTo>
                <a:cubicBezTo>
                  <a:pt x="32" y="360"/>
                  <a:pt x="31" y="354"/>
                  <a:pt x="31" y="348"/>
                </a:cubicBezTo>
                <a:cubicBezTo>
                  <a:pt x="33" y="353"/>
                  <a:pt x="33" y="362"/>
                  <a:pt x="35" y="369"/>
                </a:cubicBezTo>
                <a:cubicBezTo>
                  <a:pt x="36" y="374"/>
                  <a:pt x="33" y="367"/>
                  <a:pt x="33" y="366"/>
                </a:cubicBezTo>
                <a:close/>
                <a:moveTo>
                  <a:pt x="35" y="330"/>
                </a:moveTo>
                <a:cubicBezTo>
                  <a:pt x="36" y="331"/>
                  <a:pt x="35" y="331"/>
                  <a:pt x="35" y="330"/>
                </a:cubicBezTo>
                <a:close/>
                <a:moveTo>
                  <a:pt x="46" y="336"/>
                </a:moveTo>
                <a:cubicBezTo>
                  <a:pt x="46" y="336"/>
                  <a:pt x="46" y="337"/>
                  <a:pt x="46" y="337"/>
                </a:cubicBezTo>
                <a:cubicBezTo>
                  <a:pt x="46" y="338"/>
                  <a:pt x="45" y="337"/>
                  <a:pt x="46" y="336"/>
                </a:cubicBezTo>
                <a:close/>
                <a:moveTo>
                  <a:pt x="39" y="421"/>
                </a:moveTo>
                <a:cubicBezTo>
                  <a:pt x="38" y="420"/>
                  <a:pt x="40" y="419"/>
                  <a:pt x="39" y="421"/>
                </a:cubicBezTo>
                <a:close/>
                <a:moveTo>
                  <a:pt x="40" y="416"/>
                </a:moveTo>
                <a:cubicBezTo>
                  <a:pt x="38" y="417"/>
                  <a:pt x="39" y="414"/>
                  <a:pt x="39" y="414"/>
                </a:cubicBezTo>
                <a:cubicBezTo>
                  <a:pt x="40" y="414"/>
                  <a:pt x="39" y="415"/>
                  <a:pt x="40" y="416"/>
                </a:cubicBezTo>
                <a:close/>
                <a:moveTo>
                  <a:pt x="43" y="333"/>
                </a:moveTo>
                <a:cubicBezTo>
                  <a:pt x="43" y="333"/>
                  <a:pt x="42" y="334"/>
                  <a:pt x="42" y="334"/>
                </a:cubicBezTo>
                <a:cubicBezTo>
                  <a:pt x="41" y="335"/>
                  <a:pt x="42" y="332"/>
                  <a:pt x="43" y="333"/>
                </a:cubicBezTo>
                <a:close/>
                <a:moveTo>
                  <a:pt x="43" y="405"/>
                </a:moveTo>
                <a:cubicBezTo>
                  <a:pt x="43" y="407"/>
                  <a:pt x="44" y="410"/>
                  <a:pt x="43" y="411"/>
                </a:cubicBezTo>
                <a:cubicBezTo>
                  <a:pt x="42" y="411"/>
                  <a:pt x="42" y="407"/>
                  <a:pt x="43" y="405"/>
                </a:cubicBezTo>
                <a:close/>
                <a:moveTo>
                  <a:pt x="43" y="446"/>
                </a:moveTo>
                <a:cubicBezTo>
                  <a:pt x="43" y="447"/>
                  <a:pt x="42" y="448"/>
                  <a:pt x="43" y="446"/>
                </a:cubicBezTo>
                <a:close/>
                <a:moveTo>
                  <a:pt x="43" y="449"/>
                </a:moveTo>
                <a:cubicBezTo>
                  <a:pt x="43" y="449"/>
                  <a:pt x="44" y="450"/>
                  <a:pt x="44" y="450"/>
                </a:cubicBezTo>
                <a:cubicBezTo>
                  <a:pt x="43" y="451"/>
                  <a:pt x="42" y="450"/>
                  <a:pt x="43" y="449"/>
                </a:cubicBezTo>
                <a:close/>
                <a:moveTo>
                  <a:pt x="43" y="404"/>
                </a:moveTo>
                <a:cubicBezTo>
                  <a:pt x="42" y="404"/>
                  <a:pt x="43" y="394"/>
                  <a:pt x="43" y="395"/>
                </a:cubicBezTo>
                <a:cubicBezTo>
                  <a:pt x="44" y="397"/>
                  <a:pt x="45" y="401"/>
                  <a:pt x="43" y="404"/>
                </a:cubicBezTo>
                <a:close/>
                <a:moveTo>
                  <a:pt x="44" y="379"/>
                </a:moveTo>
                <a:cubicBezTo>
                  <a:pt x="44" y="379"/>
                  <a:pt x="44" y="379"/>
                  <a:pt x="44" y="379"/>
                </a:cubicBezTo>
                <a:cubicBezTo>
                  <a:pt x="44" y="379"/>
                  <a:pt x="44" y="379"/>
                  <a:pt x="44" y="379"/>
                </a:cubicBezTo>
                <a:cubicBezTo>
                  <a:pt x="44" y="379"/>
                  <a:pt x="44" y="379"/>
                  <a:pt x="44" y="379"/>
                </a:cubicBezTo>
                <a:close/>
                <a:moveTo>
                  <a:pt x="46" y="410"/>
                </a:moveTo>
                <a:cubicBezTo>
                  <a:pt x="44" y="409"/>
                  <a:pt x="44" y="404"/>
                  <a:pt x="47" y="405"/>
                </a:cubicBezTo>
                <a:cubicBezTo>
                  <a:pt x="49" y="406"/>
                  <a:pt x="48" y="410"/>
                  <a:pt x="46" y="410"/>
                </a:cubicBezTo>
                <a:close/>
                <a:moveTo>
                  <a:pt x="48" y="365"/>
                </a:moveTo>
                <a:cubicBezTo>
                  <a:pt x="45" y="365"/>
                  <a:pt x="45" y="360"/>
                  <a:pt x="47" y="360"/>
                </a:cubicBezTo>
                <a:cubicBezTo>
                  <a:pt x="50" y="360"/>
                  <a:pt x="49" y="365"/>
                  <a:pt x="48" y="365"/>
                </a:cubicBezTo>
                <a:close/>
                <a:moveTo>
                  <a:pt x="52" y="444"/>
                </a:moveTo>
                <a:cubicBezTo>
                  <a:pt x="51" y="444"/>
                  <a:pt x="50" y="442"/>
                  <a:pt x="51" y="441"/>
                </a:cubicBezTo>
                <a:cubicBezTo>
                  <a:pt x="52" y="440"/>
                  <a:pt x="52" y="444"/>
                  <a:pt x="52" y="444"/>
                </a:cubicBezTo>
                <a:close/>
                <a:moveTo>
                  <a:pt x="55" y="387"/>
                </a:moveTo>
                <a:cubicBezTo>
                  <a:pt x="56" y="388"/>
                  <a:pt x="55" y="389"/>
                  <a:pt x="55" y="390"/>
                </a:cubicBezTo>
                <a:cubicBezTo>
                  <a:pt x="55" y="389"/>
                  <a:pt x="54" y="388"/>
                  <a:pt x="55" y="387"/>
                </a:cubicBezTo>
                <a:close/>
                <a:moveTo>
                  <a:pt x="54" y="397"/>
                </a:moveTo>
                <a:cubicBezTo>
                  <a:pt x="55" y="396"/>
                  <a:pt x="55" y="399"/>
                  <a:pt x="54" y="399"/>
                </a:cubicBezTo>
                <a:cubicBezTo>
                  <a:pt x="54" y="400"/>
                  <a:pt x="52" y="397"/>
                  <a:pt x="54" y="397"/>
                </a:cubicBezTo>
                <a:close/>
                <a:moveTo>
                  <a:pt x="55" y="464"/>
                </a:moveTo>
                <a:cubicBezTo>
                  <a:pt x="54" y="459"/>
                  <a:pt x="54" y="453"/>
                  <a:pt x="54" y="448"/>
                </a:cubicBezTo>
                <a:cubicBezTo>
                  <a:pt x="56" y="453"/>
                  <a:pt x="56" y="459"/>
                  <a:pt x="55" y="464"/>
                </a:cubicBezTo>
                <a:close/>
                <a:moveTo>
                  <a:pt x="57" y="480"/>
                </a:moveTo>
                <a:cubicBezTo>
                  <a:pt x="56" y="476"/>
                  <a:pt x="56" y="471"/>
                  <a:pt x="56" y="467"/>
                </a:cubicBezTo>
                <a:cubicBezTo>
                  <a:pt x="56" y="471"/>
                  <a:pt x="58" y="475"/>
                  <a:pt x="57" y="480"/>
                </a:cubicBezTo>
                <a:close/>
                <a:moveTo>
                  <a:pt x="64" y="450"/>
                </a:moveTo>
                <a:cubicBezTo>
                  <a:pt x="63" y="451"/>
                  <a:pt x="64" y="449"/>
                  <a:pt x="64" y="450"/>
                </a:cubicBezTo>
                <a:close/>
                <a:moveTo>
                  <a:pt x="71" y="454"/>
                </a:moveTo>
                <a:cubicBezTo>
                  <a:pt x="72" y="455"/>
                  <a:pt x="70" y="456"/>
                  <a:pt x="71" y="454"/>
                </a:cubicBezTo>
                <a:close/>
                <a:moveTo>
                  <a:pt x="75" y="408"/>
                </a:moveTo>
                <a:cubicBezTo>
                  <a:pt x="75" y="408"/>
                  <a:pt x="75" y="408"/>
                  <a:pt x="75" y="408"/>
                </a:cubicBezTo>
                <a:cubicBezTo>
                  <a:pt x="75" y="408"/>
                  <a:pt x="75" y="408"/>
                  <a:pt x="75" y="408"/>
                </a:cubicBezTo>
                <a:cubicBezTo>
                  <a:pt x="75" y="408"/>
                  <a:pt x="75" y="408"/>
                  <a:pt x="75" y="408"/>
                </a:cubicBezTo>
                <a:close/>
                <a:moveTo>
                  <a:pt x="80" y="382"/>
                </a:moveTo>
                <a:cubicBezTo>
                  <a:pt x="80" y="382"/>
                  <a:pt x="80" y="382"/>
                  <a:pt x="80" y="382"/>
                </a:cubicBezTo>
                <a:cubicBezTo>
                  <a:pt x="80" y="382"/>
                  <a:pt x="80" y="382"/>
                  <a:pt x="80" y="382"/>
                </a:cubicBezTo>
                <a:cubicBezTo>
                  <a:pt x="80" y="382"/>
                  <a:pt x="80" y="382"/>
                  <a:pt x="80" y="382"/>
                </a:cubicBezTo>
                <a:close/>
                <a:moveTo>
                  <a:pt x="78" y="214"/>
                </a:moveTo>
                <a:cubicBezTo>
                  <a:pt x="78" y="214"/>
                  <a:pt x="78" y="212"/>
                  <a:pt x="78" y="212"/>
                </a:cubicBezTo>
                <a:cubicBezTo>
                  <a:pt x="78" y="211"/>
                  <a:pt x="79" y="213"/>
                  <a:pt x="78" y="214"/>
                </a:cubicBezTo>
                <a:close/>
                <a:moveTo>
                  <a:pt x="78" y="214"/>
                </a:moveTo>
                <a:cubicBezTo>
                  <a:pt x="79" y="214"/>
                  <a:pt x="78" y="216"/>
                  <a:pt x="78" y="216"/>
                </a:cubicBezTo>
                <a:cubicBezTo>
                  <a:pt x="78" y="216"/>
                  <a:pt x="77" y="215"/>
                  <a:pt x="78" y="214"/>
                </a:cubicBezTo>
                <a:close/>
                <a:moveTo>
                  <a:pt x="76" y="204"/>
                </a:moveTo>
                <a:cubicBezTo>
                  <a:pt x="77" y="205"/>
                  <a:pt x="77" y="206"/>
                  <a:pt x="77" y="208"/>
                </a:cubicBezTo>
                <a:cubicBezTo>
                  <a:pt x="77" y="207"/>
                  <a:pt x="75" y="206"/>
                  <a:pt x="76" y="204"/>
                </a:cubicBezTo>
                <a:close/>
                <a:moveTo>
                  <a:pt x="76" y="221"/>
                </a:moveTo>
                <a:cubicBezTo>
                  <a:pt x="76" y="221"/>
                  <a:pt x="76" y="221"/>
                  <a:pt x="76" y="221"/>
                </a:cubicBezTo>
                <a:cubicBezTo>
                  <a:pt x="76" y="222"/>
                  <a:pt x="75" y="221"/>
                  <a:pt x="76" y="221"/>
                </a:cubicBezTo>
                <a:close/>
                <a:moveTo>
                  <a:pt x="77" y="253"/>
                </a:moveTo>
                <a:cubicBezTo>
                  <a:pt x="77" y="254"/>
                  <a:pt x="75" y="251"/>
                  <a:pt x="76" y="251"/>
                </a:cubicBezTo>
                <a:cubicBezTo>
                  <a:pt x="77" y="251"/>
                  <a:pt x="78" y="253"/>
                  <a:pt x="77" y="253"/>
                </a:cubicBezTo>
                <a:close/>
                <a:moveTo>
                  <a:pt x="76" y="260"/>
                </a:moveTo>
                <a:cubicBezTo>
                  <a:pt x="79" y="259"/>
                  <a:pt x="79" y="264"/>
                  <a:pt x="77" y="265"/>
                </a:cubicBezTo>
                <a:cubicBezTo>
                  <a:pt x="75" y="266"/>
                  <a:pt x="74" y="261"/>
                  <a:pt x="76" y="260"/>
                </a:cubicBezTo>
                <a:close/>
                <a:moveTo>
                  <a:pt x="78" y="258"/>
                </a:moveTo>
                <a:cubicBezTo>
                  <a:pt x="77" y="257"/>
                  <a:pt x="79" y="256"/>
                  <a:pt x="78" y="258"/>
                </a:cubicBezTo>
                <a:close/>
                <a:moveTo>
                  <a:pt x="76" y="353"/>
                </a:moveTo>
                <a:cubicBezTo>
                  <a:pt x="75" y="353"/>
                  <a:pt x="74" y="351"/>
                  <a:pt x="75" y="351"/>
                </a:cubicBezTo>
                <a:cubicBezTo>
                  <a:pt x="75" y="351"/>
                  <a:pt x="76" y="353"/>
                  <a:pt x="76" y="353"/>
                </a:cubicBezTo>
                <a:close/>
                <a:moveTo>
                  <a:pt x="79" y="279"/>
                </a:moveTo>
                <a:cubicBezTo>
                  <a:pt x="79" y="278"/>
                  <a:pt x="81" y="279"/>
                  <a:pt x="81" y="278"/>
                </a:cubicBezTo>
                <a:cubicBezTo>
                  <a:pt x="81" y="277"/>
                  <a:pt x="80" y="276"/>
                  <a:pt x="79" y="276"/>
                </a:cubicBezTo>
                <a:cubicBezTo>
                  <a:pt x="78" y="276"/>
                  <a:pt x="78" y="278"/>
                  <a:pt x="77" y="277"/>
                </a:cubicBezTo>
                <a:cubicBezTo>
                  <a:pt x="78" y="278"/>
                  <a:pt x="77" y="279"/>
                  <a:pt x="77" y="277"/>
                </a:cubicBezTo>
                <a:cubicBezTo>
                  <a:pt x="76" y="277"/>
                  <a:pt x="77" y="276"/>
                  <a:pt x="77" y="275"/>
                </a:cubicBezTo>
                <a:cubicBezTo>
                  <a:pt x="76" y="274"/>
                  <a:pt x="76" y="274"/>
                  <a:pt x="76" y="272"/>
                </a:cubicBezTo>
                <a:cubicBezTo>
                  <a:pt x="76" y="271"/>
                  <a:pt x="79" y="267"/>
                  <a:pt x="81" y="270"/>
                </a:cubicBezTo>
                <a:cubicBezTo>
                  <a:pt x="82" y="273"/>
                  <a:pt x="83" y="278"/>
                  <a:pt x="81" y="280"/>
                </a:cubicBezTo>
                <a:cubicBezTo>
                  <a:pt x="81" y="281"/>
                  <a:pt x="78" y="281"/>
                  <a:pt x="79" y="279"/>
                </a:cubicBezTo>
                <a:close/>
                <a:moveTo>
                  <a:pt x="82" y="357"/>
                </a:moveTo>
                <a:cubicBezTo>
                  <a:pt x="82" y="358"/>
                  <a:pt x="82" y="358"/>
                  <a:pt x="82" y="359"/>
                </a:cubicBezTo>
                <a:cubicBezTo>
                  <a:pt x="82" y="359"/>
                  <a:pt x="82" y="358"/>
                  <a:pt x="82" y="357"/>
                </a:cubicBezTo>
                <a:close/>
                <a:moveTo>
                  <a:pt x="81" y="298"/>
                </a:moveTo>
                <a:cubicBezTo>
                  <a:pt x="82" y="299"/>
                  <a:pt x="83" y="302"/>
                  <a:pt x="83" y="304"/>
                </a:cubicBezTo>
                <a:cubicBezTo>
                  <a:pt x="81" y="302"/>
                  <a:pt x="82" y="300"/>
                  <a:pt x="81" y="298"/>
                </a:cubicBezTo>
                <a:close/>
                <a:moveTo>
                  <a:pt x="81" y="240"/>
                </a:moveTo>
                <a:cubicBezTo>
                  <a:pt x="83" y="236"/>
                  <a:pt x="78" y="238"/>
                  <a:pt x="77" y="238"/>
                </a:cubicBezTo>
                <a:cubicBezTo>
                  <a:pt x="76" y="236"/>
                  <a:pt x="78" y="233"/>
                  <a:pt x="78" y="230"/>
                </a:cubicBezTo>
                <a:cubicBezTo>
                  <a:pt x="78" y="229"/>
                  <a:pt x="76" y="224"/>
                  <a:pt x="77" y="223"/>
                </a:cubicBezTo>
                <a:cubicBezTo>
                  <a:pt x="79" y="223"/>
                  <a:pt x="79" y="229"/>
                  <a:pt x="79" y="229"/>
                </a:cubicBezTo>
                <a:cubicBezTo>
                  <a:pt x="80" y="230"/>
                  <a:pt x="83" y="226"/>
                  <a:pt x="84" y="226"/>
                </a:cubicBezTo>
                <a:cubicBezTo>
                  <a:pt x="92" y="224"/>
                  <a:pt x="89" y="237"/>
                  <a:pt x="87" y="241"/>
                </a:cubicBezTo>
                <a:cubicBezTo>
                  <a:pt x="84" y="246"/>
                  <a:pt x="86" y="236"/>
                  <a:pt x="81" y="240"/>
                </a:cubicBezTo>
                <a:close/>
                <a:moveTo>
                  <a:pt x="83" y="303"/>
                </a:moveTo>
                <a:cubicBezTo>
                  <a:pt x="83" y="302"/>
                  <a:pt x="85" y="304"/>
                  <a:pt x="84" y="304"/>
                </a:cubicBezTo>
                <a:cubicBezTo>
                  <a:pt x="84" y="304"/>
                  <a:pt x="83" y="303"/>
                  <a:pt x="83" y="303"/>
                </a:cubicBezTo>
                <a:close/>
                <a:moveTo>
                  <a:pt x="84" y="307"/>
                </a:moveTo>
                <a:cubicBezTo>
                  <a:pt x="83" y="306"/>
                  <a:pt x="84" y="305"/>
                  <a:pt x="84" y="307"/>
                </a:cubicBezTo>
                <a:close/>
                <a:moveTo>
                  <a:pt x="85" y="311"/>
                </a:moveTo>
                <a:cubicBezTo>
                  <a:pt x="84" y="311"/>
                  <a:pt x="84" y="309"/>
                  <a:pt x="84" y="308"/>
                </a:cubicBezTo>
                <a:cubicBezTo>
                  <a:pt x="84" y="309"/>
                  <a:pt x="85" y="310"/>
                  <a:pt x="85" y="311"/>
                </a:cubicBezTo>
                <a:close/>
                <a:moveTo>
                  <a:pt x="83" y="365"/>
                </a:moveTo>
                <a:cubicBezTo>
                  <a:pt x="84" y="366"/>
                  <a:pt x="83" y="367"/>
                  <a:pt x="84" y="368"/>
                </a:cubicBezTo>
                <a:cubicBezTo>
                  <a:pt x="83" y="368"/>
                  <a:pt x="83" y="366"/>
                  <a:pt x="83" y="365"/>
                </a:cubicBezTo>
                <a:close/>
                <a:moveTo>
                  <a:pt x="84" y="329"/>
                </a:moveTo>
                <a:cubicBezTo>
                  <a:pt x="85" y="329"/>
                  <a:pt x="86" y="330"/>
                  <a:pt x="85" y="331"/>
                </a:cubicBezTo>
                <a:cubicBezTo>
                  <a:pt x="84" y="331"/>
                  <a:pt x="84" y="329"/>
                  <a:pt x="84" y="329"/>
                </a:cubicBezTo>
                <a:close/>
                <a:moveTo>
                  <a:pt x="85" y="377"/>
                </a:moveTo>
                <a:cubicBezTo>
                  <a:pt x="84" y="377"/>
                  <a:pt x="85" y="376"/>
                  <a:pt x="85" y="375"/>
                </a:cubicBezTo>
                <a:cubicBezTo>
                  <a:pt x="84" y="374"/>
                  <a:pt x="85" y="376"/>
                  <a:pt x="85" y="377"/>
                </a:cubicBezTo>
                <a:close/>
                <a:moveTo>
                  <a:pt x="85" y="378"/>
                </a:moveTo>
                <a:cubicBezTo>
                  <a:pt x="85" y="378"/>
                  <a:pt x="85" y="379"/>
                  <a:pt x="85" y="380"/>
                </a:cubicBezTo>
                <a:cubicBezTo>
                  <a:pt x="85" y="380"/>
                  <a:pt x="85" y="378"/>
                  <a:pt x="85" y="378"/>
                </a:cubicBezTo>
                <a:close/>
                <a:moveTo>
                  <a:pt x="86" y="260"/>
                </a:moveTo>
                <a:cubicBezTo>
                  <a:pt x="84" y="260"/>
                  <a:pt x="83" y="256"/>
                  <a:pt x="87" y="256"/>
                </a:cubicBezTo>
                <a:cubicBezTo>
                  <a:pt x="89" y="256"/>
                  <a:pt x="88" y="261"/>
                  <a:pt x="86" y="260"/>
                </a:cubicBezTo>
                <a:close/>
                <a:moveTo>
                  <a:pt x="90" y="332"/>
                </a:moveTo>
                <a:cubicBezTo>
                  <a:pt x="89" y="332"/>
                  <a:pt x="88" y="328"/>
                  <a:pt x="90" y="328"/>
                </a:cubicBezTo>
                <a:cubicBezTo>
                  <a:pt x="90" y="328"/>
                  <a:pt x="90" y="331"/>
                  <a:pt x="90" y="332"/>
                </a:cubicBezTo>
                <a:close/>
                <a:moveTo>
                  <a:pt x="91" y="222"/>
                </a:moveTo>
                <a:cubicBezTo>
                  <a:pt x="91" y="223"/>
                  <a:pt x="91" y="224"/>
                  <a:pt x="91" y="225"/>
                </a:cubicBezTo>
                <a:cubicBezTo>
                  <a:pt x="90" y="224"/>
                  <a:pt x="90" y="223"/>
                  <a:pt x="91" y="222"/>
                </a:cubicBezTo>
                <a:close/>
                <a:moveTo>
                  <a:pt x="91" y="228"/>
                </a:moveTo>
                <a:cubicBezTo>
                  <a:pt x="91" y="229"/>
                  <a:pt x="90" y="228"/>
                  <a:pt x="91" y="227"/>
                </a:cubicBezTo>
                <a:cubicBezTo>
                  <a:pt x="91" y="227"/>
                  <a:pt x="92" y="228"/>
                  <a:pt x="91" y="228"/>
                </a:cubicBezTo>
                <a:close/>
                <a:moveTo>
                  <a:pt x="158" y="205"/>
                </a:moveTo>
                <a:cubicBezTo>
                  <a:pt x="159" y="205"/>
                  <a:pt x="159" y="208"/>
                  <a:pt x="158" y="208"/>
                </a:cubicBezTo>
                <a:cubicBezTo>
                  <a:pt x="158" y="208"/>
                  <a:pt x="157" y="206"/>
                  <a:pt x="158" y="205"/>
                </a:cubicBezTo>
                <a:close/>
                <a:moveTo>
                  <a:pt x="154" y="169"/>
                </a:moveTo>
                <a:cubicBezTo>
                  <a:pt x="155" y="168"/>
                  <a:pt x="155" y="171"/>
                  <a:pt x="154" y="171"/>
                </a:cubicBezTo>
                <a:cubicBezTo>
                  <a:pt x="154" y="171"/>
                  <a:pt x="153" y="170"/>
                  <a:pt x="154" y="169"/>
                </a:cubicBezTo>
                <a:close/>
                <a:moveTo>
                  <a:pt x="155" y="227"/>
                </a:moveTo>
                <a:cubicBezTo>
                  <a:pt x="154" y="227"/>
                  <a:pt x="153" y="225"/>
                  <a:pt x="154" y="225"/>
                </a:cubicBezTo>
                <a:cubicBezTo>
                  <a:pt x="155" y="224"/>
                  <a:pt x="155" y="227"/>
                  <a:pt x="155" y="227"/>
                </a:cubicBezTo>
                <a:close/>
                <a:moveTo>
                  <a:pt x="154" y="181"/>
                </a:moveTo>
                <a:cubicBezTo>
                  <a:pt x="154" y="181"/>
                  <a:pt x="155" y="182"/>
                  <a:pt x="154" y="182"/>
                </a:cubicBezTo>
                <a:cubicBezTo>
                  <a:pt x="153" y="183"/>
                  <a:pt x="153" y="182"/>
                  <a:pt x="154" y="181"/>
                </a:cubicBezTo>
                <a:close/>
                <a:moveTo>
                  <a:pt x="150" y="242"/>
                </a:moveTo>
                <a:cubicBezTo>
                  <a:pt x="149" y="242"/>
                  <a:pt x="150" y="241"/>
                  <a:pt x="150" y="241"/>
                </a:cubicBezTo>
                <a:cubicBezTo>
                  <a:pt x="150" y="240"/>
                  <a:pt x="150" y="242"/>
                  <a:pt x="150" y="242"/>
                </a:cubicBezTo>
                <a:close/>
                <a:moveTo>
                  <a:pt x="149" y="249"/>
                </a:moveTo>
                <a:cubicBezTo>
                  <a:pt x="149" y="249"/>
                  <a:pt x="150" y="251"/>
                  <a:pt x="150" y="251"/>
                </a:cubicBezTo>
                <a:cubicBezTo>
                  <a:pt x="149" y="251"/>
                  <a:pt x="149" y="249"/>
                  <a:pt x="149" y="249"/>
                </a:cubicBezTo>
                <a:close/>
                <a:moveTo>
                  <a:pt x="150" y="301"/>
                </a:moveTo>
                <a:cubicBezTo>
                  <a:pt x="149" y="300"/>
                  <a:pt x="149" y="299"/>
                  <a:pt x="149" y="299"/>
                </a:cubicBezTo>
                <a:cubicBezTo>
                  <a:pt x="149" y="299"/>
                  <a:pt x="150" y="300"/>
                  <a:pt x="150" y="301"/>
                </a:cubicBezTo>
                <a:close/>
                <a:moveTo>
                  <a:pt x="149" y="200"/>
                </a:moveTo>
                <a:cubicBezTo>
                  <a:pt x="151" y="199"/>
                  <a:pt x="150" y="203"/>
                  <a:pt x="149" y="203"/>
                </a:cubicBezTo>
                <a:cubicBezTo>
                  <a:pt x="148" y="202"/>
                  <a:pt x="148" y="200"/>
                  <a:pt x="149" y="200"/>
                </a:cubicBezTo>
                <a:close/>
                <a:moveTo>
                  <a:pt x="148" y="231"/>
                </a:moveTo>
                <a:cubicBezTo>
                  <a:pt x="148" y="232"/>
                  <a:pt x="147" y="231"/>
                  <a:pt x="147" y="231"/>
                </a:cubicBezTo>
                <a:cubicBezTo>
                  <a:pt x="147" y="231"/>
                  <a:pt x="148" y="231"/>
                  <a:pt x="148" y="231"/>
                </a:cubicBezTo>
                <a:close/>
                <a:moveTo>
                  <a:pt x="147" y="333"/>
                </a:moveTo>
                <a:cubicBezTo>
                  <a:pt x="146" y="334"/>
                  <a:pt x="149" y="333"/>
                  <a:pt x="147" y="333"/>
                </a:cubicBezTo>
                <a:close/>
                <a:moveTo>
                  <a:pt x="146" y="173"/>
                </a:moveTo>
                <a:cubicBezTo>
                  <a:pt x="146" y="173"/>
                  <a:pt x="146" y="172"/>
                  <a:pt x="146" y="172"/>
                </a:cubicBezTo>
                <a:cubicBezTo>
                  <a:pt x="148" y="172"/>
                  <a:pt x="144" y="175"/>
                  <a:pt x="146" y="173"/>
                </a:cubicBezTo>
                <a:close/>
                <a:moveTo>
                  <a:pt x="145" y="190"/>
                </a:moveTo>
                <a:cubicBezTo>
                  <a:pt x="145" y="190"/>
                  <a:pt x="146" y="190"/>
                  <a:pt x="146" y="190"/>
                </a:cubicBezTo>
                <a:cubicBezTo>
                  <a:pt x="148" y="189"/>
                  <a:pt x="144" y="192"/>
                  <a:pt x="145" y="190"/>
                </a:cubicBezTo>
                <a:close/>
                <a:moveTo>
                  <a:pt x="144" y="178"/>
                </a:moveTo>
                <a:cubicBezTo>
                  <a:pt x="145" y="178"/>
                  <a:pt x="145" y="180"/>
                  <a:pt x="144" y="180"/>
                </a:cubicBezTo>
                <a:cubicBezTo>
                  <a:pt x="144" y="180"/>
                  <a:pt x="143" y="178"/>
                  <a:pt x="144" y="178"/>
                </a:cubicBezTo>
                <a:close/>
                <a:moveTo>
                  <a:pt x="145" y="222"/>
                </a:moveTo>
                <a:cubicBezTo>
                  <a:pt x="145" y="221"/>
                  <a:pt x="146" y="220"/>
                  <a:pt x="147" y="221"/>
                </a:cubicBezTo>
                <a:cubicBezTo>
                  <a:pt x="148" y="221"/>
                  <a:pt x="148" y="224"/>
                  <a:pt x="147" y="224"/>
                </a:cubicBezTo>
                <a:cubicBezTo>
                  <a:pt x="146" y="224"/>
                  <a:pt x="146" y="223"/>
                  <a:pt x="145" y="222"/>
                </a:cubicBezTo>
                <a:cubicBezTo>
                  <a:pt x="145" y="222"/>
                  <a:pt x="145" y="222"/>
                  <a:pt x="145" y="222"/>
                </a:cubicBezTo>
                <a:cubicBezTo>
                  <a:pt x="144" y="221"/>
                  <a:pt x="144" y="219"/>
                  <a:pt x="143" y="217"/>
                </a:cubicBezTo>
                <a:cubicBezTo>
                  <a:pt x="144" y="218"/>
                  <a:pt x="145" y="220"/>
                  <a:pt x="145" y="222"/>
                </a:cubicBezTo>
                <a:close/>
                <a:moveTo>
                  <a:pt x="145" y="245"/>
                </a:moveTo>
                <a:cubicBezTo>
                  <a:pt x="147" y="244"/>
                  <a:pt x="146" y="248"/>
                  <a:pt x="145" y="248"/>
                </a:cubicBezTo>
                <a:cubicBezTo>
                  <a:pt x="144" y="248"/>
                  <a:pt x="143" y="246"/>
                  <a:pt x="145" y="245"/>
                </a:cubicBezTo>
                <a:close/>
                <a:moveTo>
                  <a:pt x="145" y="314"/>
                </a:moveTo>
                <a:cubicBezTo>
                  <a:pt x="145" y="314"/>
                  <a:pt x="144" y="313"/>
                  <a:pt x="144" y="312"/>
                </a:cubicBezTo>
                <a:cubicBezTo>
                  <a:pt x="144" y="311"/>
                  <a:pt x="145" y="314"/>
                  <a:pt x="145" y="314"/>
                </a:cubicBezTo>
                <a:close/>
                <a:moveTo>
                  <a:pt x="141" y="194"/>
                </a:moveTo>
                <a:cubicBezTo>
                  <a:pt x="141" y="194"/>
                  <a:pt x="140" y="193"/>
                  <a:pt x="140" y="193"/>
                </a:cubicBezTo>
                <a:cubicBezTo>
                  <a:pt x="140" y="192"/>
                  <a:pt x="142" y="194"/>
                  <a:pt x="141" y="194"/>
                </a:cubicBezTo>
                <a:close/>
                <a:moveTo>
                  <a:pt x="142" y="199"/>
                </a:moveTo>
                <a:cubicBezTo>
                  <a:pt x="141" y="199"/>
                  <a:pt x="141" y="198"/>
                  <a:pt x="141" y="197"/>
                </a:cubicBezTo>
                <a:cubicBezTo>
                  <a:pt x="141" y="197"/>
                  <a:pt x="142" y="198"/>
                  <a:pt x="142" y="199"/>
                </a:cubicBezTo>
                <a:close/>
                <a:moveTo>
                  <a:pt x="142" y="216"/>
                </a:moveTo>
                <a:cubicBezTo>
                  <a:pt x="141" y="214"/>
                  <a:pt x="140" y="211"/>
                  <a:pt x="139" y="209"/>
                </a:cubicBezTo>
                <a:cubicBezTo>
                  <a:pt x="141" y="210"/>
                  <a:pt x="142" y="214"/>
                  <a:pt x="142" y="216"/>
                </a:cubicBezTo>
                <a:close/>
                <a:moveTo>
                  <a:pt x="141" y="232"/>
                </a:moveTo>
                <a:cubicBezTo>
                  <a:pt x="141" y="233"/>
                  <a:pt x="141" y="231"/>
                  <a:pt x="141" y="232"/>
                </a:cubicBezTo>
                <a:close/>
                <a:moveTo>
                  <a:pt x="140" y="226"/>
                </a:moveTo>
                <a:cubicBezTo>
                  <a:pt x="139" y="224"/>
                  <a:pt x="140" y="224"/>
                  <a:pt x="140" y="226"/>
                </a:cubicBezTo>
                <a:close/>
                <a:moveTo>
                  <a:pt x="134" y="215"/>
                </a:moveTo>
                <a:cubicBezTo>
                  <a:pt x="134" y="216"/>
                  <a:pt x="133" y="215"/>
                  <a:pt x="133" y="215"/>
                </a:cubicBezTo>
                <a:cubicBezTo>
                  <a:pt x="133" y="214"/>
                  <a:pt x="134" y="215"/>
                  <a:pt x="134" y="215"/>
                </a:cubicBezTo>
                <a:close/>
                <a:moveTo>
                  <a:pt x="128" y="205"/>
                </a:moveTo>
                <a:cubicBezTo>
                  <a:pt x="128" y="203"/>
                  <a:pt x="128" y="202"/>
                  <a:pt x="130" y="202"/>
                </a:cubicBezTo>
                <a:cubicBezTo>
                  <a:pt x="131" y="202"/>
                  <a:pt x="132" y="206"/>
                  <a:pt x="131" y="207"/>
                </a:cubicBezTo>
                <a:cubicBezTo>
                  <a:pt x="130" y="208"/>
                  <a:pt x="130" y="207"/>
                  <a:pt x="129" y="207"/>
                </a:cubicBezTo>
                <a:cubicBezTo>
                  <a:pt x="129" y="207"/>
                  <a:pt x="129" y="207"/>
                  <a:pt x="129" y="207"/>
                </a:cubicBezTo>
                <a:cubicBezTo>
                  <a:pt x="128" y="207"/>
                  <a:pt x="127" y="205"/>
                  <a:pt x="128" y="205"/>
                </a:cubicBezTo>
                <a:close/>
                <a:moveTo>
                  <a:pt x="131" y="346"/>
                </a:moveTo>
                <a:cubicBezTo>
                  <a:pt x="133" y="346"/>
                  <a:pt x="132" y="348"/>
                  <a:pt x="131" y="346"/>
                </a:cubicBezTo>
                <a:close/>
                <a:moveTo>
                  <a:pt x="128" y="352"/>
                </a:moveTo>
                <a:cubicBezTo>
                  <a:pt x="129" y="352"/>
                  <a:pt x="129" y="353"/>
                  <a:pt x="129" y="353"/>
                </a:cubicBezTo>
                <a:cubicBezTo>
                  <a:pt x="128" y="354"/>
                  <a:pt x="128" y="353"/>
                  <a:pt x="128" y="352"/>
                </a:cubicBezTo>
                <a:close/>
                <a:moveTo>
                  <a:pt x="128" y="244"/>
                </a:moveTo>
                <a:cubicBezTo>
                  <a:pt x="128" y="243"/>
                  <a:pt x="129" y="245"/>
                  <a:pt x="129" y="246"/>
                </a:cubicBezTo>
                <a:cubicBezTo>
                  <a:pt x="128" y="245"/>
                  <a:pt x="129" y="245"/>
                  <a:pt x="128" y="244"/>
                </a:cubicBezTo>
                <a:close/>
                <a:moveTo>
                  <a:pt x="128" y="274"/>
                </a:moveTo>
                <a:cubicBezTo>
                  <a:pt x="129" y="275"/>
                  <a:pt x="129" y="276"/>
                  <a:pt x="130" y="277"/>
                </a:cubicBezTo>
                <a:cubicBezTo>
                  <a:pt x="129" y="277"/>
                  <a:pt x="128" y="275"/>
                  <a:pt x="128" y="274"/>
                </a:cubicBezTo>
                <a:close/>
                <a:moveTo>
                  <a:pt x="129" y="246"/>
                </a:moveTo>
                <a:cubicBezTo>
                  <a:pt x="132" y="246"/>
                  <a:pt x="128" y="249"/>
                  <a:pt x="129" y="247"/>
                </a:cubicBezTo>
                <a:cubicBezTo>
                  <a:pt x="129" y="247"/>
                  <a:pt x="129" y="246"/>
                  <a:pt x="129" y="246"/>
                </a:cubicBezTo>
                <a:close/>
                <a:moveTo>
                  <a:pt x="129" y="241"/>
                </a:moveTo>
                <a:cubicBezTo>
                  <a:pt x="130" y="240"/>
                  <a:pt x="130" y="242"/>
                  <a:pt x="130" y="242"/>
                </a:cubicBezTo>
                <a:cubicBezTo>
                  <a:pt x="130" y="242"/>
                  <a:pt x="129" y="241"/>
                  <a:pt x="129" y="241"/>
                </a:cubicBezTo>
                <a:close/>
                <a:moveTo>
                  <a:pt x="130" y="275"/>
                </a:moveTo>
                <a:cubicBezTo>
                  <a:pt x="129" y="274"/>
                  <a:pt x="130" y="273"/>
                  <a:pt x="130" y="274"/>
                </a:cubicBezTo>
                <a:cubicBezTo>
                  <a:pt x="131" y="274"/>
                  <a:pt x="131" y="275"/>
                  <a:pt x="130" y="275"/>
                </a:cubicBezTo>
                <a:close/>
                <a:moveTo>
                  <a:pt x="128" y="210"/>
                </a:moveTo>
                <a:cubicBezTo>
                  <a:pt x="127" y="210"/>
                  <a:pt x="127" y="208"/>
                  <a:pt x="127" y="207"/>
                </a:cubicBezTo>
                <a:cubicBezTo>
                  <a:pt x="128" y="208"/>
                  <a:pt x="128" y="209"/>
                  <a:pt x="128" y="210"/>
                </a:cubicBezTo>
                <a:close/>
                <a:moveTo>
                  <a:pt x="126" y="269"/>
                </a:moveTo>
                <a:cubicBezTo>
                  <a:pt x="127" y="270"/>
                  <a:pt x="128" y="271"/>
                  <a:pt x="128" y="273"/>
                </a:cubicBezTo>
                <a:cubicBezTo>
                  <a:pt x="127" y="272"/>
                  <a:pt x="126" y="271"/>
                  <a:pt x="126" y="269"/>
                </a:cubicBezTo>
                <a:close/>
                <a:moveTo>
                  <a:pt x="123" y="221"/>
                </a:moveTo>
                <a:cubicBezTo>
                  <a:pt x="123" y="221"/>
                  <a:pt x="124" y="221"/>
                  <a:pt x="124" y="222"/>
                </a:cubicBezTo>
                <a:cubicBezTo>
                  <a:pt x="124" y="222"/>
                  <a:pt x="122" y="222"/>
                  <a:pt x="123" y="221"/>
                </a:cubicBezTo>
                <a:close/>
                <a:moveTo>
                  <a:pt x="125" y="273"/>
                </a:moveTo>
                <a:cubicBezTo>
                  <a:pt x="123" y="272"/>
                  <a:pt x="123" y="271"/>
                  <a:pt x="123" y="270"/>
                </a:cubicBezTo>
                <a:cubicBezTo>
                  <a:pt x="124" y="270"/>
                  <a:pt x="125" y="272"/>
                  <a:pt x="125" y="273"/>
                </a:cubicBezTo>
                <a:close/>
                <a:moveTo>
                  <a:pt x="119" y="230"/>
                </a:moveTo>
                <a:cubicBezTo>
                  <a:pt x="119" y="231"/>
                  <a:pt x="119" y="230"/>
                  <a:pt x="119" y="230"/>
                </a:cubicBezTo>
                <a:cubicBezTo>
                  <a:pt x="116" y="228"/>
                  <a:pt x="120" y="229"/>
                  <a:pt x="119" y="230"/>
                </a:cubicBezTo>
                <a:close/>
                <a:moveTo>
                  <a:pt x="116" y="209"/>
                </a:moveTo>
                <a:cubicBezTo>
                  <a:pt x="117" y="209"/>
                  <a:pt x="117" y="211"/>
                  <a:pt x="117" y="211"/>
                </a:cubicBezTo>
                <a:cubicBezTo>
                  <a:pt x="117" y="211"/>
                  <a:pt x="116" y="210"/>
                  <a:pt x="116" y="209"/>
                </a:cubicBezTo>
                <a:close/>
                <a:moveTo>
                  <a:pt x="117" y="220"/>
                </a:moveTo>
                <a:cubicBezTo>
                  <a:pt x="118" y="221"/>
                  <a:pt x="118" y="223"/>
                  <a:pt x="118" y="224"/>
                </a:cubicBezTo>
                <a:cubicBezTo>
                  <a:pt x="118" y="226"/>
                  <a:pt x="119" y="228"/>
                  <a:pt x="118" y="228"/>
                </a:cubicBezTo>
                <a:cubicBezTo>
                  <a:pt x="118" y="228"/>
                  <a:pt x="118" y="228"/>
                  <a:pt x="118" y="227"/>
                </a:cubicBezTo>
                <a:cubicBezTo>
                  <a:pt x="118" y="228"/>
                  <a:pt x="118" y="228"/>
                  <a:pt x="118" y="228"/>
                </a:cubicBezTo>
                <a:cubicBezTo>
                  <a:pt x="118" y="228"/>
                  <a:pt x="117" y="229"/>
                  <a:pt x="117" y="229"/>
                </a:cubicBezTo>
                <a:cubicBezTo>
                  <a:pt x="116" y="229"/>
                  <a:pt x="111" y="224"/>
                  <a:pt x="112" y="221"/>
                </a:cubicBezTo>
                <a:cubicBezTo>
                  <a:pt x="112" y="219"/>
                  <a:pt x="115" y="218"/>
                  <a:pt x="117" y="220"/>
                </a:cubicBezTo>
                <a:close/>
                <a:moveTo>
                  <a:pt x="114" y="428"/>
                </a:moveTo>
                <a:cubicBezTo>
                  <a:pt x="114" y="430"/>
                  <a:pt x="112" y="427"/>
                  <a:pt x="112" y="425"/>
                </a:cubicBezTo>
                <a:cubicBezTo>
                  <a:pt x="111" y="421"/>
                  <a:pt x="110" y="416"/>
                  <a:pt x="110" y="413"/>
                </a:cubicBezTo>
                <a:cubicBezTo>
                  <a:pt x="110" y="413"/>
                  <a:pt x="110" y="411"/>
                  <a:pt x="110" y="411"/>
                </a:cubicBezTo>
                <a:cubicBezTo>
                  <a:pt x="111" y="411"/>
                  <a:pt x="114" y="426"/>
                  <a:pt x="114" y="428"/>
                </a:cubicBezTo>
                <a:close/>
                <a:moveTo>
                  <a:pt x="111" y="324"/>
                </a:moveTo>
                <a:cubicBezTo>
                  <a:pt x="110" y="325"/>
                  <a:pt x="111" y="323"/>
                  <a:pt x="111" y="324"/>
                </a:cubicBezTo>
                <a:close/>
                <a:moveTo>
                  <a:pt x="113" y="271"/>
                </a:moveTo>
                <a:cubicBezTo>
                  <a:pt x="115" y="271"/>
                  <a:pt x="117" y="274"/>
                  <a:pt x="115" y="276"/>
                </a:cubicBezTo>
                <a:cubicBezTo>
                  <a:pt x="112" y="280"/>
                  <a:pt x="109" y="271"/>
                  <a:pt x="113" y="271"/>
                </a:cubicBezTo>
                <a:close/>
                <a:moveTo>
                  <a:pt x="114" y="252"/>
                </a:moveTo>
                <a:cubicBezTo>
                  <a:pt x="114" y="252"/>
                  <a:pt x="115" y="253"/>
                  <a:pt x="114" y="254"/>
                </a:cubicBezTo>
                <a:cubicBezTo>
                  <a:pt x="113" y="254"/>
                  <a:pt x="113" y="252"/>
                  <a:pt x="114" y="252"/>
                </a:cubicBezTo>
                <a:close/>
                <a:moveTo>
                  <a:pt x="115" y="374"/>
                </a:moveTo>
                <a:cubicBezTo>
                  <a:pt x="117" y="374"/>
                  <a:pt x="117" y="378"/>
                  <a:pt x="115" y="378"/>
                </a:cubicBezTo>
                <a:cubicBezTo>
                  <a:pt x="115" y="378"/>
                  <a:pt x="113" y="375"/>
                  <a:pt x="115" y="374"/>
                </a:cubicBezTo>
                <a:close/>
                <a:moveTo>
                  <a:pt x="115" y="266"/>
                </a:moveTo>
                <a:cubicBezTo>
                  <a:pt x="118" y="267"/>
                  <a:pt x="116" y="270"/>
                  <a:pt x="115" y="266"/>
                </a:cubicBezTo>
                <a:close/>
                <a:moveTo>
                  <a:pt x="110" y="225"/>
                </a:moveTo>
                <a:cubicBezTo>
                  <a:pt x="112" y="225"/>
                  <a:pt x="110" y="226"/>
                  <a:pt x="110" y="225"/>
                </a:cubicBezTo>
                <a:close/>
                <a:moveTo>
                  <a:pt x="108" y="237"/>
                </a:moveTo>
                <a:cubicBezTo>
                  <a:pt x="106" y="236"/>
                  <a:pt x="109" y="235"/>
                  <a:pt x="108" y="237"/>
                </a:cubicBezTo>
                <a:close/>
                <a:moveTo>
                  <a:pt x="106" y="237"/>
                </a:moveTo>
                <a:cubicBezTo>
                  <a:pt x="107" y="236"/>
                  <a:pt x="108" y="238"/>
                  <a:pt x="107" y="239"/>
                </a:cubicBezTo>
                <a:cubicBezTo>
                  <a:pt x="106" y="239"/>
                  <a:pt x="106" y="237"/>
                  <a:pt x="106" y="237"/>
                </a:cubicBezTo>
                <a:close/>
                <a:moveTo>
                  <a:pt x="97" y="223"/>
                </a:moveTo>
                <a:cubicBezTo>
                  <a:pt x="98" y="223"/>
                  <a:pt x="98" y="225"/>
                  <a:pt x="96" y="225"/>
                </a:cubicBezTo>
                <a:cubicBezTo>
                  <a:pt x="95" y="224"/>
                  <a:pt x="96" y="223"/>
                  <a:pt x="97" y="223"/>
                </a:cubicBezTo>
                <a:close/>
                <a:moveTo>
                  <a:pt x="96" y="249"/>
                </a:moveTo>
                <a:cubicBezTo>
                  <a:pt x="97" y="250"/>
                  <a:pt x="96" y="250"/>
                  <a:pt x="96" y="249"/>
                </a:cubicBezTo>
                <a:close/>
                <a:moveTo>
                  <a:pt x="96" y="195"/>
                </a:moveTo>
                <a:cubicBezTo>
                  <a:pt x="96" y="195"/>
                  <a:pt x="96" y="196"/>
                  <a:pt x="96" y="197"/>
                </a:cubicBezTo>
                <a:cubicBezTo>
                  <a:pt x="96" y="197"/>
                  <a:pt x="95" y="196"/>
                  <a:pt x="96" y="195"/>
                </a:cubicBezTo>
                <a:close/>
                <a:moveTo>
                  <a:pt x="93" y="195"/>
                </a:moveTo>
                <a:cubicBezTo>
                  <a:pt x="94" y="195"/>
                  <a:pt x="93" y="195"/>
                  <a:pt x="93" y="195"/>
                </a:cubicBezTo>
                <a:cubicBezTo>
                  <a:pt x="93" y="195"/>
                  <a:pt x="93" y="195"/>
                  <a:pt x="93" y="195"/>
                </a:cubicBezTo>
                <a:close/>
                <a:moveTo>
                  <a:pt x="93" y="195"/>
                </a:moveTo>
                <a:cubicBezTo>
                  <a:pt x="93" y="196"/>
                  <a:pt x="93" y="196"/>
                  <a:pt x="93" y="195"/>
                </a:cubicBezTo>
                <a:close/>
                <a:moveTo>
                  <a:pt x="92" y="212"/>
                </a:moveTo>
                <a:cubicBezTo>
                  <a:pt x="91" y="213"/>
                  <a:pt x="90" y="211"/>
                  <a:pt x="89" y="211"/>
                </a:cubicBezTo>
                <a:cubicBezTo>
                  <a:pt x="88" y="207"/>
                  <a:pt x="94" y="209"/>
                  <a:pt x="92" y="212"/>
                </a:cubicBezTo>
                <a:close/>
                <a:moveTo>
                  <a:pt x="92" y="259"/>
                </a:moveTo>
                <a:cubicBezTo>
                  <a:pt x="91" y="259"/>
                  <a:pt x="93" y="251"/>
                  <a:pt x="92" y="248"/>
                </a:cubicBezTo>
                <a:cubicBezTo>
                  <a:pt x="94" y="249"/>
                  <a:pt x="93" y="260"/>
                  <a:pt x="92" y="259"/>
                </a:cubicBezTo>
                <a:close/>
                <a:moveTo>
                  <a:pt x="93" y="228"/>
                </a:moveTo>
                <a:cubicBezTo>
                  <a:pt x="91" y="227"/>
                  <a:pt x="93" y="226"/>
                  <a:pt x="93" y="228"/>
                </a:cubicBezTo>
                <a:close/>
                <a:moveTo>
                  <a:pt x="92" y="225"/>
                </a:moveTo>
                <a:cubicBezTo>
                  <a:pt x="92" y="225"/>
                  <a:pt x="92" y="223"/>
                  <a:pt x="92" y="223"/>
                </a:cubicBezTo>
                <a:cubicBezTo>
                  <a:pt x="93" y="223"/>
                  <a:pt x="93" y="226"/>
                  <a:pt x="92" y="225"/>
                </a:cubicBezTo>
                <a:close/>
                <a:moveTo>
                  <a:pt x="94" y="198"/>
                </a:moveTo>
                <a:cubicBezTo>
                  <a:pt x="95" y="198"/>
                  <a:pt x="95" y="199"/>
                  <a:pt x="95" y="199"/>
                </a:cubicBezTo>
                <a:cubicBezTo>
                  <a:pt x="95" y="199"/>
                  <a:pt x="93" y="200"/>
                  <a:pt x="93" y="200"/>
                </a:cubicBezTo>
                <a:cubicBezTo>
                  <a:pt x="92" y="200"/>
                  <a:pt x="92" y="198"/>
                  <a:pt x="94" y="198"/>
                </a:cubicBezTo>
                <a:close/>
                <a:moveTo>
                  <a:pt x="94" y="407"/>
                </a:moveTo>
                <a:cubicBezTo>
                  <a:pt x="95" y="409"/>
                  <a:pt x="93" y="409"/>
                  <a:pt x="94" y="407"/>
                </a:cubicBezTo>
                <a:close/>
                <a:moveTo>
                  <a:pt x="96" y="275"/>
                </a:moveTo>
                <a:cubicBezTo>
                  <a:pt x="95" y="275"/>
                  <a:pt x="95" y="273"/>
                  <a:pt x="95" y="272"/>
                </a:cubicBezTo>
                <a:cubicBezTo>
                  <a:pt x="97" y="271"/>
                  <a:pt x="97" y="275"/>
                  <a:pt x="96" y="275"/>
                </a:cubicBezTo>
                <a:close/>
                <a:moveTo>
                  <a:pt x="95" y="257"/>
                </a:moveTo>
                <a:cubicBezTo>
                  <a:pt x="97" y="257"/>
                  <a:pt x="98" y="260"/>
                  <a:pt x="98" y="262"/>
                </a:cubicBezTo>
                <a:cubicBezTo>
                  <a:pt x="97" y="260"/>
                  <a:pt x="96" y="259"/>
                  <a:pt x="95" y="257"/>
                </a:cubicBezTo>
                <a:close/>
                <a:moveTo>
                  <a:pt x="99" y="345"/>
                </a:moveTo>
                <a:cubicBezTo>
                  <a:pt x="98" y="346"/>
                  <a:pt x="98" y="344"/>
                  <a:pt x="98" y="344"/>
                </a:cubicBezTo>
                <a:cubicBezTo>
                  <a:pt x="99" y="344"/>
                  <a:pt x="99" y="345"/>
                  <a:pt x="99" y="345"/>
                </a:cubicBezTo>
                <a:close/>
                <a:moveTo>
                  <a:pt x="99" y="391"/>
                </a:moveTo>
                <a:cubicBezTo>
                  <a:pt x="100" y="393"/>
                  <a:pt x="99" y="393"/>
                  <a:pt x="99" y="391"/>
                </a:cubicBezTo>
                <a:close/>
                <a:moveTo>
                  <a:pt x="98" y="263"/>
                </a:moveTo>
                <a:cubicBezTo>
                  <a:pt x="99" y="265"/>
                  <a:pt x="100" y="266"/>
                  <a:pt x="100" y="268"/>
                </a:cubicBezTo>
                <a:cubicBezTo>
                  <a:pt x="100" y="267"/>
                  <a:pt x="99" y="265"/>
                  <a:pt x="98" y="263"/>
                </a:cubicBezTo>
                <a:close/>
                <a:moveTo>
                  <a:pt x="100" y="245"/>
                </a:moveTo>
                <a:cubicBezTo>
                  <a:pt x="98" y="243"/>
                  <a:pt x="100" y="243"/>
                  <a:pt x="100" y="245"/>
                </a:cubicBezTo>
                <a:close/>
                <a:moveTo>
                  <a:pt x="98" y="231"/>
                </a:moveTo>
                <a:cubicBezTo>
                  <a:pt x="97" y="231"/>
                  <a:pt x="98" y="227"/>
                  <a:pt x="99" y="227"/>
                </a:cubicBezTo>
                <a:cubicBezTo>
                  <a:pt x="101" y="227"/>
                  <a:pt x="101" y="232"/>
                  <a:pt x="98" y="231"/>
                </a:cubicBezTo>
                <a:close/>
                <a:moveTo>
                  <a:pt x="99" y="205"/>
                </a:moveTo>
                <a:cubicBezTo>
                  <a:pt x="99" y="204"/>
                  <a:pt x="100" y="206"/>
                  <a:pt x="99" y="206"/>
                </a:cubicBezTo>
                <a:cubicBezTo>
                  <a:pt x="99" y="206"/>
                  <a:pt x="99" y="205"/>
                  <a:pt x="99" y="205"/>
                </a:cubicBezTo>
                <a:close/>
                <a:moveTo>
                  <a:pt x="102" y="420"/>
                </a:moveTo>
                <a:cubicBezTo>
                  <a:pt x="102" y="420"/>
                  <a:pt x="102" y="420"/>
                  <a:pt x="102" y="420"/>
                </a:cubicBezTo>
                <a:cubicBezTo>
                  <a:pt x="102" y="420"/>
                  <a:pt x="102" y="420"/>
                  <a:pt x="102" y="420"/>
                </a:cubicBezTo>
                <a:cubicBezTo>
                  <a:pt x="102" y="420"/>
                  <a:pt x="102" y="420"/>
                  <a:pt x="102" y="420"/>
                </a:cubicBezTo>
                <a:close/>
                <a:moveTo>
                  <a:pt x="101" y="348"/>
                </a:moveTo>
                <a:cubicBezTo>
                  <a:pt x="99" y="349"/>
                  <a:pt x="102" y="346"/>
                  <a:pt x="102" y="347"/>
                </a:cubicBezTo>
                <a:cubicBezTo>
                  <a:pt x="102" y="348"/>
                  <a:pt x="102" y="348"/>
                  <a:pt x="101" y="348"/>
                </a:cubicBezTo>
                <a:close/>
                <a:moveTo>
                  <a:pt x="102" y="273"/>
                </a:moveTo>
                <a:cubicBezTo>
                  <a:pt x="101" y="273"/>
                  <a:pt x="101" y="271"/>
                  <a:pt x="101" y="270"/>
                </a:cubicBezTo>
                <a:cubicBezTo>
                  <a:pt x="102" y="270"/>
                  <a:pt x="103" y="273"/>
                  <a:pt x="102" y="273"/>
                </a:cubicBezTo>
                <a:close/>
                <a:moveTo>
                  <a:pt x="102" y="211"/>
                </a:moveTo>
                <a:cubicBezTo>
                  <a:pt x="102" y="210"/>
                  <a:pt x="103" y="210"/>
                  <a:pt x="102" y="210"/>
                </a:cubicBezTo>
                <a:cubicBezTo>
                  <a:pt x="102" y="210"/>
                  <a:pt x="102" y="211"/>
                  <a:pt x="102" y="211"/>
                </a:cubicBezTo>
                <a:close/>
                <a:moveTo>
                  <a:pt x="101" y="211"/>
                </a:moveTo>
                <a:cubicBezTo>
                  <a:pt x="101" y="211"/>
                  <a:pt x="101" y="210"/>
                  <a:pt x="101" y="210"/>
                </a:cubicBezTo>
                <a:cubicBezTo>
                  <a:pt x="101" y="211"/>
                  <a:pt x="100" y="212"/>
                  <a:pt x="101" y="211"/>
                </a:cubicBezTo>
                <a:close/>
                <a:moveTo>
                  <a:pt x="103" y="355"/>
                </a:moveTo>
                <a:cubicBezTo>
                  <a:pt x="102" y="355"/>
                  <a:pt x="102" y="354"/>
                  <a:pt x="102" y="353"/>
                </a:cubicBezTo>
                <a:cubicBezTo>
                  <a:pt x="103" y="354"/>
                  <a:pt x="103" y="354"/>
                  <a:pt x="103" y="355"/>
                </a:cubicBezTo>
                <a:close/>
                <a:moveTo>
                  <a:pt x="105" y="290"/>
                </a:moveTo>
                <a:cubicBezTo>
                  <a:pt x="105" y="291"/>
                  <a:pt x="104" y="291"/>
                  <a:pt x="103" y="290"/>
                </a:cubicBezTo>
                <a:cubicBezTo>
                  <a:pt x="101" y="289"/>
                  <a:pt x="106" y="287"/>
                  <a:pt x="105" y="290"/>
                </a:cubicBezTo>
                <a:close/>
                <a:moveTo>
                  <a:pt x="103" y="252"/>
                </a:moveTo>
                <a:cubicBezTo>
                  <a:pt x="104" y="252"/>
                  <a:pt x="103" y="253"/>
                  <a:pt x="103" y="252"/>
                </a:cubicBezTo>
                <a:close/>
                <a:moveTo>
                  <a:pt x="105" y="207"/>
                </a:moveTo>
                <a:cubicBezTo>
                  <a:pt x="104" y="207"/>
                  <a:pt x="103" y="205"/>
                  <a:pt x="102" y="205"/>
                </a:cubicBezTo>
                <a:cubicBezTo>
                  <a:pt x="102" y="206"/>
                  <a:pt x="103" y="207"/>
                  <a:pt x="102" y="207"/>
                </a:cubicBezTo>
                <a:cubicBezTo>
                  <a:pt x="102" y="206"/>
                  <a:pt x="98" y="203"/>
                  <a:pt x="98" y="200"/>
                </a:cubicBezTo>
                <a:cubicBezTo>
                  <a:pt x="98" y="199"/>
                  <a:pt x="99" y="196"/>
                  <a:pt x="102" y="196"/>
                </a:cubicBezTo>
                <a:cubicBezTo>
                  <a:pt x="103" y="197"/>
                  <a:pt x="106" y="201"/>
                  <a:pt x="106" y="203"/>
                </a:cubicBezTo>
                <a:cubicBezTo>
                  <a:pt x="105" y="204"/>
                  <a:pt x="105" y="205"/>
                  <a:pt x="105" y="206"/>
                </a:cubicBezTo>
                <a:cubicBezTo>
                  <a:pt x="105" y="206"/>
                  <a:pt x="106" y="207"/>
                  <a:pt x="105" y="207"/>
                </a:cubicBezTo>
                <a:close/>
                <a:moveTo>
                  <a:pt x="106" y="270"/>
                </a:moveTo>
                <a:cubicBezTo>
                  <a:pt x="105" y="270"/>
                  <a:pt x="106" y="270"/>
                  <a:pt x="106" y="270"/>
                </a:cubicBezTo>
                <a:close/>
                <a:moveTo>
                  <a:pt x="106" y="271"/>
                </a:moveTo>
                <a:cubicBezTo>
                  <a:pt x="106" y="271"/>
                  <a:pt x="106" y="271"/>
                  <a:pt x="106" y="271"/>
                </a:cubicBezTo>
                <a:cubicBezTo>
                  <a:pt x="106" y="271"/>
                  <a:pt x="106" y="271"/>
                  <a:pt x="106" y="271"/>
                </a:cubicBezTo>
                <a:cubicBezTo>
                  <a:pt x="106" y="271"/>
                  <a:pt x="106" y="271"/>
                  <a:pt x="106" y="271"/>
                </a:cubicBezTo>
                <a:close/>
                <a:moveTo>
                  <a:pt x="107" y="250"/>
                </a:moveTo>
                <a:cubicBezTo>
                  <a:pt x="107" y="249"/>
                  <a:pt x="108" y="250"/>
                  <a:pt x="109" y="250"/>
                </a:cubicBezTo>
                <a:cubicBezTo>
                  <a:pt x="112" y="250"/>
                  <a:pt x="112" y="254"/>
                  <a:pt x="111" y="255"/>
                </a:cubicBezTo>
                <a:cubicBezTo>
                  <a:pt x="111" y="255"/>
                  <a:pt x="111" y="255"/>
                  <a:pt x="111" y="255"/>
                </a:cubicBezTo>
                <a:cubicBezTo>
                  <a:pt x="111" y="255"/>
                  <a:pt x="111" y="255"/>
                  <a:pt x="111" y="255"/>
                </a:cubicBezTo>
                <a:cubicBezTo>
                  <a:pt x="111" y="259"/>
                  <a:pt x="102" y="254"/>
                  <a:pt x="107" y="250"/>
                </a:cubicBezTo>
                <a:close/>
                <a:moveTo>
                  <a:pt x="107" y="458"/>
                </a:moveTo>
                <a:cubicBezTo>
                  <a:pt x="108" y="460"/>
                  <a:pt x="106" y="460"/>
                  <a:pt x="107" y="458"/>
                </a:cubicBezTo>
                <a:close/>
                <a:moveTo>
                  <a:pt x="109" y="360"/>
                </a:moveTo>
                <a:cubicBezTo>
                  <a:pt x="111" y="360"/>
                  <a:pt x="110" y="363"/>
                  <a:pt x="109" y="363"/>
                </a:cubicBezTo>
                <a:cubicBezTo>
                  <a:pt x="108" y="362"/>
                  <a:pt x="108" y="361"/>
                  <a:pt x="109" y="360"/>
                </a:cubicBezTo>
                <a:close/>
                <a:moveTo>
                  <a:pt x="109" y="423"/>
                </a:moveTo>
                <a:cubicBezTo>
                  <a:pt x="109" y="423"/>
                  <a:pt x="108" y="420"/>
                  <a:pt x="110" y="422"/>
                </a:cubicBezTo>
                <a:cubicBezTo>
                  <a:pt x="112" y="425"/>
                  <a:pt x="112" y="431"/>
                  <a:pt x="113" y="435"/>
                </a:cubicBezTo>
                <a:cubicBezTo>
                  <a:pt x="111" y="432"/>
                  <a:pt x="109" y="427"/>
                  <a:pt x="109" y="423"/>
                </a:cubicBezTo>
                <a:close/>
                <a:moveTo>
                  <a:pt x="113" y="436"/>
                </a:moveTo>
                <a:cubicBezTo>
                  <a:pt x="115" y="437"/>
                  <a:pt x="117" y="442"/>
                  <a:pt x="117" y="446"/>
                </a:cubicBezTo>
                <a:cubicBezTo>
                  <a:pt x="115" y="443"/>
                  <a:pt x="114" y="439"/>
                  <a:pt x="113" y="436"/>
                </a:cubicBezTo>
                <a:close/>
                <a:moveTo>
                  <a:pt x="116" y="414"/>
                </a:moveTo>
                <a:cubicBezTo>
                  <a:pt x="116" y="415"/>
                  <a:pt x="114" y="414"/>
                  <a:pt x="116" y="414"/>
                </a:cubicBezTo>
                <a:close/>
                <a:moveTo>
                  <a:pt x="117" y="400"/>
                </a:moveTo>
                <a:cubicBezTo>
                  <a:pt x="115" y="401"/>
                  <a:pt x="112" y="391"/>
                  <a:pt x="116" y="392"/>
                </a:cubicBezTo>
                <a:cubicBezTo>
                  <a:pt x="118" y="393"/>
                  <a:pt x="117" y="396"/>
                  <a:pt x="117" y="397"/>
                </a:cubicBezTo>
                <a:cubicBezTo>
                  <a:pt x="117" y="398"/>
                  <a:pt x="116" y="398"/>
                  <a:pt x="116" y="398"/>
                </a:cubicBezTo>
                <a:cubicBezTo>
                  <a:pt x="116" y="398"/>
                  <a:pt x="118" y="400"/>
                  <a:pt x="117" y="400"/>
                </a:cubicBezTo>
                <a:close/>
                <a:moveTo>
                  <a:pt x="119" y="371"/>
                </a:moveTo>
                <a:cubicBezTo>
                  <a:pt x="117" y="370"/>
                  <a:pt x="120" y="368"/>
                  <a:pt x="119" y="371"/>
                </a:cubicBezTo>
                <a:close/>
                <a:moveTo>
                  <a:pt x="118" y="368"/>
                </a:moveTo>
                <a:cubicBezTo>
                  <a:pt x="118" y="368"/>
                  <a:pt x="117" y="366"/>
                  <a:pt x="118" y="366"/>
                </a:cubicBezTo>
                <a:cubicBezTo>
                  <a:pt x="119" y="365"/>
                  <a:pt x="120" y="369"/>
                  <a:pt x="118" y="368"/>
                </a:cubicBezTo>
                <a:close/>
                <a:moveTo>
                  <a:pt x="119" y="278"/>
                </a:moveTo>
                <a:cubicBezTo>
                  <a:pt x="118" y="278"/>
                  <a:pt x="118" y="277"/>
                  <a:pt x="118" y="276"/>
                </a:cubicBezTo>
                <a:cubicBezTo>
                  <a:pt x="121" y="274"/>
                  <a:pt x="122" y="280"/>
                  <a:pt x="119" y="278"/>
                </a:cubicBezTo>
                <a:close/>
                <a:moveTo>
                  <a:pt x="120" y="239"/>
                </a:moveTo>
                <a:cubicBezTo>
                  <a:pt x="119" y="241"/>
                  <a:pt x="117" y="235"/>
                  <a:pt x="119" y="235"/>
                </a:cubicBezTo>
                <a:cubicBezTo>
                  <a:pt x="121" y="234"/>
                  <a:pt x="122" y="238"/>
                  <a:pt x="120" y="239"/>
                </a:cubicBezTo>
                <a:close/>
                <a:moveTo>
                  <a:pt x="133" y="398"/>
                </a:moveTo>
                <a:cubicBezTo>
                  <a:pt x="131" y="392"/>
                  <a:pt x="130" y="386"/>
                  <a:pt x="128" y="380"/>
                </a:cubicBezTo>
                <a:cubicBezTo>
                  <a:pt x="125" y="375"/>
                  <a:pt x="122" y="370"/>
                  <a:pt x="122" y="364"/>
                </a:cubicBezTo>
                <a:cubicBezTo>
                  <a:pt x="122" y="364"/>
                  <a:pt x="123" y="363"/>
                  <a:pt x="123" y="363"/>
                </a:cubicBezTo>
                <a:cubicBezTo>
                  <a:pt x="124" y="363"/>
                  <a:pt x="128" y="373"/>
                  <a:pt x="128" y="376"/>
                </a:cubicBezTo>
                <a:cubicBezTo>
                  <a:pt x="129" y="381"/>
                  <a:pt x="131" y="385"/>
                  <a:pt x="132" y="390"/>
                </a:cubicBezTo>
                <a:cubicBezTo>
                  <a:pt x="132" y="392"/>
                  <a:pt x="136" y="397"/>
                  <a:pt x="135" y="399"/>
                </a:cubicBezTo>
                <a:cubicBezTo>
                  <a:pt x="135" y="403"/>
                  <a:pt x="133" y="398"/>
                  <a:pt x="133" y="398"/>
                </a:cubicBezTo>
                <a:close/>
                <a:moveTo>
                  <a:pt x="134" y="304"/>
                </a:moveTo>
                <a:cubicBezTo>
                  <a:pt x="134" y="304"/>
                  <a:pt x="133" y="304"/>
                  <a:pt x="133" y="303"/>
                </a:cubicBezTo>
                <a:cubicBezTo>
                  <a:pt x="133" y="303"/>
                  <a:pt x="134" y="304"/>
                  <a:pt x="134" y="304"/>
                </a:cubicBezTo>
                <a:close/>
                <a:moveTo>
                  <a:pt x="134" y="250"/>
                </a:moveTo>
                <a:cubicBezTo>
                  <a:pt x="135" y="250"/>
                  <a:pt x="136" y="254"/>
                  <a:pt x="134" y="254"/>
                </a:cubicBezTo>
                <a:cubicBezTo>
                  <a:pt x="134" y="254"/>
                  <a:pt x="132" y="250"/>
                  <a:pt x="134" y="250"/>
                </a:cubicBezTo>
                <a:close/>
                <a:moveTo>
                  <a:pt x="136" y="417"/>
                </a:moveTo>
                <a:cubicBezTo>
                  <a:pt x="137" y="418"/>
                  <a:pt x="137" y="419"/>
                  <a:pt x="138" y="420"/>
                </a:cubicBezTo>
                <a:cubicBezTo>
                  <a:pt x="137" y="420"/>
                  <a:pt x="136" y="418"/>
                  <a:pt x="136" y="417"/>
                </a:cubicBezTo>
                <a:close/>
                <a:moveTo>
                  <a:pt x="137" y="421"/>
                </a:moveTo>
                <a:cubicBezTo>
                  <a:pt x="137" y="422"/>
                  <a:pt x="138" y="420"/>
                  <a:pt x="137" y="421"/>
                </a:cubicBezTo>
                <a:close/>
                <a:moveTo>
                  <a:pt x="135" y="249"/>
                </a:moveTo>
                <a:cubicBezTo>
                  <a:pt x="136" y="248"/>
                  <a:pt x="133" y="247"/>
                  <a:pt x="132" y="246"/>
                </a:cubicBezTo>
                <a:cubicBezTo>
                  <a:pt x="129" y="238"/>
                  <a:pt x="140" y="237"/>
                  <a:pt x="139" y="245"/>
                </a:cubicBezTo>
                <a:cubicBezTo>
                  <a:pt x="139" y="246"/>
                  <a:pt x="138" y="249"/>
                  <a:pt x="135" y="249"/>
                </a:cubicBezTo>
                <a:close/>
                <a:moveTo>
                  <a:pt x="138" y="250"/>
                </a:moveTo>
                <a:cubicBezTo>
                  <a:pt x="138" y="250"/>
                  <a:pt x="138" y="249"/>
                  <a:pt x="138" y="249"/>
                </a:cubicBezTo>
                <a:cubicBezTo>
                  <a:pt x="139" y="248"/>
                  <a:pt x="139" y="250"/>
                  <a:pt x="138" y="250"/>
                </a:cubicBezTo>
                <a:close/>
                <a:moveTo>
                  <a:pt x="140" y="271"/>
                </a:moveTo>
                <a:cubicBezTo>
                  <a:pt x="140" y="271"/>
                  <a:pt x="140" y="270"/>
                  <a:pt x="140" y="271"/>
                </a:cubicBezTo>
                <a:close/>
                <a:moveTo>
                  <a:pt x="139" y="232"/>
                </a:moveTo>
                <a:cubicBezTo>
                  <a:pt x="140" y="232"/>
                  <a:pt x="141" y="232"/>
                  <a:pt x="141" y="232"/>
                </a:cubicBezTo>
                <a:cubicBezTo>
                  <a:pt x="145" y="235"/>
                  <a:pt x="139" y="234"/>
                  <a:pt x="139" y="232"/>
                </a:cubicBezTo>
                <a:close/>
                <a:moveTo>
                  <a:pt x="142" y="304"/>
                </a:moveTo>
                <a:cubicBezTo>
                  <a:pt x="143" y="306"/>
                  <a:pt x="145" y="309"/>
                  <a:pt x="143" y="310"/>
                </a:cubicBezTo>
                <a:cubicBezTo>
                  <a:pt x="144" y="308"/>
                  <a:pt x="142" y="307"/>
                  <a:pt x="142" y="304"/>
                </a:cubicBezTo>
                <a:close/>
                <a:moveTo>
                  <a:pt x="144" y="445"/>
                </a:moveTo>
                <a:cubicBezTo>
                  <a:pt x="144" y="445"/>
                  <a:pt x="144" y="444"/>
                  <a:pt x="144" y="444"/>
                </a:cubicBezTo>
                <a:cubicBezTo>
                  <a:pt x="147" y="445"/>
                  <a:pt x="141" y="446"/>
                  <a:pt x="144" y="445"/>
                </a:cubicBezTo>
                <a:close/>
                <a:moveTo>
                  <a:pt x="144" y="390"/>
                </a:moveTo>
                <a:cubicBezTo>
                  <a:pt x="145" y="390"/>
                  <a:pt x="144" y="391"/>
                  <a:pt x="145" y="391"/>
                </a:cubicBezTo>
                <a:cubicBezTo>
                  <a:pt x="144" y="392"/>
                  <a:pt x="144" y="390"/>
                  <a:pt x="144" y="390"/>
                </a:cubicBezTo>
                <a:close/>
                <a:moveTo>
                  <a:pt x="145" y="345"/>
                </a:moveTo>
                <a:cubicBezTo>
                  <a:pt x="141" y="343"/>
                  <a:pt x="142" y="334"/>
                  <a:pt x="147" y="334"/>
                </a:cubicBezTo>
                <a:cubicBezTo>
                  <a:pt x="153" y="335"/>
                  <a:pt x="151" y="349"/>
                  <a:pt x="145" y="345"/>
                </a:cubicBezTo>
                <a:close/>
                <a:moveTo>
                  <a:pt x="150" y="229"/>
                </a:moveTo>
                <a:cubicBezTo>
                  <a:pt x="151" y="228"/>
                  <a:pt x="152" y="230"/>
                  <a:pt x="151" y="230"/>
                </a:cubicBezTo>
                <a:cubicBezTo>
                  <a:pt x="151" y="231"/>
                  <a:pt x="150" y="229"/>
                  <a:pt x="150" y="229"/>
                </a:cubicBezTo>
                <a:close/>
                <a:moveTo>
                  <a:pt x="152" y="263"/>
                </a:moveTo>
                <a:cubicBezTo>
                  <a:pt x="150" y="260"/>
                  <a:pt x="152" y="259"/>
                  <a:pt x="152" y="263"/>
                </a:cubicBezTo>
                <a:close/>
                <a:moveTo>
                  <a:pt x="156" y="234"/>
                </a:moveTo>
                <a:cubicBezTo>
                  <a:pt x="155" y="233"/>
                  <a:pt x="153" y="230"/>
                  <a:pt x="152" y="229"/>
                </a:cubicBezTo>
                <a:cubicBezTo>
                  <a:pt x="151" y="226"/>
                  <a:pt x="157" y="231"/>
                  <a:pt x="156" y="234"/>
                </a:cubicBezTo>
                <a:close/>
                <a:moveTo>
                  <a:pt x="153" y="303"/>
                </a:moveTo>
                <a:cubicBezTo>
                  <a:pt x="154" y="304"/>
                  <a:pt x="152" y="305"/>
                  <a:pt x="153" y="303"/>
                </a:cubicBezTo>
                <a:close/>
                <a:moveTo>
                  <a:pt x="156" y="299"/>
                </a:moveTo>
                <a:cubicBezTo>
                  <a:pt x="155" y="299"/>
                  <a:pt x="155" y="299"/>
                  <a:pt x="155" y="299"/>
                </a:cubicBezTo>
                <a:cubicBezTo>
                  <a:pt x="155" y="299"/>
                  <a:pt x="156" y="298"/>
                  <a:pt x="156" y="298"/>
                </a:cubicBezTo>
                <a:cubicBezTo>
                  <a:pt x="156" y="298"/>
                  <a:pt x="156" y="298"/>
                  <a:pt x="156" y="299"/>
                </a:cubicBezTo>
                <a:close/>
                <a:moveTo>
                  <a:pt x="157" y="293"/>
                </a:moveTo>
                <a:cubicBezTo>
                  <a:pt x="157" y="293"/>
                  <a:pt x="152" y="289"/>
                  <a:pt x="154" y="288"/>
                </a:cubicBezTo>
                <a:cubicBezTo>
                  <a:pt x="156" y="286"/>
                  <a:pt x="158" y="293"/>
                  <a:pt x="157" y="293"/>
                </a:cubicBezTo>
                <a:close/>
                <a:moveTo>
                  <a:pt x="158" y="227"/>
                </a:moveTo>
                <a:cubicBezTo>
                  <a:pt x="158" y="227"/>
                  <a:pt x="159" y="228"/>
                  <a:pt x="159" y="228"/>
                </a:cubicBezTo>
                <a:cubicBezTo>
                  <a:pt x="158" y="229"/>
                  <a:pt x="158" y="227"/>
                  <a:pt x="158" y="227"/>
                </a:cubicBezTo>
                <a:close/>
                <a:moveTo>
                  <a:pt x="180" y="198"/>
                </a:moveTo>
                <a:cubicBezTo>
                  <a:pt x="180" y="198"/>
                  <a:pt x="179" y="198"/>
                  <a:pt x="179" y="197"/>
                </a:cubicBezTo>
                <a:cubicBezTo>
                  <a:pt x="180" y="197"/>
                  <a:pt x="181" y="198"/>
                  <a:pt x="180" y="198"/>
                </a:cubicBezTo>
                <a:close/>
                <a:moveTo>
                  <a:pt x="177" y="199"/>
                </a:moveTo>
                <a:cubicBezTo>
                  <a:pt x="178" y="199"/>
                  <a:pt x="179" y="201"/>
                  <a:pt x="177" y="200"/>
                </a:cubicBezTo>
                <a:cubicBezTo>
                  <a:pt x="177" y="200"/>
                  <a:pt x="177" y="200"/>
                  <a:pt x="177" y="199"/>
                </a:cubicBezTo>
                <a:close/>
                <a:moveTo>
                  <a:pt x="175" y="198"/>
                </a:moveTo>
                <a:cubicBezTo>
                  <a:pt x="177" y="197"/>
                  <a:pt x="174" y="198"/>
                  <a:pt x="175" y="198"/>
                </a:cubicBezTo>
                <a:close/>
                <a:moveTo>
                  <a:pt x="178" y="260"/>
                </a:moveTo>
                <a:cubicBezTo>
                  <a:pt x="176" y="259"/>
                  <a:pt x="176" y="258"/>
                  <a:pt x="175" y="257"/>
                </a:cubicBezTo>
                <a:cubicBezTo>
                  <a:pt x="176" y="257"/>
                  <a:pt x="178" y="259"/>
                  <a:pt x="178" y="260"/>
                </a:cubicBezTo>
                <a:close/>
                <a:moveTo>
                  <a:pt x="174" y="205"/>
                </a:moveTo>
                <a:cubicBezTo>
                  <a:pt x="173" y="205"/>
                  <a:pt x="175" y="206"/>
                  <a:pt x="174" y="207"/>
                </a:cubicBezTo>
                <a:cubicBezTo>
                  <a:pt x="174" y="207"/>
                  <a:pt x="172" y="205"/>
                  <a:pt x="174" y="205"/>
                </a:cubicBezTo>
                <a:close/>
                <a:moveTo>
                  <a:pt x="173" y="231"/>
                </a:moveTo>
                <a:cubicBezTo>
                  <a:pt x="171" y="230"/>
                  <a:pt x="174" y="232"/>
                  <a:pt x="173" y="231"/>
                </a:cubicBezTo>
                <a:close/>
                <a:moveTo>
                  <a:pt x="170" y="230"/>
                </a:moveTo>
                <a:cubicBezTo>
                  <a:pt x="171" y="230"/>
                  <a:pt x="172" y="233"/>
                  <a:pt x="171" y="234"/>
                </a:cubicBezTo>
                <a:cubicBezTo>
                  <a:pt x="170" y="235"/>
                  <a:pt x="168" y="231"/>
                  <a:pt x="170" y="230"/>
                </a:cubicBezTo>
                <a:close/>
                <a:moveTo>
                  <a:pt x="167" y="193"/>
                </a:moveTo>
                <a:cubicBezTo>
                  <a:pt x="168" y="192"/>
                  <a:pt x="169" y="194"/>
                  <a:pt x="168" y="195"/>
                </a:cubicBezTo>
                <a:cubicBezTo>
                  <a:pt x="167" y="195"/>
                  <a:pt x="167" y="193"/>
                  <a:pt x="167" y="193"/>
                </a:cubicBezTo>
                <a:close/>
                <a:moveTo>
                  <a:pt x="168" y="274"/>
                </a:moveTo>
                <a:cubicBezTo>
                  <a:pt x="167" y="273"/>
                  <a:pt x="167" y="272"/>
                  <a:pt x="166" y="272"/>
                </a:cubicBezTo>
                <a:cubicBezTo>
                  <a:pt x="167" y="272"/>
                  <a:pt x="168" y="273"/>
                  <a:pt x="168" y="274"/>
                </a:cubicBezTo>
                <a:close/>
                <a:moveTo>
                  <a:pt x="166" y="208"/>
                </a:moveTo>
                <a:cubicBezTo>
                  <a:pt x="166" y="208"/>
                  <a:pt x="166" y="208"/>
                  <a:pt x="166" y="207"/>
                </a:cubicBezTo>
                <a:cubicBezTo>
                  <a:pt x="166" y="206"/>
                  <a:pt x="168" y="208"/>
                  <a:pt x="166" y="208"/>
                </a:cubicBezTo>
                <a:close/>
                <a:moveTo>
                  <a:pt x="167" y="224"/>
                </a:moveTo>
                <a:cubicBezTo>
                  <a:pt x="165" y="222"/>
                  <a:pt x="165" y="218"/>
                  <a:pt x="163" y="214"/>
                </a:cubicBezTo>
                <a:cubicBezTo>
                  <a:pt x="166" y="217"/>
                  <a:pt x="166" y="221"/>
                  <a:pt x="167" y="224"/>
                </a:cubicBezTo>
                <a:close/>
                <a:moveTo>
                  <a:pt x="166" y="338"/>
                </a:moveTo>
                <a:cubicBezTo>
                  <a:pt x="164" y="337"/>
                  <a:pt x="166" y="334"/>
                  <a:pt x="166" y="338"/>
                </a:cubicBezTo>
                <a:close/>
                <a:moveTo>
                  <a:pt x="163" y="266"/>
                </a:moveTo>
                <a:cubicBezTo>
                  <a:pt x="165" y="266"/>
                  <a:pt x="165" y="269"/>
                  <a:pt x="166" y="270"/>
                </a:cubicBezTo>
                <a:cubicBezTo>
                  <a:pt x="164" y="270"/>
                  <a:pt x="164" y="267"/>
                  <a:pt x="163" y="266"/>
                </a:cubicBezTo>
                <a:close/>
                <a:moveTo>
                  <a:pt x="161" y="230"/>
                </a:moveTo>
                <a:cubicBezTo>
                  <a:pt x="159" y="230"/>
                  <a:pt x="160" y="228"/>
                  <a:pt x="161" y="230"/>
                </a:cubicBezTo>
                <a:close/>
                <a:moveTo>
                  <a:pt x="162" y="222"/>
                </a:moveTo>
                <a:cubicBezTo>
                  <a:pt x="162" y="222"/>
                  <a:pt x="164" y="223"/>
                  <a:pt x="164" y="223"/>
                </a:cubicBezTo>
                <a:cubicBezTo>
                  <a:pt x="165" y="223"/>
                  <a:pt x="166" y="224"/>
                  <a:pt x="165" y="226"/>
                </a:cubicBezTo>
                <a:cubicBezTo>
                  <a:pt x="165" y="226"/>
                  <a:pt x="164" y="226"/>
                  <a:pt x="164" y="225"/>
                </a:cubicBezTo>
                <a:cubicBezTo>
                  <a:pt x="164" y="226"/>
                  <a:pt x="163" y="229"/>
                  <a:pt x="162" y="229"/>
                </a:cubicBezTo>
                <a:cubicBezTo>
                  <a:pt x="159" y="229"/>
                  <a:pt x="161" y="222"/>
                  <a:pt x="162" y="222"/>
                </a:cubicBezTo>
                <a:close/>
                <a:moveTo>
                  <a:pt x="162" y="231"/>
                </a:moveTo>
                <a:cubicBezTo>
                  <a:pt x="162" y="231"/>
                  <a:pt x="163" y="232"/>
                  <a:pt x="162" y="232"/>
                </a:cubicBezTo>
                <a:cubicBezTo>
                  <a:pt x="162" y="232"/>
                  <a:pt x="162" y="231"/>
                  <a:pt x="162" y="231"/>
                </a:cubicBezTo>
                <a:close/>
                <a:moveTo>
                  <a:pt x="163" y="344"/>
                </a:moveTo>
                <a:cubicBezTo>
                  <a:pt x="164" y="346"/>
                  <a:pt x="166" y="350"/>
                  <a:pt x="167" y="353"/>
                </a:cubicBezTo>
                <a:cubicBezTo>
                  <a:pt x="165" y="351"/>
                  <a:pt x="164" y="347"/>
                  <a:pt x="163" y="344"/>
                </a:cubicBezTo>
                <a:close/>
                <a:moveTo>
                  <a:pt x="167" y="354"/>
                </a:moveTo>
                <a:cubicBezTo>
                  <a:pt x="167" y="353"/>
                  <a:pt x="168" y="355"/>
                  <a:pt x="168" y="355"/>
                </a:cubicBezTo>
                <a:cubicBezTo>
                  <a:pt x="168" y="355"/>
                  <a:pt x="167" y="355"/>
                  <a:pt x="167" y="354"/>
                </a:cubicBezTo>
                <a:close/>
                <a:moveTo>
                  <a:pt x="170" y="358"/>
                </a:moveTo>
                <a:cubicBezTo>
                  <a:pt x="169" y="358"/>
                  <a:pt x="168" y="356"/>
                  <a:pt x="168" y="356"/>
                </a:cubicBezTo>
                <a:cubicBezTo>
                  <a:pt x="168" y="355"/>
                  <a:pt x="171" y="358"/>
                  <a:pt x="170" y="358"/>
                </a:cubicBezTo>
                <a:close/>
                <a:moveTo>
                  <a:pt x="171" y="267"/>
                </a:moveTo>
                <a:cubicBezTo>
                  <a:pt x="169" y="267"/>
                  <a:pt x="170" y="265"/>
                  <a:pt x="171" y="267"/>
                </a:cubicBezTo>
                <a:close/>
                <a:moveTo>
                  <a:pt x="173" y="269"/>
                </a:moveTo>
                <a:cubicBezTo>
                  <a:pt x="171" y="269"/>
                  <a:pt x="172" y="267"/>
                  <a:pt x="173" y="269"/>
                </a:cubicBezTo>
                <a:close/>
                <a:moveTo>
                  <a:pt x="173" y="268"/>
                </a:moveTo>
                <a:cubicBezTo>
                  <a:pt x="172" y="269"/>
                  <a:pt x="170" y="264"/>
                  <a:pt x="173" y="264"/>
                </a:cubicBezTo>
                <a:cubicBezTo>
                  <a:pt x="175" y="264"/>
                  <a:pt x="175" y="268"/>
                  <a:pt x="173" y="268"/>
                </a:cubicBezTo>
                <a:close/>
                <a:moveTo>
                  <a:pt x="177" y="280"/>
                </a:moveTo>
                <a:cubicBezTo>
                  <a:pt x="175" y="280"/>
                  <a:pt x="175" y="278"/>
                  <a:pt x="174" y="277"/>
                </a:cubicBezTo>
                <a:cubicBezTo>
                  <a:pt x="175" y="277"/>
                  <a:pt x="176" y="279"/>
                  <a:pt x="177" y="280"/>
                </a:cubicBezTo>
                <a:close/>
                <a:moveTo>
                  <a:pt x="179" y="434"/>
                </a:moveTo>
                <a:cubicBezTo>
                  <a:pt x="179" y="433"/>
                  <a:pt x="178" y="432"/>
                  <a:pt x="179" y="431"/>
                </a:cubicBezTo>
                <a:cubicBezTo>
                  <a:pt x="179" y="432"/>
                  <a:pt x="179" y="433"/>
                  <a:pt x="179" y="434"/>
                </a:cubicBezTo>
                <a:close/>
                <a:moveTo>
                  <a:pt x="178" y="387"/>
                </a:moveTo>
                <a:cubicBezTo>
                  <a:pt x="177" y="387"/>
                  <a:pt x="174" y="383"/>
                  <a:pt x="176" y="381"/>
                </a:cubicBezTo>
                <a:cubicBezTo>
                  <a:pt x="176" y="381"/>
                  <a:pt x="178" y="381"/>
                  <a:pt x="178" y="381"/>
                </a:cubicBezTo>
                <a:cubicBezTo>
                  <a:pt x="178" y="380"/>
                  <a:pt x="176" y="378"/>
                  <a:pt x="176" y="377"/>
                </a:cubicBezTo>
                <a:cubicBezTo>
                  <a:pt x="176" y="377"/>
                  <a:pt x="179" y="381"/>
                  <a:pt x="179" y="383"/>
                </a:cubicBezTo>
                <a:cubicBezTo>
                  <a:pt x="179" y="383"/>
                  <a:pt x="178" y="387"/>
                  <a:pt x="178" y="387"/>
                </a:cubicBezTo>
                <a:close/>
                <a:moveTo>
                  <a:pt x="178" y="354"/>
                </a:moveTo>
                <a:cubicBezTo>
                  <a:pt x="179" y="353"/>
                  <a:pt x="180" y="356"/>
                  <a:pt x="179" y="356"/>
                </a:cubicBezTo>
                <a:cubicBezTo>
                  <a:pt x="178" y="356"/>
                  <a:pt x="178" y="354"/>
                  <a:pt x="178" y="354"/>
                </a:cubicBezTo>
                <a:close/>
                <a:moveTo>
                  <a:pt x="181" y="290"/>
                </a:moveTo>
                <a:cubicBezTo>
                  <a:pt x="179" y="287"/>
                  <a:pt x="177" y="285"/>
                  <a:pt x="176" y="284"/>
                </a:cubicBezTo>
                <a:cubicBezTo>
                  <a:pt x="176" y="281"/>
                  <a:pt x="179" y="285"/>
                  <a:pt x="179" y="285"/>
                </a:cubicBezTo>
                <a:cubicBezTo>
                  <a:pt x="180" y="287"/>
                  <a:pt x="180" y="288"/>
                  <a:pt x="181" y="290"/>
                </a:cubicBezTo>
                <a:cubicBezTo>
                  <a:pt x="181" y="290"/>
                  <a:pt x="181" y="291"/>
                  <a:pt x="181" y="291"/>
                </a:cubicBezTo>
                <a:cubicBezTo>
                  <a:pt x="181" y="291"/>
                  <a:pt x="181" y="290"/>
                  <a:pt x="181" y="290"/>
                </a:cubicBezTo>
                <a:close/>
                <a:moveTo>
                  <a:pt x="182" y="217"/>
                </a:moveTo>
                <a:cubicBezTo>
                  <a:pt x="182" y="218"/>
                  <a:pt x="181" y="217"/>
                  <a:pt x="181" y="217"/>
                </a:cubicBezTo>
                <a:cubicBezTo>
                  <a:pt x="179" y="215"/>
                  <a:pt x="183" y="216"/>
                  <a:pt x="182" y="217"/>
                </a:cubicBezTo>
                <a:close/>
                <a:moveTo>
                  <a:pt x="310" y="745"/>
                </a:moveTo>
                <a:cubicBezTo>
                  <a:pt x="309" y="747"/>
                  <a:pt x="304" y="748"/>
                  <a:pt x="302" y="747"/>
                </a:cubicBezTo>
                <a:cubicBezTo>
                  <a:pt x="301" y="747"/>
                  <a:pt x="299" y="748"/>
                  <a:pt x="298" y="747"/>
                </a:cubicBezTo>
                <a:cubicBezTo>
                  <a:pt x="297" y="747"/>
                  <a:pt x="298" y="744"/>
                  <a:pt x="296" y="744"/>
                </a:cubicBezTo>
                <a:cubicBezTo>
                  <a:pt x="300" y="744"/>
                  <a:pt x="295" y="742"/>
                  <a:pt x="295" y="742"/>
                </a:cubicBezTo>
                <a:cubicBezTo>
                  <a:pt x="294" y="739"/>
                  <a:pt x="301" y="738"/>
                  <a:pt x="302" y="738"/>
                </a:cubicBezTo>
                <a:cubicBezTo>
                  <a:pt x="304" y="738"/>
                  <a:pt x="311" y="740"/>
                  <a:pt x="310" y="745"/>
                </a:cubicBezTo>
                <a:close/>
                <a:moveTo>
                  <a:pt x="295" y="179"/>
                </a:moveTo>
                <a:cubicBezTo>
                  <a:pt x="292" y="179"/>
                  <a:pt x="292" y="177"/>
                  <a:pt x="295" y="179"/>
                </a:cubicBezTo>
                <a:close/>
                <a:moveTo>
                  <a:pt x="292" y="164"/>
                </a:moveTo>
                <a:cubicBezTo>
                  <a:pt x="292" y="164"/>
                  <a:pt x="292" y="163"/>
                  <a:pt x="292" y="163"/>
                </a:cubicBezTo>
                <a:cubicBezTo>
                  <a:pt x="292" y="162"/>
                  <a:pt x="294" y="164"/>
                  <a:pt x="292" y="164"/>
                </a:cubicBezTo>
                <a:close/>
                <a:moveTo>
                  <a:pt x="295" y="173"/>
                </a:moveTo>
                <a:cubicBezTo>
                  <a:pt x="294" y="173"/>
                  <a:pt x="294" y="171"/>
                  <a:pt x="295" y="172"/>
                </a:cubicBezTo>
                <a:cubicBezTo>
                  <a:pt x="295" y="172"/>
                  <a:pt x="295" y="173"/>
                  <a:pt x="295" y="173"/>
                </a:cubicBezTo>
                <a:close/>
                <a:moveTo>
                  <a:pt x="293" y="108"/>
                </a:moveTo>
                <a:cubicBezTo>
                  <a:pt x="294" y="106"/>
                  <a:pt x="296" y="110"/>
                  <a:pt x="297" y="112"/>
                </a:cubicBezTo>
                <a:cubicBezTo>
                  <a:pt x="295" y="112"/>
                  <a:pt x="292" y="110"/>
                  <a:pt x="293" y="108"/>
                </a:cubicBezTo>
                <a:close/>
                <a:moveTo>
                  <a:pt x="296" y="183"/>
                </a:moveTo>
                <a:cubicBezTo>
                  <a:pt x="298" y="182"/>
                  <a:pt x="300" y="186"/>
                  <a:pt x="298" y="187"/>
                </a:cubicBezTo>
                <a:cubicBezTo>
                  <a:pt x="296" y="189"/>
                  <a:pt x="294" y="184"/>
                  <a:pt x="296" y="183"/>
                </a:cubicBezTo>
                <a:close/>
                <a:moveTo>
                  <a:pt x="297" y="144"/>
                </a:moveTo>
                <a:cubicBezTo>
                  <a:pt x="299" y="144"/>
                  <a:pt x="298" y="146"/>
                  <a:pt x="297" y="144"/>
                </a:cubicBezTo>
                <a:close/>
                <a:moveTo>
                  <a:pt x="300" y="188"/>
                </a:moveTo>
                <a:cubicBezTo>
                  <a:pt x="299" y="187"/>
                  <a:pt x="301" y="189"/>
                  <a:pt x="300" y="188"/>
                </a:cubicBezTo>
                <a:close/>
                <a:moveTo>
                  <a:pt x="301" y="225"/>
                </a:moveTo>
                <a:cubicBezTo>
                  <a:pt x="301" y="225"/>
                  <a:pt x="300" y="224"/>
                  <a:pt x="300" y="224"/>
                </a:cubicBezTo>
                <a:cubicBezTo>
                  <a:pt x="301" y="224"/>
                  <a:pt x="302" y="225"/>
                  <a:pt x="301" y="225"/>
                </a:cubicBezTo>
                <a:close/>
                <a:moveTo>
                  <a:pt x="300" y="518"/>
                </a:moveTo>
                <a:cubicBezTo>
                  <a:pt x="301" y="519"/>
                  <a:pt x="299" y="517"/>
                  <a:pt x="299" y="517"/>
                </a:cubicBezTo>
                <a:cubicBezTo>
                  <a:pt x="299" y="516"/>
                  <a:pt x="300" y="517"/>
                  <a:pt x="300" y="518"/>
                </a:cubicBezTo>
                <a:close/>
                <a:moveTo>
                  <a:pt x="300" y="733"/>
                </a:moveTo>
                <a:cubicBezTo>
                  <a:pt x="301" y="733"/>
                  <a:pt x="299" y="734"/>
                  <a:pt x="299" y="734"/>
                </a:cubicBezTo>
                <a:cubicBezTo>
                  <a:pt x="298" y="733"/>
                  <a:pt x="300" y="733"/>
                  <a:pt x="300" y="733"/>
                </a:cubicBezTo>
                <a:close/>
                <a:moveTo>
                  <a:pt x="298" y="724"/>
                </a:moveTo>
                <a:cubicBezTo>
                  <a:pt x="298" y="723"/>
                  <a:pt x="300" y="725"/>
                  <a:pt x="298" y="724"/>
                </a:cubicBezTo>
                <a:close/>
                <a:moveTo>
                  <a:pt x="297" y="681"/>
                </a:moveTo>
                <a:cubicBezTo>
                  <a:pt x="297" y="681"/>
                  <a:pt x="297" y="681"/>
                  <a:pt x="297" y="681"/>
                </a:cubicBezTo>
                <a:cubicBezTo>
                  <a:pt x="298" y="681"/>
                  <a:pt x="298" y="682"/>
                  <a:pt x="297" y="681"/>
                </a:cubicBezTo>
                <a:close/>
                <a:moveTo>
                  <a:pt x="303" y="683"/>
                </a:moveTo>
                <a:cubicBezTo>
                  <a:pt x="303" y="683"/>
                  <a:pt x="304" y="682"/>
                  <a:pt x="305" y="683"/>
                </a:cubicBezTo>
                <a:cubicBezTo>
                  <a:pt x="305" y="683"/>
                  <a:pt x="303" y="683"/>
                  <a:pt x="303" y="683"/>
                </a:cubicBezTo>
                <a:close/>
                <a:moveTo>
                  <a:pt x="304" y="731"/>
                </a:moveTo>
                <a:cubicBezTo>
                  <a:pt x="305" y="731"/>
                  <a:pt x="302" y="730"/>
                  <a:pt x="304" y="731"/>
                </a:cubicBezTo>
                <a:close/>
                <a:moveTo>
                  <a:pt x="303" y="675"/>
                </a:moveTo>
                <a:cubicBezTo>
                  <a:pt x="305" y="673"/>
                  <a:pt x="305" y="677"/>
                  <a:pt x="303" y="675"/>
                </a:cubicBezTo>
                <a:close/>
                <a:moveTo>
                  <a:pt x="302" y="671"/>
                </a:moveTo>
                <a:cubicBezTo>
                  <a:pt x="302" y="669"/>
                  <a:pt x="304" y="669"/>
                  <a:pt x="305" y="670"/>
                </a:cubicBezTo>
                <a:cubicBezTo>
                  <a:pt x="306" y="671"/>
                  <a:pt x="302" y="672"/>
                  <a:pt x="302" y="671"/>
                </a:cubicBezTo>
                <a:close/>
                <a:moveTo>
                  <a:pt x="304" y="158"/>
                </a:moveTo>
                <a:cubicBezTo>
                  <a:pt x="304" y="158"/>
                  <a:pt x="303" y="158"/>
                  <a:pt x="304" y="157"/>
                </a:cubicBezTo>
                <a:cubicBezTo>
                  <a:pt x="304" y="157"/>
                  <a:pt x="305" y="158"/>
                  <a:pt x="304" y="158"/>
                </a:cubicBezTo>
                <a:close/>
                <a:moveTo>
                  <a:pt x="304" y="613"/>
                </a:moveTo>
                <a:cubicBezTo>
                  <a:pt x="305" y="615"/>
                  <a:pt x="301" y="614"/>
                  <a:pt x="302" y="612"/>
                </a:cubicBezTo>
                <a:cubicBezTo>
                  <a:pt x="302" y="612"/>
                  <a:pt x="304" y="612"/>
                  <a:pt x="304" y="613"/>
                </a:cubicBezTo>
                <a:close/>
                <a:moveTo>
                  <a:pt x="305" y="735"/>
                </a:moveTo>
                <a:cubicBezTo>
                  <a:pt x="307" y="734"/>
                  <a:pt x="308" y="736"/>
                  <a:pt x="305" y="735"/>
                </a:cubicBezTo>
                <a:close/>
                <a:moveTo>
                  <a:pt x="307" y="737"/>
                </a:moveTo>
                <a:cubicBezTo>
                  <a:pt x="307" y="737"/>
                  <a:pt x="308" y="737"/>
                  <a:pt x="309" y="737"/>
                </a:cubicBezTo>
                <a:cubicBezTo>
                  <a:pt x="308" y="737"/>
                  <a:pt x="308" y="737"/>
                  <a:pt x="307" y="737"/>
                </a:cubicBezTo>
                <a:close/>
                <a:moveTo>
                  <a:pt x="311" y="752"/>
                </a:moveTo>
                <a:cubicBezTo>
                  <a:pt x="311" y="752"/>
                  <a:pt x="311" y="752"/>
                  <a:pt x="311" y="752"/>
                </a:cubicBezTo>
                <a:cubicBezTo>
                  <a:pt x="313" y="752"/>
                  <a:pt x="312" y="753"/>
                  <a:pt x="311" y="752"/>
                </a:cubicBezTo>
                <a:close/>
                <a:moveTo>
                  <a:pt x="314" y="737"/>
                </a:moveTo>
                <a:cubicBezTo>
                  <a:pt x="315" y="736"/>
                  <a:pt x="316" y="737"/>
                  <a:pt x="316" y="738"/>
                </a:cubicBezTo>
                <a:cubicBezTo>
                  <a:pt x="317" y="739"/>
                  <a:pt x="313" y="738"/>
                  <a:pt x="314" y="737"/>
                </a:cubicBezTo>
                <a:close/>
                <a:moveTo>
                  <a:pt x="313" y="737"/>
                </a:moveTo>
                <a:cubicBezTo>
                  <a:pt x="309" y="737"/>
                  <a:pt x="308" y="733"/>
                  <a:pt x="302" y="734"/>
                </a:cubicBezTo>
                <a:cubicBezTo>
                  <a:pt x="303" y="733"/>
                  <a:pt x="305" y="733"/>
                  <a:pt x="306" y="732"/>
                </a:cubicBezTo>
                <a:cubicBezTo>
                  <a:pt x="306" y="732"/>
                  <a:pt x="305" y="731"/>
                  <a:pt x="305" y="732"/>
                </a:cubicBezTo>
                <a:cubicBezTo>
                  <a:pt x="305" y="731"/>
                  <a:pt x="306" y="731"/>
                  <a:pt x="306" y="731"/>
                </a:cubicBezTo>
                <a:cubicBezTo>
                  <a:pt x="307" y="729"/>
                  <a:pt x="304" y="729"/>
                  <a:pt x="306" y="728"/>
                </a:cubicBezTo>
                <a:cubicBezTo>
                  <a:pt x="307" y="727"/>
                  <a:pt x="308" y="728"/>
                  <a:pt x="310" y="728"/>
                </a:cubicBezTo>
                <a:cubicBezTo>
                  <a:pt x="310" y="728"/>
                  <a:pt x="313" y="728"/>
                  <a:pt x="315" y="729"/>
                </a:cubicBezTo>
                <a:cubicBezTo>
                  <a:pt x="319" y="730"/>
                  <a:pt x="318" y="736"/>
                  <a:pt x="313" y="737"/>
                </a:cubicBezTo>
                <a:close/>
                <a:moveTo>
                  <a:pt x="306" y="205"/>
                </a:moveTo>
                <a:cubicBezTo>
                  <a:pt x="307" y="205"/>
                  <a:pt x="306" y="206"/>
                  <a:pt x="306" y="206"/>
                </a:cubicBezTo>
                <a:cubicBezTo>
                  <a:pt x="304" y="205"/>
                  <a:pt x="306" y="204"/>
                  <a:pt x="306" y="205"/>
                </a:cubicBezTo>
                <a:close/>
                <a:moveTo>
                  <a:pt x="305" y="103"/>
                </a:moveTo>
                <a:cubicBezTo>
                  <a:pt x="307" y="102"/>
                  <a:pt x="308" y="105"/>
                  <a:pt x="306" y="104"/>
                </a:cubicBezTo>
                <a:cubicBezTo>
                  <a:pt x="305" y="104"/>
                  <a:pt x="305" y="103"/>
                  <a:pt x="305" y="103"/>
                </a:cubicBezTo>
                <a:close/>
                <a:moveTo>
                  <a:pt x="311" y="167"/>
                </a:moveTo>
                <a:cubicBezTo>
                  <a:pt x="311" y="167"/>
                  <a:pt x="311" y="167"/>
                  <a:pt x="311" y="167"/>
                </a:cubicBezTo>
                <a:cubicBezTo>
                  <a:pt x="311" y="167"/>
                  <a:pt x="311" y="167"/>
                  <a:pt x="312" y="167"/>
                </a:cubicBezTo>
                <a:cubicBezTo>
                  <a:pt x="312" y="167"/>
                  <a:pt x="311" y="167"/>
                  <a:pt x="311" y="167"/>
                </a:cubicBezTo>
                <a:close/>
                <a:moveTo>
                  <a:pt x="310" y="638"/>
                </a:moveTo>
                <a:cubicBezTo>
                  <a:pt x="314" y="639"/>
                  <a:pt x="311" y="641"/>
                  <a:pt x="310" y="638"/>
                </a:cubicBezTo>
                <a:close/>
                <a:moveTo>
                  <a:pt x="311" y="123"/>
                </a:moveTo>
                <a:cubicBezTo>
                  <a:pt x="309" y="123"/>
                  <a:pt x="312" y="124"/>
                  <a:pt x="311" y="123"/>
                </a:cubicBezTo>
                <a:close/>
                <a:moveTo>
                  <a:pt x="310" y="111"/>
                </a:moveTo>
                <a:cubicBezTo>
                  <a:pt x="311" y="111"/>
                  <a:pt x="312" y="112"/>
                  <a:pt x="311" y="112"/>
                </a:cubicBezTo>
                <a:cubicBezTo>
                  <a:pt x="311" y="112"/>
                  <a:pt x="310" y="112"/>
                  <a:pt x="310" y="111"/>
                </a:cubicBezTo>
                <a:close/>
                <a:moveTo>
                  <a:pt x="308" y="612"/>
                </a:moveTo>
                <a:cubicBezTo>
                  <a:pt x="308" y="611"/>
                  <a:pt x="310" y="612"/>
                  <a:pt x="310" y="612"/>
                </a:cubicBezTo>
                <a:cubicBezTo>
                  <a:pt x="311" y="614"/>
                  <a:pt x="308" y="613"/>
                  <a:pt x="308" y="612"/>
                </a:cubicBezTo>
                <a:close/>
                <a:moveTo>
                  <a:pt x="316" y="436"/>
                </a:moveTo>
                <a:cubicBezTo>
                  <a:pt x="317" y="435"/>
                  <a:pt x="318" y="436"/>
                  <a:pt x="318" y="437"/>
                </a:cubicBezTo>
                <a:cubicBezTo>
                  <a:pt x="320" y="439"/>
                  <a:pt x="316" y="436"/>
                  <a:pt x="316" y="436"/>
                </a:cubicBezTo>
                <a:close/>
                <a:moveTo>
                  <a:pt x="317" y="526"/>
                </a:moveTo>
                <a:cubicBezTo>
                  <a:pt x="317" y="526"/>
                  <a:pt x="318" y="527"/>
                  <a:pt x="319" y="528"/>
                </a:cubicBezTo>
                <a:cubicBezTo>
                  <a:pt x="319" y="529"/>
                  <a:pt x="317" y="527"/>
                  <a:pt x="317" y="526"/>
                </a:cubicBezTo>
                <a:close/>
                <a:moveTo>
                  <a:pt x="316" y="682"/>
                </a:moveTo>
                <a:cubicBezTo>
                  <a:pt x="318" y="683"/>
                  <a:pt x="316" y="684"/>
                  <a:pt x="316" y="682"/>
                </a:cubicBezTo>
                <a:close/>
                <a:moveTo>
                  <a:pt x="315" y="197"/>
                </a:moveTo>
                <a:cubicBezTo>
                  <a:pt x="315" y="196"/>
                  <a:pt x="317" y="197"/>
                  <a:pt x="316" y="198"/>
                </a:cubicBezTo>
                <a:cubicBezTo>
                  <a:pt x="316" y="198"/>
                  <a:pt x="315" y="197"/>
                  <a:pt x="315" y="197"/>
                </a:cubicBezTo>
                <a:close/>
                <a:moveTo>
                  <a:pt x="315" y="98"/>
                </a:moveTo>
                <a:cubicBezTo>
                  <a:pt x="313" y="97"/>
                  <a:pt x="318" y="96"/>
                  <a:pt x="317" y="98"/>
                </a:cubicBezTo>
                <a:cubicBezTo>
                  <a:pt x="316" y="98"/>
                  <a:pt x="316" y="98"/>
                  <a:pt x="315" y="98"/>
                </a:cubicBezTo>
                <a:close/>
                <a:moveTo>
                  <a:pt x="314" y="99"/>
                </a:moveTo>
                <a:cubicBezTo>
                  <a:pt x="317" y="99"/>
                  <a:pt x="315" y="102"/>
                  <a:pt x="314" y="99"/>
                </a:cubicBezTo>
                <a:close/>
                <a:moveTo>
                  <a:pt x="314" y="129"/>
                </a:moveTo>
                <a:cubicBezTo>
                  <a:pt x="314" y="129"/>
                  <a:pt x="314" y="129"/>
                  <a:pt x="314" y="129"/>
                </a:cubicBezTo>
                <a:cubicBezTo>
                  <a:pt x="311" y="127"/>
                  <a:pt x="317" y="129"/>
                  <a:pt x="314" y="129"/>
                </a:cubicBezTo>
                <a:close/>
                <a:moveTo>
                  <a:pt x="313" y="166"/>
                </a:moveTo>
                <a:cubicBezTo>
                  <a:pt x="315" y="165"/>
                  <a:pt x="313" y="168"/>
                  <a:pt x="313" y="166"/>
                </a:cubicBezTo>
                <a:cubicBezTo>
                  <a:pt x="312" y="166"/>
                  <a:pt x="313" y="166"/>
                  <a:pt x="313" y="166"/>
                </a:cubicBezTo>
                <a:close/>
                <a:moveTo>
                  <a:pt x="313" y="636"/>
                </a:moveTo>
                <a:cubicBezTo>
                  <a:pt x="313" y="636"/>
                  <a:pt x="314" y="637"/>
                  <a:pt x="314" y="637"/>
                </a:cubicBezTo>
                <a:cubicBezTo>
                  <a:pt x="316" y="639"/>
                  <a:pt x="311" y="637"/>
                  <a:pt x="313" y="636"/>
                </a:cubicBezTo>
                <a:close/>
                <a:moveTo>
                  <a:pt x="316" y="540"/>
                </a:moveTo>
                <a:cubicBezTo>
                  <a:pt x="317" y="539"/>
                  <a:pt x="318" y="540"/>
                  <a:pt x="319" y="541"/>
                </a:cubicBezTo>
                <a:cubicBezTo>
                  <a:pt x="319" y="542"/>
                  <a:pt x="316" y="541"/>
                  <a:pt x="316" y="540"/>
                </a:cubicBezTo>
                <a:close/>
                <a:moveTo>
                  <a:pt x="318" y="161"/>
                </a:moveTo>
                <a:cubicBezTo>
                  <a:pt x="318" y="162"/>
                  <a:pt x="317" y="161"/>
                  <a:pt x="317" y="161"/>
                </a:cubicBezTo>
                <a:cubicBezTo>
                  <a:pt x="315" y="158"/>
                  <a:pt x="320" y="159"/>
                  <a:pt x="318" y="161"/>
                </a:cubicBezTo>
                <a:close/>
                <a:moveTo>
                  <a:pt x="317" y="121"/>
                </a:moveTo>
                <a:cubicBezTo>
                  <a:pt x="319" y="122"/>
                  <a:pt x="316" y="121"/>
                  <a:pt x="317" y="121"/>
                </a:cubicBezTo>
                <a:close/>
                <a:moveTo>
                  <a:pt x="318" y="139"/>
                </a:moveTo>
                <a:cubicBezTo>
                  <a:pt x="319" y="138"/>
                  <a:pt x="320" y="141"/>
                  <a:pt x="319" y="140"/>
                </a:cubicBezTo>
                <a:cubicBezTo>
                  <a:pt x="319" y="140"/>
                  <a:pt x="318" y="140"/>
                  <a:pt x="318" y="139"/>
                </a:cubicBezTo>
                <a:close/>
                <a:moveTo>
                  <a:pt x="318" y="103"/>
                </a:moveTo>
                <a:cubicBezTo>
                  <a:pt x="319" y="103"/>
                  <a:pt x="319" y="104"/>
                  <a:pt x="319" y="104"/>
                </a:cubicBezTo>
                <a:cubicBezTo>
                  <a:pt x="319" y="104"/>
                  <a:pt x="319" y="104"/>
                  <a:pt x="319" y="104"/>
                </a:cubicBezTo>
                <a:cubicBezTo>
                  <a:pt x="319" y="103"/>
                  <a:pt x="318" y="103"/>
                  <a:pt x="318" y="103"/>
                </a:cubicBezTo>
                <a:close/>
                <a:moveTo>
                  <a:pt x="319" y="603"/>
                </a:moveTo>
                <a:cubicBezTo>
                  <a:pt x="320" y="602"/>
                  <a:pt x="321" y="603"/>
                  <a:pt x="321" y="603"/>
                </a:cubicBezTo>
                <a:cubicBezTo>
                  <a:pt x="321" y="605"/>
                  <a:pt x="318" y="603"/>
                  <a:pt x="319" y="603"/>
                </a:cubicBezTo>
                <a:close/>
                <a:moveTo>
                  <a:pt x="322" y="158"/>
                </a:moveTo>
                <a:cubicBezTo>
                  <a:pt x="321" y="159"/>
                  <a:pt x="320" y="157"/>
                  <a:pt x="321" y="157"/>
                </a:cubicBezTo>
                <a:cubicBezTo>
                  <a:pt x="322" y="157"/>
                  <a:pt x="322" y="158"/>
                  <a:pt x="322" y="158"/>
                </a:cubicBezTo>
                <a:close/>
                <a:moveTo>
                  <a:pt x="322" y="131"/>
                </a:moveTo>
                <a:cubicBezTo>
                  <a:pt x="323" y="132"/>
                  <a:pt x="321" y="131"/>
                  <a:pt x="322" y="131"/>
                </a:cubicBezTo>
                <a:close/>
                <a:moveTo>
                  <a:pt x="321" y="762"/>
                </a:moveTo>
                <a:cubicBezTo>
                  <a:pt x="322" y="762"/>
                  <a:pt x="323" y="762"/>
                  <a:pt x="324" y="763"/>
                </a:cubicBezTo>
                <a:cubicBezTo>
                  <a:pt x="325" y="766"/>
                  <a:pt x="316" y="764"/>
                  <a:pt x="321" y="762"/>
                </a:cubicBezTo>
                <a:close/>
                <a:moveTo>
                  <a:pt x="328" y="213"/>
                </a:moveTo>
                <a:cubicBezTo>
                  <a:pt x="328" y="213"/>
                  <a:pt x="327" y="213"/>
                  <a:pt x="327" y="212"/>
                </a:cubicBezTo>
                <a:cubicBezTo>
                  <a:pt x="325" y="210"/>
                  <a:pt x="330" y="211"/>
                  <a:pt x="328" y="213"/>
                </a:cubicBezTo>
                <a:close/>
                <a:moveTo>
                  <a:pt x="326" y="141"/>
                </a:moveTo>
                <a:cubicBezTo>
                  <a:pt x="326" y="141"/>
                  <a:pt x="327" y="142"/>
                  <a:pt x="327" y="142"/>
                </a:cubicBezTo>
                <a:cubicBezTo>
                  <a:pt x="327" y="142"/>
                  <a:pt x="326" y="142"/>
                  <a:pt x="326" y="141"/>
                </a:cubicBezTo>
                <a:close/>
                <a:moveTo>
                  <a:pt x="340" y="128"/>
                </a:moveTo>
                <a:cubicBezTo>
                  <a:pt x="342" y="128"/>
                  <a:pt x="347" y="132"/>
                  <a:pt x="349" y="135"/>
                </a:cubicBezTo>
                <a:cubicBezTo>
                  <a:pt x="349" y="135"/>
                  <a:pt x="351" y="135"/>
                  <a:pt x="350" y="136"/>
                </a:cubicBezTo>
                <a:cubicBezTo>
                  <a:pt x="349" y="137"/>
                  <a:pt x="345" y="134"/>
                  <a:pt x="346" y="135"/>
                </a:cubicBezTo>
                <a:cubicBezTo>
                  <a:pt x="344" y="134"/>
                  <a:pt x="343" y="131"/>
                  <a:pt x="342" y="130"/>
                </a:cubicBezTo>
                <a:cubicBezTo>
                  <a:pt x="338" y="126"/>
                  <a:pt x="333" y="125"/>
                  <a:pt x="330" y="121"/>
                </a:cubicBezTo>
                <a:cubicBezTo>
                  <a:pt x="334" y="121"/>
                  <a:pt x="336" y="126"/>
                  <a:pt x="340" y="128"/>
                </a:cubicBezTo>
                <a:close/>
                <a:moveTo>
                  <a:pt x="331" y="113"/>
                </a:moveTo>
                <a:cubicBezTo>
                  <a:pt x="332" y="112"/>
                  <a:pt x="332" y="114"/>
                  <a:pt x="332" y="114"/>
                </a:cubicBezTo>
                <a:cubicBezTo>
                  <a:pt x="331" y="114"/>
                  <a:pt x="331" y="113"/>
                  <a:pt x="331" y="113"/>
                </a:cubicBezTo>
                <a:close/>
                <a:moveTo>
                  <a:pt x="335" y="82"/>
                </a:moveTo>
                <a:cubicBezTo>
                  <a:pt x="334" y="81"/>
                  <a:pt x="337" y="82"/>
                  <a:pt x="335" y="82"/>
                </a:cubicBezTo>
                <a:close/>
                <a:moveTo>
                  <a:pt x="337" y="101"/>
                </a:moveTo>
                <a:cubicBezTo>
                  <a:pt x="338" y="100"/>
                  <a:pt x="338" y="102"/>
                  <a:pt x="339" y="101"/>
                </a:cubicBezTo>
                <a:cubicBezTo>
                  <a:pt x="339" y="102"/>
                  <a:pt x="337" y="102"/>
                  <a:pt x="337" y="101"/>
                </a:cubicBezTo>
                <a:close/>
                <a:moveTo>
                  <a:pt x="355" y="124"/>
                </a:moveTo>
                <a:cubicBezTo>
                  <a:pt x="354" y="123"/>
                  <a:pt x="352" y="122"/>
                  <a:pt x="351" y="120"/>
                </a:cubicBezTo>
                <a:cubicBezTo>
                  <a:pt x="353" y="121"/>
                  <a:pt x="354" y="122"/>
                  <a:pt x="355" y="124"/>
                </a:cubicBezTo>
                <a:close/>
                <a:moveTo>
                  <a:pt x="353" y="90"/>
                </a:moveTo>
                <a:cubicBezTo>
                  <a:pt x="353" y="90"/>
                  <a:pt x="353" y="90"/>
                  <a:pt x="353" y="90"/>
                </a:cubicBezTo>
                <a:cubicBezTo>
                  <a:pt x="355" y="92"/>
                  <a:pt x="353" y="90"/>
                  <a:pt x="353" y="90"/>
                </a:cubicBezTo>
                <a:close/>
                <a:moveTo>
                  <a:pt x="366" y="123"/>
                </a:moveTo>
                <a:cubicBezTo>
                  <a:pt x="365" y="124"/>
                  <a:pt x="364" y="123"/>
                  <a:pt x="364" y="123"/>
                </a:cubicBezTo>
                <a:cubicBezTo>
                  <a:pt x="361" y="121"/>
                  <a:pt x="367" y="121"/>
                  <a:pt x="366" y="123"/>
                </a:cubicBezTo>
                <a:close/>
                <a:moveTo>
                  <a:pt x="365" y="109"/>
                </a:moveTo>
                <a:cubicBezTo>
                  <a:pt x="365" y="109"/>
                  <a:pt x="365" y="109"/>
                  <a:pt x="365" y="109"/>
                </a:cubicBezTo>
                <a:cubicBezTo>
                  <a:pt x="363" y="108"/>
                  <a:pt x="367" y="109"/>
                  <a:pt x="365" y="109"/>
                </a:cubicBezTo>
                <a:close/>
                <a:moveTo>
                  <a:pt x="364" y="93"/>
                </a:moveTo>
                <a:cubicBezTo>
                  <a:pt x="363" y="94"/>
                  <a:pt x="363" y="93"/>
                  <a:pt x="363" y="93"/>
                </a:cubicBezTo>
                <a:cubicBezTo>
                  <a:pt x="361" y="92"/>
                  <a:pt x="364" y="92"/>
                  <a:pt x="364" y="93"/>
                </a:cubicBezTo>
                <a:close/>
                <a:moveTo>
                  <a:pt x="363" y="131"/>
                </a:moveTo>
                <a:cubicBezTo>
                  <a:pt x="361" y="130"/>
                  <a:pt x="359" y="128"/>
                  <a:pt x="358" y="126"/>
                </a:cubicBezTo>
                <a:cubicBezTo>
                  <a:pt x="360" y="127"/>
                  <a:pt x="361" y="129"/>
                  <a:pt x="363" y="131"/>
                </a:cubicBezTo>
                <a:close/>
                <a:moveTo>
                  <a:pt x="368" y="604"/>
                </a:moveTo>
                <a:cubicBezTo>
                  <a:pt x="365" y="603"/>
                  <a:pt x="367" y="602"/>
                  <a:pt x="368" y="604"/>
                </a:cubicBezTo>
                <a:close/>
                <a:moveTo>
                  <a:pt x="367" y="364"/>
                </a:moveTo>
                <a:cubicBezTo>
                  <a:pt x="369" y="364"/>
                  <a:pt x="370" y="367"/>
                  <a:pt x="371" y="368"/>
                </a:cubicBezTo>
                <a:cubicBezTo>
                  <a:pt x="369" y="368"/>
                  <a:pt x="368" y="365"/>
                  <a:pt x="367" y="364"/>
                </a:cubicBezTo>
                <a:close/>
                <a:moveTo>
                  <a:pt x="367" y="638"/>
                </a:moveTo>
                <a:cubicBezTo>
                  <a:pt x="368" y="637"/>
                  <a:pt x="368" y="639"/>
                  <a:pt x="367" y="638"/>
                </a:cubicBezTo>
                <a:close/>
                <a:moveTo>
                  <a:pt x="373" y="642"/>
                </a:moveTo>
                <a:cubicBezTo>
                  <a:pt x="375" y="643"/>
                  <a:pt x="376" y="644"/>
                  <a:pt x="376" y="646"/>
                </a:cubicBezTo>
                <a:cubicBezTo>
                  <a:pt x="377" y="652"/>
                  <a:pt x="365" y="646"/>
                  <a:pt x="365" y="645"/>
                </a:cubicBezTo>
                <a:cubicBezTo>
                  <a:pt x="365" y="644"/>
                  <a:pt x="372" y="642"/>
                  <a:pt x="373" y="642"/>
                </a:cubicBezTo>
                <a:close/>
                <a:moveTo>
                  <a:pt x="374" y="562"/>
                </a:moveTo>
                <a:cubicBezTo>
                  <a:pt x="375" y="563"/>
                  <a:pt x="372" y="562"/>
                  <a:pt x="373" y="561"/>
                </a:cubicBezTo>
                <a:cubicBezTo>
                  <a:pt x="374" y="561"/>
                  <a:pt x="374" y="562"/>
                  <a:pt x="374" y="562"/>
                </a:cubicBezTo>
                <a:close/>
                <a:moveTo>
                  <a:pt x="374" y="444"/>
                </a:moveTo>
                <a:cubicBezTo>
                  <a:pt x="373" y="445"/>
                  <a:pt x="373" y="442"/>
                  <a:pt x="374" y="444"/>
                </a:cubicBezTo>
                <a:close/>
                <a:moveTo>
                  <a:pt x="372" y="582"/>
                </a:moveTo>
                <a:cubicBezTo>
                  <a:pt x="375" y="582"/>
                  <a:pt x="372" y="584"/>
                  <a:pt x="372" y="582"/>
                </a:cubicBezTo>
                <a:close/>
                <a:moveTo>
                  <a:pt x="371" y="374"/>
                </a:moveTo>
                <a:cubicBezTo>
                  <a:pt x="372" y="373"/>
                  <a:pt x="372" y="375"/>
                  <a:pt x="371" y="374"/>
                </a:cubicBezTo>
                <a:close/>
                <a:moveTo>
                  <a:pt x="365" y="654"/>
                </a:moveTo>
                <a:cubicBezTo>
                  <a:pt x="366" y="652"/>
                  <a:pt x="367" y="655"/>
                  <a:pt x="365" y="654"/>
                </a:cubicBezTo>
                <a:close/>
                <a:moveTo>
                  <a:pt x="366" y="661"/>
                </a:moveTo>
                <a:cubicBezTo>
                  <a:pt x="369" y="661"/>
                  <a:pt x="370" y="659"/>
                  <a:pt x="371" y="661"/>
                </a:cubicBezTo>
                <a:cubicBezTo>
                  <a:pt x="372" y="661"/>
                  <a:pt x="371" y="662"/>
                  <a:pt x="372" y="663"/>
                </a:cubicBezTo>
                <a:cubicBezTo>
                  <a:pt x="375" y="666"/>
                  <a:pt x="386" y="664"/>
                  <a:pt x="386" y="668"/>
                </a:cubicBezTo>
                <a:cubicBezTo>
                  <a:pt x="387" y="671"/>
                  <a:pt x="373" y="665"/>
                  <a:pt x="372" y="664"/>
                </a:cubicBezTo>
                <a:cubicBezTo>
                  <a:pt x="369" y="662"/>
                  <a:pt x="364" y="662"/>
                  <a:pt x="362" y="661"/>
                </a:cubicBezTo>
                <a:cubicBezTo>
                  <a:pt x="362" y="660"/>
                  <a:pt x="361" y="660"/>
                  <a:pt x="361" y="659"/>
                </a:cubicBezTo>
                <a:cubicBezTo>
                  <a:pt x="362" y="657"/>
                  <a:pt x="364" y="661"/>
                  <a:pt x="366" y="661"/>
                </a:cubicBezTo>
                <a:close/>
                <a:moveTo>
                  <a:pt x="377" y="623"/>
                </a:moveTo>
                <a:cubicBezTo>
                  <a:pt x="379" y="623"/>
                  <a:pt x="377" y="625"/>
                  <a:pt x="377" y="623"/>
                </a:cubicBezTo>
                <a:close/>
                <a:moveTo>
                  <a:pt x="385" y="646"/>
                </a:moveTo>
                <a:cubicBezTo>
                  <a:pt x="385" y="645"/>
                  <a:pt x="387" y="645"/>
                  <a:pt x="387" y="646"/>
                </a:cubicBezTo>
                <a:cubicBezTo>
                  <a:pt x="387" y="647"/>
                  <a:pt x="385" y="647"/>
                  <a:pt x="385" y="646"/>
                </a:cubicBezTo>
                <a:close/>
                <a:moveTo>
                  <a:pt x="387" y="661"/>
                </a:moveTo>
                <a:cubicBezTo>
                  <a:pt x="389" y="662"/>
                  <a:pt x="384" y="662"/>
                  <a:pt x="385" y="661"/>
                </a:cubicBezTo>
                <a:cubicBezTo>
                  <a:pt x="385" y="660"/>
                  <a:pt x="387" y="660"/>
                  <a:pt x="387" y="661"/>
                </a:cubicBezTo>
                <a:close/>
                <a:moveTo>
                  <a:pt x="385" y="654"/>
                </a:moveTo>
                <a:cubicBezTo>
                  <a:pt x="388" y="654"/>
                  <a:pt x="385" y="656"/>
                  <a:pt x="385" y="654"/>
                </a:cubicBezTo>
                <a:close/>
                <a:moveTo>
                  <a:pt x="380" y="671"/>
                </a:moveTo>
                <a:cubicBezTo>
                  <a:pt x="382" y="672"/>
                  <a:pt x="380" y="673"/>
                  <a:pt x="380" y="671"/>
                </a:cubicBezTo>
                <a:close/>
                <a:moveTo>
                  <a:pt x="379" y="676"/>
                </a:moveTo>
                <a:cubicBezTo>
                  <a:pt x="379" y="676"/>
                  <a:pt x="380" y="675"/>
                  <a:pt x="380" y="675"/>
                </a:cubicBezTo>
                <a:cubicBezTo>
                  <a:pt x="380" y="676"/>
                  <a:pt x="380" y="677"/>
                  <a:pt x="379" y="676"/>
                </a:cubicBezTo>
                <a:close/>
                <a:moveTo>
                  <a:pt x="378" y="669"/>
                </a:moveTo>
                <a:cubicBezTo>
                  <a:pt x="377" y="669"/>
                  <a:pt x="377" y="666"/>
                  <a:pt x="378" y="668"/>
                </a:cubicBezTo>
                <a:cubicBezTo>
                  <a:pt x="378" y="668"/>
                  <a:pt x="378" y="669"/>
                  <a:pt x="378" y="669"/>
                </a:cubicBezTo>
                <a:close/>
                <a:moveTo>
                  <a:pt x="366" y="677"/>
                </a:moveTo>
                <a:cubicBezTo>
                  <a:pt x="369" y="676"/>
                  <a:pt x="367" y="673"/>
                  <a:pt x="368" y="672"/>
                </a:cubicBezTo>
                <a:cubicBezTo>
                  <a:pt x="370" y="671"/>
                  <a:pt x="373" y="675"/>
                  <a:pt x="372" y="677"/>
                </a:cubicBezTo>
                <a:cubicBezTo>
                  <a:pt x="371" y="678"/>
                  <a:pt x="368" y="676"/>
                  <a:pt x="366" y="677"/>
                </a:cubicBezTo>
                <a:close/>
                <a:moveTo>
                  <a:pt x="369" y="695"/>
                </a:moveTo>
                <a:cubicBezTo>
                  <a:pt x="369" y="694"/>
                  <a:pt x="371" y="694"/>
                  <a:pt x="371" y="695"/>
                </a:cubicBezTo>
                <a:cubicBezTo>
                  <a:pt x="372" y="696"/>
                  <a:pt x="369" y="696"/>
                  <a:pt x="369" y="695"/>
                </a:cubicBezTo>
                <a:close/>
                <a:moveTo>
                  <a:pt x="365" y="733"/>
                </a:moveTo>
                <a:cubicBezTo>
                  <a:pt x="365" y="731"/>
                  <a:pt x="367" y="731"/>
                  <a:pt x="368" y="732"/>
                </a:cubicBezTo>
                <a:cubicBezTo>
                  <a:pt x="369" y="733"/>
                  <a:pt x="365" y="733"/>
                  <a:pt x="365" y="733"/>
                </a:cubicBezTo>
                <a:close/>
                <a:moveTo>
                  <a:pt x="364" y="734"/>
                </a:moveTo>
                <a:cubicBezTo>
                  <a:pt x="365" y="734"/>
                  <a:pt x="366" y="734"/>
                  <a:pt x="366" y="734"/>
                </a:cubicBezTo>
                <a:cubicBezTo>
                  <a:pt x="367" y="736"/>
                  <a:pt x="363" y="735"/>
                  <a:pt x="364" y="734"/>
                </a:cubicBezTo>
                <a:close/>
                <a:moveTo>
                  <a:pt x="363" y="683"/>
                </a:moveTo>
                <a:cubicBezTo>
                  <a:pt x="365" y="682"/>
                  <a:pt x="364" y="684"/>
                  <a:pt x="363" y="683"/>
                </a:cubicBezTo>
                <a:close/>
                <a:moveTo>
                  <a:pt x="361" y="684"/>
                </a:moveTo>
                <a:cubicBezTo>
                  <a:pt x="360" y="685"/>
                  <a:pt x="360" y="682"/>
                  <a:pt x="361" y="684"/>
                </a:cubicBezTo>
                <a:close/>
                <a:moveTo>
                  <a:pt x="360" y="465"/>
                </a:moveTo>
                <a:cubicBezTo>
                  <a:pt x="360" y="465"/>
                  <a:pt x="361" y="466"/>
                  <a:pt x="361" y="466"/>
                </a:cubicBezTo>
                <a:cubicBezTo>
                  <a:pt x="362" y="468"/>
                  <a:pt x="358" y="466"/>
                  <a:pt x="360" y="465"/>
                </a:cubicBezTo>
                <a:close/>
                <a:moveTo>
                  <a:pt x="361" y="695"/>
                </a:moveTo>
                <a:cubicBezTo>
                  <a:pt x="360" y="696"/>
                  <a:pt x="361" y="694"/>
                  <a:pt x="361" y="695"/>
                </a:cubicBezTo>
                <a:close/>
                <a:moveTo>
                  <a:pt x="364" y="650"/>
                </a:moveTo>
                <a:cubicBezTo>
                  <a:pt x="365" y="652"/>
                  <a:pt x="361" y="651"/>
                  <a:pt x="362" y="649"/>
                </a:cubicBezTo>
                <a:cubicBezTo>
                  <a:pt x="363" y="649"/>
                  <a:pt x="364" y="650"/>
                  <a:pt x="364" y="650"/>
                </a:cubicBezTo>
                <a:close/>
                <a:moveTo>
                  <a:pt x="365" y="376"/>
                </a:moveTo>
                <a:cubicBezTo>
                  <a:pt x="363" y="376"/>
                  <a:pt x="364" y="373"/>
                  <a:pt x="365" y="376"/>
                </a:cubicBezTo>
                <a:close/>
                <a:moveTo>
                  <a:pt x="361" y="355"/>
                </a:moveTo>
                <a:cubicBezTo>
                  <a:pt x="362" y="354"/>
                  <a:pt x="363" y="356"/>
                  <a:pt x="363" y="357"/>
                </a:cubicBezTo>
                <a:cubicBezTo>
                  <a:pt x="362" y="356"/>
                  <a:pt x="362" y="356"/>
                  <a:pt x="361" y="355"/>
                </a:cubicBezTo>
                <a:close/>
                <a:moveTo>
                  <a:pt x="356" y="702"/>
                </a:moveTo>
                <a:cubicBezTo>
                  <a:pt x="359" y="702"/>
                  <a:pt x="356" y="704"/>
                  <a:pt x="356" y="702"/>
                </a:cubicBezTo>
                <a:close/>
                <a:moveTo>
                  <a:pt x="356" y="683"/>
                </a:moveTo>
                <a:cubicBezTo>
                  <a:pt x="356" y="682"/>
                  <a:pt x="357" y="683"/>
                  <a:pt x="357" y="683"/>
                </a:cubicBezTo>
                <a:cubicBezTo>
                  <a:pt x="358" y="684"/>
                  <a:pt x="355" y="683"/>
                  <a:pt x="356" y="683"/>
                </a:cubicBezTo>
                <a:close/>
                <a:moveTo>
                  <a:pt x="359" y="708"/>
                </a:moveTo>
                <a:cubicBezTo>
                  <a:pt x="360" y="710"/>
                  <a:pt x="356" y="709"/>
                  <a:pt x="356" y="708"/>
                </a:cubicBezTo>
                <a:cubicBezTo>
                  <a:pt x="356" y="707"/>
                  <a:pt x="359" y="707"/>
                  <a:pt x="359" y="708"/>
                </a:cubicBezTo>
                <a:close/>
                <a:moveTo>
                  <a:pt x="358" y="153"/>
                </a:moveTo>
                <a:cubicBezTo>
                  <a:pt x="356" y="152"/>
                  <a:pt x="359" y="153"/>
                  <a:pt x="358" y="153"/>
                </a:cubicBezTo>
                <a:close/>
                <a:moveTo>
                  <a:pt x="358" y="538"/>
                </a:moveTo>
                <a:cubicBezTo>
                  <a:pt x="358" y="539"/>
                  <a:pt x="357" y="539"/>
                  <a:pt x="357" y="539"/>
                </a:cubicBezTo>
                <a:cubicBezTo>
                  <a:pt x="356" y="538"/>
                  <a:pt x="357" y="537"/>
                  <a:pt x="358" y="538"/>
                </a:cubicBezTo>
                <a:close/>
                <a:moveTo>
                  <a:pt x="359" y="673"/>
                </a:moveTo>
                <a:cubicBezTo>
                  <a:pt x="360" y="674"/>
                  <a:pt x="356" y="674"/>
                  <a:pt x="356" y="673"/>
                </a:cubicBezTo>
                <a:cubicBezTo>
                  <a:pt x="357" y="673"/>
                  <a:pt x="358" y="672"/>
                  <a:pt x="359" y="673"/>
                </a:cubicBezTo>
                <a:close/>
                <a:moveTo>
                  <a:pt x="359" y="678"/>
                </a:moveTo>
                <a:cubicBezTo>
                  <a:pt x="359" y="678"/>
                  <a:pt x="356" y="681"/>
                  <a:pt x="355" y="681"/>
                </a:cubicBezTo>
                <a:cubicBezTo>
                  <a:pt x="354" y="682"/>
                  <a:pt x="349" y="681"/>
                  <a:pt x="349" y="680"/>
                </a:cubicBezTo>
                <a:cubicBezTo>
                  <a:pt x="348" y="680"/>
                  <a:pt x="348" y="677"/>
                  <a:pt x="348" y="675"/>
                </a:cubicBezTo>
                <a:cubicBezTo>
                  <a:pt x="349" y="674"/>
                  <a:pt x="352" y="674"/>
                  <a:pt x="355" y="675"/>
                </a:cubicBezTo>
                <a:cubicBezTo>
                  <a:pt x="356" y="675"/>
                  <a:pt x="359" y="677"/>
                  <a:pt x="359" y="678"/>
                </a:cubicBezTo>
                <a:close/>
                <a:moveTo>
                  <a:pt x="354" y="738"/>
                </a:moveTo>
                <a:cubicBezTo>
                  <a:pt x="355" y="738"/>
                  <a:pt x="356" y="738"/>
                  <a:pt x="356" y="739"/>
                </a:cubicBezTo>
                <a:cubicBezTo>
                  <a:pt x="357" y="741"/>
                  <a:pt x="353" y="739"/>
                  <a:pt x="354" y="738"/>
                </a:cubicBezTo>
                <a:close/>
                <a:moveTo>
                  <a:pt x="354" y="757"/>
                </a:moveTo>
                <a:cubicBezTo>
                  <a:pt x="354" y="757"/>
                  <a:pt x="356" y="757"/>
                  <a:pt x="356" y="757"/>
                </a:cubicBezTo>
                <a:cubicBezTo>
                  <a:pt x="357" y="759"/>
                  <a:pt x="353" y="759"/>
                  <a:pt x="354" y="757"/>
                </a:cubicBezTo>
                <a:close/>
                <a:moveTo>
                  <a:pt x="349" y="683"/>
                </a:moveTo>
                <a:cubicBezTo>
                  <a:pt x="350" y="681"/>
                  <a:pt x="354" y="683"/>
                  <a:pt x="354" y="685"/>
                </a:cubicBezTo>
                <a:cubicBezTo>
                  <a:pt x="355" y="688"/>
                  <a:pt x="347" y="685"/>
                  <a:pt x="349" y="683"/>
                </a:cubicBezTo>
                <a:close/>
                <a:moveTo>
                  <a:pt x="348" y="704"/>
                </a:moveTo>
                <a:cubicBezTo>
                  <a:pt x="350" y="703"/>
                  <a:pt x="349" y="705"/>
                  <a:pt x="348" y="704"/>
                </a:cubicBezTo>
                <a:close/>
                <a:moveTo>
                  <a:pt x="352" y="646"/>
                </a:moveTo>
                <a:cubicBezTo>
                  <a:pt x="355" y="644"/>
                  <a:pt x="355" y="648"/>
                  <a:pt x="352" y="646"/>
                </a:cubicBezTo>
                <a:close/>
                <a:moveTo>
                  <a:pt x="354" y="388"/>
                </a:moveTo>
                <a:cubicBezTo>
                  <a:pt x="354" y="388"/>
                  <a:pt x="355" y="389"/>
                  <a:pt x="355" y="389"/>
                </a:cubicBezTo>
                <a:cubicBezTo>
                  <a:pt x="355" y="390"/>
                  <a:pt x="354" y="389"/>
                  <a:pt x="354" y="388"/>
                </a:cubicBezTo>
                <a:close/>
                <a:moveTo>
                  <a:pt x="354" y="626"/>
                </a:moveTo>
                <a:cubicBezTo>
                  <a:pt x="354" y="629"/>
                  <a:pt x="352" y="631"/>
                  <a:pt x="350" y="630"/>
                </a:cubicBezTo>
                <a:cubicBezTo>
                  <a:pt x="350" y="630"/>
                  <a:pt x="349" y="629"/>
                  <a:pt x="349" y="629"/>
                </a:cubicBezTo>
                <a:cubicBezTo>
                  <a:pt x="348" y="630"/>
                  <a:pt x="348" y="632"/>
                  <a:pt x="346" y="632"/>
                </a:cubicBezTo>
                <a:cubicBezTo>
                  <a:pt x="343" y="632"/>
                  <a:pt x="342" y="629"/>
                  <a:pt x="341" y="626"/>
                </a:cubicBezTo>
                <a:cubicBezTo>
                  <a:pt x="341" y="626"/>
                  <a:pt x="340" y="625"/>
                  <a:pt x="339" y="624"/>
                </a:cubicBezTo>
                <a:cubicBezTo>
                  <a:pt x="340" y="625"/>
                  <a:pt x="339" y="621"/>
                  <a:pt x="340" y="621"/>
                </a:cubicBezTo>
                <a:cubicBezTo>
                  <a:pt x="340" y="621"/>
                  <a:pt x="341" y="621"/>
                  <a:pt x="341" y="621"/>
                </a:cubicBezTo>
                <a:cubicBezTo>
                  <a:pt x="342" y="621"/>
                  <a:pt x="341" y="619"/>
                  <a:pt x="342" y="619"/>
                </a:cubicBezTo>
                <a:cubicBezTo>
                  <a:pt x="348" y="618"/>
                  <a:pt x="354" y="623"/>
                  <a:pt x="354" y="626"/>
                </a:cubicBezTo>
                <a:close/>
                <a:moveTo>
                  <a:pt x="346" y="657"/>
                </a:moveTo>
                <a:cubicBezTo>
                  <a:pt x="347" y="656"/>
                  <a:pt x="348" y="658"/>
                  <a:pt x="346" y="657"/>
                </a:cubicBezTo>
                <a:close/>
                <a:moveTo>
                  <a:pt x="341" y="652"/>
                </a:moveTo>
                <a:cubicBezTo>
                  <a:pt x="342" y="652"/>
                  <a:pt x="344" y="653"/>
                  <a:pt x="344" y="653"/>
                </a:cubicBezTo>
                <a:cubicBezTo>
                  <a:pt x="344" y="655"/>
                  <a:pt x="340" y="654"/>
                  <a:pt x="341" y="652"/>
                </a:cubicBezTo>
                <a:close/>
                <a:moveTo>
                  <a:pt x="332" y="599"/>
                </a:moveTo>
                <a:cubicBezTo>
                  <a:pt x="331" y="600"/>
                  <a:pt x="329" y="598"/>
                  <a:pt x="328" y="598"/>
                </a:cubicBezTo>
                <a:cubicBezTo>
                  <a:pt x="330" y="597"/>
                  <a:pt x="331" y="599"/>
                  <a:pt x="332" y="599"/>
                </a:cubicBezTo>
                <a:close/>
                <a:moveTo>
                  <a:pt x="328" y="470"/>
                </a:moveTo>
                <a:cubicBezTo>
                  <a:pt x="328" y="470"/>
                  <a:pt x="329" y="470"/>
                  <a:pt x="329" y="471"/>
                </a:cubicBezTo>
                <a:cubicBezTo>
                  <a:pt x="330" y="473"/>
                  <a:pt x="326" y="471"/>
                  <a:pt x="328" y="470"/>
                </a:cubicBezTo>
                <a:close/>
                <a:moveTo>
                  <a:pt x="331" y="572"/>
                </a:moveTo>
                <a:cubicBezTo>
                  <a:pt x="331" y="573"/>
                  <a:pt x="331" y="573"/>
                  <a:pt x="331" y="573"/>
                </a:cubicBezTo>
                <a:cubicBezTo>
                  <a:pt x="331" y="573"/>
                  <a:pt x="331" y="573"/>
                  <a:pt x="331" y="573"/>
                </a:cubicBezTo>
                <a:cubicBezTo>
                  <a:pt x="331" y="572"/>
                  <a:pt x="331" y="572"/>
                  <a:pt x="331" y="572"/>
                </a:cubicBezTo>
                <a:close/>
                <a:moveTo>
                  <a:pt x="334" y="652"/>
                </a:moveTo>
                <a:cubicBezTo>
                  <a:pt x="335" y="654"/>
                  <a:pt x="331" y="654"/>
                  <a:pt x="331" y="652"/>
                </a:cubicBezTo>
                <a:cubicBezTo>
                  <a:pt x="332" y="651"/>
                  <a:pt x="333" y="652"/>
                  <a:pt x="334" y="652"/>
                </a:cubicBezTo>
                <a:close/>
                <a:moveTo>
                  <a:pt x="334" y="375"/>
                </a:moveTo>
                <a:cubicBezTo>
                  <a:pt x="333" y="374"/>
                  <a:pt x="334" y="377"/>
                  <a:pt x="334" y="375"/>
                </a:cubicBezTo>
                <a:close/>
                <a:moveTo>
                  <a:pt x="331" y="609"/>
                </a:moveTo>
                <a:cubicBezTo>
                  <a:pt x="332" y="609"/>
                  <a:pt x="332" y="611"/>
                  <a:pt x="331" y="609"/>
                </a:cubicBezTo>
                <a:close/>
                <a:moveTo>
                  <a:pt x="331" y="720"/>
                </a:moveTo>
                <a:cubicBezTo>
                  <a:pt x="336" y="719"/>
                  <a:pt x="336" y="723"/>
                  <a:pt x="331" y="720"/>
                </a:cubicBezTo>
                <a:close/>
                <a:moveTo>
                  <a:pt x="332" y="660"/>
                </a:moveTo>
                <a:cubicBezTo>
                  <a:pt x="333" y="659"/>
                  <a:pt x="335" y="661"/>
                  <a:pt x="337" y="662"/>
                </a:cubicBezTo>
                <a:cubicBezTo>
                  <a:pt x="335" y="663"/>
                  <a:pt x="333" y="661"/>
                  <a:pt x="332" y="660"/>
                </a:cubicBezTo>
                <a:close/>
                <a:moveTo>
                  <a:pt x="334" y="653"/>
                </a:moveTo>
                <a:cubicBezTo>
                  <a:pt x="334" y="651"/>
                  <a:pt x="339" y="651"/>
                  <a:pt x="339" y="653"/>
                </a:cubicBezTo>
                <a:cubicBezTo>
                  <a:pt x="340" y="657"/>
                  <a:pt x="334" y="655"/>
                  <a:pt x="334" y="653"/>
                </a:cubicBezTo>
                <a:close/>
                <a:moveTo>
                  <a:pt x="337" y="184"/>
                </a:moveTo>
                <a:cubicBezTo>
                  <a:pt x="338" y="185"/>
                  <a:pt x="336" y="183"/>
                  <a:pt x="337" y="184"/>
                </a:cubicBezTo>
                <a:close/>
                <a:moveTo>
                  <a:pt x="338" y="594"/>
                </a:moveTo>
                <a:cubicBezTo>
                  <a:pt x="339" y="594"/>
                  <a:pt x="337" y="594"/>
                  <a:pt x="337" y="594"/>
                </a:cubicBezTo>
                <a:cubicBezTo>
                  <a:pt x="337" y="593"/>
                  <a:pt x="338" y="593"/>
                  <a:pt x="338" y="594"/>
                </a:cubicBezTo>
                <a:close/>
                <a:moveTo>
                  <a:pt x="337" y="603"/>
                </a:moveTo>
                <a:cubicBezTo>
                  <a:pt x="338" y="605"/>
                  <a:pt x="334" y="603"/>
                  <a:pt x="335" y="602"/>
                </a:cubicBezTo>
                <a:cubicBezTo>
                  <a:pt x="336" y="601"/>
                  <a:pt x="337" y="602"/>
                  <a:pt x="337" y="603"/>
                </a:cubicBezTo>
                <a:close/>
                <a:moveTo>
                  <a:pt x="342" y="350"/>
                </a:moveTo>
                <a:cubicBezTo>
                  <a:pt x="343" y="353"/>
                  <a:pt x="337" y="349"/>
                  <a:pt x="339" y="348"/>
                </a:cubicBezTo>
                <a:cubicBezTo>
                  <a:pt x="340" y="347"/>
                  <a:pt x="342" y="350"/>
                  <a:pt x="342" y="350"/>
                </a:cubicBezTo>
                <a:close/>
                <a:moveTo>
                  <a:pt x="339" y="147"/>
                </a:moveTo>
                <a:cubicBezTo>
                  <a:pt x="340" y="146"/>
                  <a:pt x="343" y="150"/>
                  <a:pt x="340" y="149"/>
                </a:cubicBezTo>
                <a:cubicBezTo>
                  <a:pt x="340" y="148"/>
                  <a:pt x="339" y="148"/>
                  <a:pt x="339" y="147"/>
                </a:cubicBezTo>
                <a:close/>
                <a:moveTo>
                  <a:pt x="340" y="607"/>
                </a:moveTo>
                <a:cubicBezTo>
                  <a:pt x="343" y="607"/>
                  <a:pt x="340" y="609"/>
                  <a:pt x="340" y="607"/>
                </a:cubicBezTo>
                <a:close/>
                <a:moveTo>
                  <a:pt x="339" y="475"/>
                </a:moveTo>
                <a:cubicBezTo>
                  <a:pt x="340" y="474"/>
                  <a:pt x="341" y="475"/>
                  <a:pt x="341" y="475"/>
                </a:cubicBezTo>
                <a:cubicBezTo>
                  <a:pt x="342" y="477"/>
                  <a:pt x="339" y="476"/>
                  <a:pt x="339" y="475"/>
                </a:cubicBezTo>
                <a:close/>
                <a:moveTo>
                  <a:pt x="339" y="735"/>
                </a:moveTo>
                <a:cubicBezTo>
                  <a:pt x="340" y="735"/>
                  <a:pt x="340" y="736"/>
                  <a:pt x="339" y="735"/>
                </a:cubicBezTo>
                <a:cubicBezTo>
                  <a:pt x="339" y="735"/>
                  <a:pt x="339" y="735"/>
                  <a:pt x="339" y="735"/>
                </a:cubicBezTo>
                <a:close/>
                <a:moveTo>
                  <a:pt x="344" y="348"/>
                </a:moveTo>
                <a:cubicBezTo>
                  <a:pt x="344" y="348"/>
                  <a:pt x="343" y="346"/>
                  <a:pt x="344" y="347"/>
                </a:cubicBezTo>
                <a:cubicBezTo>
                  <a:pt x="344" y="347"/>
                  <a:pt x="345" y="348"/>
                  <a:pt x="344" y="348"/>
                </a:cubicBezTo>
                <a:close/>
                <a:moveTo>
                  <a:pt x="346" y="610"/>
                </a:moveTo>
                <a:cubicBezTo>
                  <a:pt x="345" y="612"/>
                  <a:pt x="344" y="609"/>
                  <a:pt x="342" y="609"/>
                </a:cubicBezTo>
                <a:cubicBezTo>
                  <a:pt x="344" y="608"/>
                  <a:pt x="345" y="610"/>
                  <a:pt x="346" y="610"/>
                </a:cubicBezTo>
                <a:close/>
                <a:moveTo>
                  <a:pt x="344" y="176"/>
                </a:moveTo>
                <a:cubicBezTo>
                  <a:pt x="343" y="176"/>
                  <a:pt x="343" y="176"/>
                  <a:pt x="342" y="175"/>
                </a:cubicBezTo>
                <a:cubicBezTo>
                  <a:pt x="341" y="174"/>
                  <a:pt x="344" y="174"/>
                  <a:pt x="344" y="176"/>
                </a:cubicBezTo>
                <a:close/>
                <a:moveTo>
                  <a:pt x="347" y="192"/>
                </a:moveTo>
                <a:cubicBezTo>
                  <a:pt x="347" y="192"/>
                  <a:pt x="347" y="192"/>
                  <a:pt x="347" y="192"/>
                </a:cubicBezTo>
                <a:cubicBezTo>
                  <a:pt x="347" y="192"/>
                  <a:pt x="347" y="192"/>
                  <a:pt x="347" y="192"/>
                </a:cubicBezTo>
                <a:close/>
                <a:moveTo>
                  <a:pt x="348" y="594"/>
                </a:moveTo>
                <a:cubicBezTo>
                  <a:pt x="348" y="593"/>
                  <a:pt x="349" y="594"/>
                  <a:pt x="349" y="594"/>
                </a:cubicBezTo>
                <a:cubicBezTo>
                  <a:pt x="350" y="596"/>
                  <a:pt x="347" y="595"/>
                  <a:pt x="348" y="594"/>
                </a:cubicBezTo>
                <a:close/>
                <a:moveTo>
                  <a:pt x="348" y="564"/>
                </a:moveTo>
                <a:cubicBezTo>
                  <a:pt x="349" y="563"/>
                  <a:pt x="351" y="564"/>
                  <a:pt x="351" y="565"/>
                </a:cubicBezTo>
                <a:cubicBezTo>
                  <a:pt x="352" y="569"/>
                  <a:pt x="347" y="566"/>
                  <a:pt x="348" y="564"/>
                </a:cubicBezTo>
                <a:close/>
                <a:moveTo>
                  <a:pt x="349" y="471"/>
                </a:moveTo>
                <a:cubicBezTo>
                  <a:pt x="350" y="472"/>
                  <a:pt x="349" y="470"/>
                  <a:pt x="349" y="471"/>
                </a:cubicBezTo>
                <a:close/>
                <a:moveTo>
                  <a:pt x="348" y="85"/>
                </a:moveTo>
                <a:cubicBezTo>
                  <a:pt x="349" y="85"/>
                  <a:pt x="350" y="87"/>
                  <a:pt x="351" y="87"/>
                </a:cubicBezTo>
                <a:cubicBezTo>
                  <a:pt x="350" y="87"/>
                  <a:pt x="349" y="86"/>
                  <a:pt x="348" y="85"/>
                </a:cubicBezTo>
                <a:close/>
                <a:moveTo>
                  <a:pt x="330" y="414"/>
                </a:moveTo>
                <a:cubicBezTo>
                  <a:pt x="331" y="414"/>
                  <a:pt x="331" y="415"/>
                  <a:pt x="330" y="416"/>
                </a:cubicBezTo>
                <a:cubicBezTo>
                  <a:pt x="325" y="416"/>
                  <a:pt x="329" y="409"/>
                  <a:pt x="330" y="414"/>
                </a:cubicBezTo>
                <a:close/>
                <a:moveTo>
                  <a:pt x="328" y="177"/>
                </a:moveTo>
                <a:cubicBezTo>
                  <a:pt x="328" y="176"/>
                  <a:pt x="329" y="178"/>
                  <a:pt x="328" y="177"/>
                </a:cubicBezTo>
                <a:close/>
                <a:moveTo>
                  <a:pt x="328" y="658"/>
                </a:moveTo>
                <a:cubicBezTo>
                  <a:pt x="327" y="658"/>
                  <a:pt x="326" y="657"/>
                  <a:pt x="326" y="657"/>
                </a:cubicBezTo>
                <a:cubicBezTo>
                  <a:pt x="327" y="657"/>
                  <a:pt x="327" y="657"/>
                  <a:pt x="328" y="658"/>
                </a:cubicBezTo>
                <a:close/>
                <a:moveTo>
                  <a:pt x="326" y="743"/>
                </a:moveTo>
                <a:cubicBezTo>
                  <a:pt x="325" y="744"/>
                  <a:pt x="324" y="742"/>
                  <a:pt x="326" y="743"/>
                </a:cubicBezTo>
                <a:close/>
                <a:moveTo>
                  <a:pt x="325" y="755"/>
                </a:moveTo>
                <a:cubicBezTo>
                  <a:pt x="325" y="755"/>
                  <a:pt x="326" y="755"/>
                  <a:pt x="326" y="756"/>
                </a:cubicBezTo>
                <a:cubicBezTo>
                  <a:pt x="326" y="758"/>
                  <a:pt x="324" y="753"/>
                  <a:pt x="325" y="755"/>
                </a:cubicBezTo>
                <a:close/>
                <a:moveTo>
                  <a:pt x="325" y="738"/>
                </a:moveTo>
                <a:cubicBezTo>
                  <a:pt x="325" y="737"/>
                  <a:pt x="327" y="737"/>
                  <a:pt x="327" y="738"/>
                </a:cubicBezTo>
                <a:cubicBezTo>
                  <a:pt x="328" y="739"/>
                  <a:pt x="326" y="738"/>
                  <a:pt x="325" y="738"/>
                </a:cubicBezTo>
                <a:close/>
                <a:moveTo>
                  <a:pt x="325" y="124"/>
                </a:moveTo>
                <a:cubicBezTo>
                  <a:pt x="325" y="124"/>
                  <a:pt x="325" y="124"/>
                  <a:pt x="325" y="124"/>
                </a:cubicBezTo>
                <a:cubicBezTo>
                  <a:pt x="323" y="123"/>
                  <a:pt x="328" y="123"/>
                  <a:pt x="325" y="124"/>
                </a:cubicBezTo>
                <a:close/>
                <a:moveTo>
                  <a:pt x="326" y="382"/>
                </a:moveTo>
                <a:cubicBezTo>
                  <a:pt x="326" y="383"/>
                  <a:pt x="325" y="381"/>
                  <a:pt x="326" y="382"/>
                </a:cubicBezTo>
                <a:close/>
                <a:moveTo>
                  <a:pt x="326" y="596"/>
                </a:moveTo>
                <a:cubicBezTo>
                  <a:pt x="327" y="597"/>
                  <a:pt x="323" y="595"/>
                  <a:pt x="324" y="595"/>
                </a:cubicBezTo>
                <a:cubicBezTo>
                  <a:pt x="325" y="594"/>
                  <a:pt x="326" y="596"/>
                  <a:pt x="326" y="596"/>
                </a:cubicBezTo>
                <a:close/>
                <a:moveTo>
                  <a:pt x="326" y="759"/>
                </a:moveTo>
                <a:cubicBezTo>
                  <a:pt x="327" y="760"/>
                  <a:pt x="323" y="760"/>
                  <a:pt x="324" y="758"/>
                </a:cubicBezTo>
                <a:cubicBezTo>
                  <a:pt x="324" y="758"/>
                  <a:pt x="326" y="758"/>
                  <a:pt x="326" y="759"/>
                </a:cubicBezTo>
                <a:close/>
                <a:moveTo>
                  <a:pt x="321" y="769"/>
                </a:moveTo>
                <a:cubicBezTo>
                  <a:pt x="321" y="768"/>
                  <a:pt x="323" y="769"/>
                  <a:pt x="323" y="769"/>
                </a:cubicBezTo>
                <a:cubicBezTo>
                  <a:pt x="323" y="770"/>
                  <a:pt x="322" y="769"/>
                  <a:pt x="321" y="769"/>
                </a:cubicBezTo>
                <a:close/>
                <a:moveTo>
                  <a:pt x="323" y="770"/>
                </a:moveTo>
                <a:cubicBezTo>
                  <a:pt x="324" y="768"/>
                  <a:pt x="330" y="767"/>
                  <a:pt x="330" y="770"/>
                </a:cubicBezTo>
                <a:cubicBezTo>
                  <a:pt x="330" y="773"/>
                  <a:pt x="323" y="772"/>
                  <a:pt x="323" y="770"/>
                </a:cubicBezTo>
                <a:close/>
                <a:moveTo>
                  <a:pt x="336" y="777"/>
                </a:moveTo>
                <a:cubicBezTo>
                  <a:pt x="337" y="778"/>
                  <a:pt x="335" y="776"/>
                  <a:pt x="336" y="777"/>
                </a:cubicBezTo>
                <a:close/>
                <a:moveTo>
                  <a:pt x="326" y="757"/>
                </a:moveTo>
                <a:cubicBezTo>
                  <a:pt x="327" y="757"/>
                  <a:pt x="326" y="754"/>
                  <a:pt x="326" y="755"/>
                </a:cubicBezTo>
                <a:cubicBezTo>
                  <a:pt x="326" y="753"/>
                  <a:pt x="333" y="752"/>
                  <a:pt x="335" y="754"/>
                </a:cubicBezTo>
                <a:cubicBezTo>
                  <a:pt x="335" y="754"/>
                  <a:pt x="336" y="757"/>
                  <a:pt x="337" y="757"/>
                </a:cubicBezTo>
                <a:cubicBezTo>
                  <a:pt x="336" y="758"/>
                  <a:pt x="328" y="759"/>
                  <a:pt x="326" y="757"/>
                </a:cubicBezTo>
                <a:close/>
                <a:moveTo>
                  <a:pt x="335" y="748"/>
                </a:moveTo>
                <a:cubicBezTo>
                  <a:pt x="335" y="747"/>
                  <a:pt x="337" y="747"/>
                  <a:pt x="337" y="748"/>
                </a:cubicBezTo>
                <a:cubicBezTo>
                  <a:pt x="338" y="749"/>
                  <a:pt x="336" y="749"/>
                  <a:pt x="335" y="748"/>
                </a:cubicBezTo>
                <a:close/>
                <a:moveTo>
                  <a:pt x="328" y="744"/>
                </a:moveTo>
                <a:cubicBezTo>
                  <a:pt x="328" y="743"/>
                  <a:pt x="329" y="742"/>
                  <a:pt x="329" y="741"/>
                </a:cubicBezTo>
                <a:cubicBezTo>
                  <a:pt x="329" y="742"/>
                  <a:pt x="332" y="740"/>
                  <a:pt x="332" y="740"/>
                </a:cubicBezTo>
                <a:cubicBezTo>
                  <a:pt x="334" y="740"/>
                  <a:pt x="339" y="741"/>
                  <a:pt x="337" y="745"/>
                </a:cubicBezTo>
                <a:cubicBezTo>
                  <a:pt x="336" y="748"/>
                  <a:pt x="329" y="746"/>
                  <a:pt x="328" y="744"/>
                </a:cubicBezTo>
                <a:close/>
                <a:moveTo>
                  <a:pt x="339" y="774"/>
                </a:moveTo>
                <a:cubicBezTo>
                  <a:pt x="339" y="773"/>
                  <a:pt x="337" y="773"/>
                  <a:pt x="337" y="772"/>
                </a:cubicBezTo>
                <a:cubicBezTo>
                  <a:pt x="338" y="770"/>
                  <a:pt x="344" y="770"/>
                  <a:pt x="344" y="772"/>
                </a:cubicBezTo>
                <a:cubicBezTo>
                  <a:pt x="345" y="775"/>
                  <a:pt x="339" y="775"/>
                  <a:pt x="339" y="774"/>
                </a:cubicBezTo>
                <a:close/>
                <a:moveTo>
                  <a:pt x="353" y="716"/>
                </a:moveTo>
                <a:cubicBezTo>
                  <a:pt x="351" y="716"/>
                  <a:pt x="346" y="715"/>
                  <a:pt x="345" y="713"/>
                </a:cubicBezTo>
                <a:cubicBezTo>
                  <a:pt x="348" y="714"/>
                  <a:pt x="350" y="715"/>
                  <a:pt x="353" y="716"/>
                </a:cubicBezTo>
                <a:close/>
                <a:moveTo>
                  <a:pt x="345" y="744"/>
                </a:moveTo>
                <a:cubicBezTo>
                  <a:pt x="345" y="743"/>
                  <a:pt x="348" y="743"/>
                  <a:pt x="348" y="744"/>
                </a:cubicBezTo>
                <a:cubicBezTo>
                  <a:pt x="349" y="745"/>
                  <a:pt x="345" y="744"/>
                  <a:pt x="345" y="744"/>
                </a:cubicBezTo>
                <a:close/>
                <a:moveTo>
                  <a:pt x="345" y="734"/>
                </a:moveTo>
                <a:cubicBezTo>
                  <a:pt x="346" y="733"/>
                  <a:pt x="349" y="733"/>
                  <a:pt x="349" y="735"/>
                </a:cubicBezTo>
                <a:cubicBezTo>
                  <a:pt x="350" y="737"/>
                  <a:pt x="345" y="735"/>
                  <a:pt x="345" y="734"/>
                </a:cubicBezTo>
                <a:close/>
                <a:moveTo>
                  <a:pt x="349" y="764"/>
                </a:moveTo>
                <a:cubicBezTo>
                  <a:pt x="349" y="763"/>
                  <a:pt x="350" y="763"/>
                  <a:pt x="350" y="764"/>
                </a:cubicBezTo>
                <a:cubicBezTo>
                  <a:pt x="351" y="764"/>
                  <a:pt x="349" y="765"/>
                  <a:pt x="349" y="764"/>
                </a:cubicBezTo>
                <a:close/>
                <a:moveTo>
                  <a:pt x="350" y="725"/>
                </a:moveTo>
                <a:cubicBezTo>
                  <a:pt x="350" y="724"/>
                  <a:pt x="353" y="724"/>
                  <a:pt x="354" y="725"/>
                </a:cubicBezTo>
                <a:cubicBezTo>
                  <a:pt x="355" y="727"/>
                  <a:pt x="350" y="727"/>
                  <a:pt x="350" y="725"/>
                </a:cubicBezTo>
                <a:close/>
                <a:moveTo>
                  <a:pt x="353" y="770"/>
                </a:moveTo>
                <a:cubicBezTo>
                  <a:pt x="353" y="769"/>
                  <a:pt x="358" y="767"/>
                  <a:pt x="359" y="769"/>
                </a:cubicBezTo>
                <a:cubicBezTo>
                  <a:pt x="359" y="772"/>
                  <a:pt x="354" y="771"/>
                  <a:pt x="353" y="770"/>
                </a:cubicBezTo>
                <a:close/>
                <a:moveTo>
                  <a:pt x="359" y="772"/>
                </a:moveTo>
                <a:cubicBezTo>
                  <a:pt x="359" y="772"/>
                  <a:pt x="359" y="771"/>
                  <a:pt x="360" y="771"/>
                </a:cubicBezTo>
                <a:cubicBezTo>
                  <a:pt x="360" y="771"/>
                  <a:pt x="359" y="772"/>
                  <a:pt x="359" y="772"/>
                </a:cubicBezTo>
                <a:close/>
                <a:moveTo>
                  <a:pt x="360" y="723"/>
                </a:moveTo>
                <a:cubicBezTo>
                  <a:pt x="360" y="723"/>
                  <a:pt x="360" y="723"/>
                  <a:pt x="360" y="723"/>
                </a:cubicBezTo>
                <a:cubicBezTo>
                  <a:pt x="360" y="723"/>
                  <a:pt x="359" y="722"/>
                  <a:pt x="360" y="723"/>
                </a:cubicBezTo>
                <a:close/>
                <a:moveTo>
                  <a:pt x="361" y="721"/>
                </a:moveTo>
                <a:cubicBezTo>
                  <a:pt x="363" y="719"/>
                  <a:pt x="365" y="722"/>
                  <a:pt x="361" y="721"/>
                </a:cubicBezTo>
                <a:close/>
                <a:moveTo>
                  <a:pt x="356" y="717"/>
                </a:moveTo>
                <a:cubicBezTo>
                  <a:pt x="358" y="718"/>
                  <a:pt x="362" y="717"/>
                  <a:pt x="364" y="719"/>
                </a:cubicBezTo>
                <a:cubicBezTo>
                  <a:pt x="367" y="721"/>
                  <a:pt x="356" y="719"/>
                  <a:pt x="356" y="717"/>
                </a:cubicBezTo>
                <a:close/>
                <a:moveTo>
                  <a:pt x="365" y="760"/>
                </a:moveTo>
                <a:cubicBezTo>
                  <a:pt x="364" y="760"/>
                  <a:pt x="365" y="759"/>
                  <a:pt x="366" y="760"/>
                </a:cubicBezTo>
                <a:cubicBezTo>
                  <a:pt x="366" y="760"/>
                  <a:pt x="365" y="760"/>
                  <a:pt x="365" y="760"/>
                </a:cubicBezTo>
                <a:close/>
                <a:moveTo>
                  <a:pt x="368" y="740"/>
                </a:moveTo>
                <a:cubicBezTo>
                  <a:pt x="368" y="740"/>
                  <a:pt x="369" y="739"/>
                  <a:pt x="369" y="740"/>
                </a:cubicBezTo>
                <a:cubicBezTo>
                  <a:pt x="370" y="741"/>
                  <a:pt x="368" y="741"/>
                  <a:pt x="368" y="740"/>
                </a:cubicBezTo>
                <a:close/>
                <a:moveTo>
                  <a:pt x="364" y="737"/>
                </a:moveTo>
                <a:cubicBezTo>
                  <a:pt x="364" y="735"/>
                  <a:pt x="369" y="735"/>
                  <a:pt x="369" y="737"/>
                </a:cubicBezTo>
                <a:cubicBezTo>
                  <a:pt x="371" y="739"/>
                  <a:pt x="364" y="738"/>
                  <a:pt x="364" y="737"/>
                </a:cubicBezTo>
                <a:close/>
                <a:moveTo>
                  <a:pt x="370" y="740"/>
                </a:moveTo>
                <a:cubicBezTo>
                  <a:pt x="370" y="739"/>
                  <a:pt x="372" y="739"/>
                  <a:pt x="373" y="740"/>
                </a:cubicBezTo>
                <a:cubicBezTo>
                  <a:pt x="374" y="741"/>
                  <a:pt x="370" y="741"/>
                  <a:pt x="370" y="740"/>
                </a:cubicBezTo>
                <a:close/>
                <a:moveTo>
                  <a:pt x="371" y="748"/>
                </a:moveTo>
                <a:cubicBezTo>
                  <a:pt x="371" y="748"/>
                  <a:pt x="372" y="747"/>
                  <a:pt x="373" y="748"/>
                </a:cubicBezTo>
                <a:cubicBezTo>
                  <a:pt x="374" y="750"/>
                  <a:pt x="371" y="749"/>
                  <a:pt x="371" y="748"/>
                </a:cubicBezTo>
                <a:close/>
                <a:moveTo>
                  <a:pt x="373" y="754"/>
                </a:moveTo>
                <a:cubicBezTo>
                  <a:pt x="373" y="753"/>
                  <a:pt x="375" y="755"/>
                  <a:pt x="373" y="754"/>
                </a:cubicBezTo>
                <a:close/>
                <a:moveTo>
                  <a:pt x="375" y="726"/>
                </a:moveTo>
                <a:cubicBezTo>
                  <a:pt x="376" y="725"/>
                  <a:pt x="376" y="728"/>
                  <a:pt x="375" y="726"/>
                </a:cubicBezTo>
                <a:close/>
                <a:moveTo>
                  <a:pt x="375" y="708"/>
                </a:moveTo>
                <a:cubicBezTo>
                  <a:pt x="378" y="708"/>
                  <a:pt x="375" y="710"/>
                  <a:pt x="375" y="708"/>
                </a:cubicBezTo>
                <a:close/>
                <a:moveTo>
                  <a:pt x="376" y="704"/>
                </a:moveTo>
                <a:cubicBezTo>
                  <a:pt x="377" y="703"/>
                  <a:pt x="380" y="704"/>
                  <a:pt x="380" y="706"/>
                </a:cubicBezTo>
                <a:cubicBezTo>
                  <a:pt x="381" y="709"/>
                  <a:pt x="375" y="706"/>
                  <a:pt x="376" y="704"/>
                </a:cubicBezTo>
                <a:close/>
                <a:moveTo>
                  <a:pt x="380" y="746"/>
                </a:moveTo>
                <a:cubicBezTo>
                  <a:pt x="380" y="747"/>
                  <a:pt x="378" y="746"/>
                  <a:pt x="379" y="746"/>
                </a:cubicBezTo>
                <a:cubicBezTo>
                  <a:pt x="380" y="745"/>
                  <a:pt x="380" y="746"/>
                  <a:pt x="380" y="746"/>
                </a:cubicBezTo>
                <a:close/>
                <a:moveTo>
                  <a:pt x="378" y="716"/>
                </a:moveTo>
                <a:cubicBezTo>
                  <a:pt x="378" y="716"/>
                  <a:pt x="378" y="715"/>
                  <a:pt x="379" y="715"/>
                </a:cubicBezTo>
                <a:cubicBezTo>
                  <a:pt x="382" y="714"/>
                  <a:pt x="380" y="718"/>
                  <a:pt x="378" y="716"/>
                </a:cubicBezTo>
                <a:close/>
                <a:moveTo>
                  <a:pt x="380" y="749"/>
                </a:moveTo>
                <a:cubicBezTo>
                  <a:pt x="380" y="749"/>
                  <a:pt x="381" y="748"/>
                  <a:pt x="382" y="748"/>
                </a:cubicBezTo>
                <a:cubicBezTo>
                  <a:pt x="383" y="749"/>
                  <a:pt x="380" y="750"/>
                  <a:pt x="380" y="749"/>
                </a:cubicBezTo>
                <a:close/>
                <a:moveTo>
                  <a:pt x="381" y="734"/>
                </a:moveTo>
                <a:cubicBezTo>
                  <a:pt x="382" y="734"/>
                  <a:pt x="383" y="734"/>
                  <a:pt x="383" y="735"/>
                </a:cubicBezTo>
                <a:cubicBezTo>
                  <a:pt x="384" y="738"/>
                  <a:pt x="378" y="736"/>
                  <a:pt x="381" y="734"/>
                </a:cubicBezTo>
                <a:close/>
                <a:moveTo>
                  <a:pt x="384" y="754"/>
                </a:moveTo>
                <a:cubicBezTo>
                  <a:pt x="384" y="754"/>
                  <a:pt x="384" y="754"/>
                  <a:pt x="385" y="754"/>
                </a:cubicBezTo>
                <a:cubicBezTo>
                  <a:pt x="385" y="755"/>
                  <a:pt x="384" y="755"/>
                  <a:pt x="384" y="754"/>
                </a:cubicBezTo>
                <a:close/>
                <a:moveTo>
                  <a:pt x="386" y="712"/>
                </a:moveTo>
                <a:cubicBezTo>
                  <a:pt x="386" y="712"/>
                  <a:pt x="386" y="712"/>
                  <a:pt x="386" y="712"/>
                </a:cubicBezTo>
                <a:cubicBezTo>
                  <a:pt x="388" y="712"/>
                  <a:pt x="387" y="713"/>
                  <a:pt x="386" y="712"/>
                </a:cubicBezTo>
                <a:close/>
                <a:moveTo>
                  <a:pt x="387" y="722"/>
                </a:moveTo>
                <a:cubicBezTo>
                  <a:pt x="387" y="722"/>
                  <a:pt x="390" y="721"/>
                  <a:pt x="390" y="723"/>
                </a:cubicBezTo>
                <a:cubicBezTo>
                  <a:pt x="390" y="724"/>
                  <a:pt x="388" y="723"/>
                  <a:pt x="387" y="722"/>
                </a:cubicBezTo>
                <a:close/>
                <a:moveTo>
                  <a:pt x="389" y="709"/>
                </a:moveTo>
                <a:cubicBezTo>
                  <a:pt x="387" y="709"/>
                  <a:pt x="387" y="707"/>
                  <a:pt x="389" y="709"/>
                </a:cubicBezTo>
                <a:close/>
                <a:moveTo>
                  <a:pt x="391" y="719"/>
                </a:moveTo>
                <a:cubicBezTo>
                  <a:pt x="391" y="719"/>
                  <a:pt x="391" y="720"/>
                  <a:pt x="391" y="720"/>
                </a:cubicBezTo>
                <a:cubicBezTo>
                  <a:pt x="390" y="720"/>
                  <a:pt x="391" y="719"/>
                  <a:pt x="391" y="719"/>
                </a:cubicBezTo>
                <a:close/>
                <a:moveTo>
                  <a:pt x="391" y="736"/>
                </a:moveTo>
                <a:cubicBezTo>
                  <a:pt x="389" y="735"/>
                  <a:pt x="393" y="737"/>
                  <a:pt x="391" y="736"/>
                </a:cubicBezTo>
                <a:close/>
                <a:moveTo>
                  <a:pt x="390" y="565"/>
                </a:moveTo>
                <a:cubicBezTo>
                  <a:pt x="391" y="567"/>
                  <a:pt x="389" y="563"/>
                  <a:pt x="390" y="565"/>
                </a:cubicBezTo>
                <a:close/>
                <a:moveTo>
                  <a:pt x="390" y="396"/>
                </a:moveTo>
                <a:cubicBezTo>
                  <a:pt x="389" y="395"/>
                  <a:pt x="391" y="397"/>
                  <a:pt x="390" y="396"/>
                </a:cubicBezTo>
                <a:close/>
                <a:moveTo>
                  <a:pt x="398" y="675"/>
                </a:moveTo>
                <a:cubicBezTo>
                  <a:pt x="398" y="675"/>
                  <a:pt x="397" y="676"/>
                  <a:pt x="397" y="677"/>
                </a:cubicBezTo>
                <a:cubicBezTo>
                  <a:pt x="397" y="679"/>
                  <a:pt x="403" y="680"/>
                  <a:pt x="405" y="682"/>
                </a:cubicBezTo>
                <a:cubicBezTo>
                  <a:pt x="408" y="684"/>
                  <a:pt x="411" y="686"/>
                  <a:pt x="413" y="688"/>
                </a:cubicBezTo>
                <a:cubicBezTo>
                  <a:pt x="407" y="687"/>
                  <a:pt x="401" y="679"/>
                  <a:pt x="396" y="677"/>
                </a:cubicBezTo>
                <a:cubicBezTo>
                  <a:pt x="392" y="676"/>
                  <a:pt x="389" y="677"/>
                  <a:pt x="390" y="671"/>
                </a:cubicBezTo>
                <a:cubicBezTo>
                  <a:pt x="392" y="673"/>
                  <a:pt x="397" y="671"/>
                  <a:pt x="398" y="675"/>
                </a:cubicBezTo>
                <a:close/>
                <a:moveTo>
                  <a:pt x="391" y="523"/>
                </a:moveTo>
                <a:cubicBezTo>
                  <a:pt x="392" y="523"/>
                  <a:pt x="392" y="524"/>
                  <a:pt x="393" y="525"/>
                </a:cubicBezTo>
                <a:cubicBezTo>
                  <a:pt x="392" y="525"/>
                  <a:pt x="391" y="523"/>
                  <a:pt x="391" y="523"/>
                </a:cubicBezTo>
                <a:close/>
                <a:moveTo>
                  <a:pt x="402" y="645"/>
                </a:moveTo>
                <a:cubicBezTo>
                  <a:pt x="402" y="646"/>
                  <a:pt x="397" y="644"/>
                  <a:pt x="398" y="644"/>
                </a:cubicBezTo>
                <a:cubicBezTo>
                  <a:pt x="399" y="643"/>
                  <a:pt x="401" y="645"/>
                  <a:pt x="402" y="645"/>
                </a:cubicBezTo>
                <a:close/>
                <a:moveTo>
                  <a:pt x="401" y="387"/>
                </a:moveTo>
                <a:cubicBezTo>
                  <a:pt x="402" y="388"/>
                  <a:pt x="400" y="385"/>
                  <a:pt x="401" y="387"/>
                </a:cubicBezTo>
                <a:close/>
                <a:moveTo>
                  <a:pt x="408" y="130"/>
                </a:moveTo>
                <a:cubicBezTo>
                  <a:pt x="407" y="131"/>
                  <a:pt x="406" y="130"/>
                  <a:pt x="406" y="129"/>
                </a:cubicBezTo>
                <a:cubicBezTo>
                  <a:pt x="407" y="129"/>
                  <a:pt x="407" y="130"/>
                  <a:pt x="408" y="130"/>
                </a:cubicBezTo>
                <a:close/>
                <a:moveTo>
                  <a:pt x="406" y="94"/>
                </a:moveTo>
                <a:cubicBezTo>
                  <a:pt x="407" y="94"/>
                  <a:pt x="407" y="94"/>
                  <a:pt x="408" y="95"/>
                </a:cubicBezTo>
                <a:cubicBezTo>
                  <a:pt x="407" y="95"/>
                  <a:pt x="406" y="95"/>
                  <a:pt x="406" y="94"/>
                </a:cubicBezTo>
                <a:close/>
                <a:moveTo>
                  <a:pt x="412" y="602"/>
                </a:moveTo>
                <a:cubicBezTo>
                  <a:pt x="413" y="605"/>
                  <a:pt x="408" y="603"/>
                  <a:pt x="407" y="602"/>
                </a:cubicBezTo>
                <a:cubicBezTo>
                  <a:pt x="407" y="599"/>
                  <a:pt x="412" y="600"/>
                  <a:pt x="412" y="602"/>
                </a:cubicBezTo>
                <a:close/>
                <a:moveTo>
                  <a:pt x="409" y="131"/>
                </a:moveTo>
                <a:cubicBezTo>
                  <a:pt x="409" y="132"/>
                  <a:pt x="408" y="130"/>
                  <a:pt x="409" y="131"/>
                </a:cubicBezTo>
                <a:close/>
                <a:moveTo>
                  <a:pt x="421" y="663"/>
                </a:moveTo>
                <a:cubicBezTo>
                  <a:pt x="423" y="664"/>
                  <a:pt x="437" y="669"/>
                  <a:pt x="438" y="671"/>
                </a:cubicBezTo>
                <a:cubicBezTo>
                  <a:pt x="438" y="673"/>
                  <a:pt x="434" y="671"/>
                  <a:pt x="433" y="670"/>
                </a:cubicBezTo>
                <a:cubicBezTo>
                  <a:pt x="431" y="669"/>
                  <a:pt x="417" y="663"/>
                  <a:pt x="417" y="661"/>
                </a:cubicBezTo>
                <a:cubicBezTo>
                  <a:pt x="416" y="659"/>
                  <a:pt x="421" y="663"/>
                  <a:pt x="421" y="663"/>
                </a:cubicBezTo>
                <a:close/>
                <a:moveTo>
                  <a:pt x="420" y="624"/>
                </a:moveTo>
                <a:cubicBezTo>
                  <a:pt x="420" y="623"/>
                  <a:pt x="421" y="624"/>
                  <a:pt x="421" y="625"/>
                </a:cubicBezTo>
                <a:cubicBezTo>
                  <a:pt x="421" y="626"/>
                  <a:pt x="419" y="624"/>
                  <a:pt x="420" y="624"/>
                </a:cubicBezTo>
                <a:close/>
                <a:moveTo>
                  <a:pt x="422" y="659"/>
                </a:moveTo>
                <a:cubicBezTo>
                  <a:pt x="422" y="659"/>
                  <a:pt x="423" y="659"/>
                  <a:pt x="423" y="659"/>
                </a:cubicBezTo>
                <a:cubicBezTo>
                  <a:pt x="423" y="661"/>
                  <a:pt x="421" y="659"/>
                  <a:pt x="422" y="659"/>
                </a:cubicBezTo>
                <a:close/>
                <a:moveTo>
                  <a:pt x="435" y="515"/>
                </a:moveTo>
                <a:cubicBezTo>
                  <a:pt x="435" y="516"/>
                  <a:pt x="435" y="517"/>
                  <a:pt x="436" y="518"/>
                </a:cubicBezTo>
                <a:cubicBezTo>
                  <a:pt x="437" y="521"/>
                  <a:pt x="441" y="526"/>
                  <a:pt x="445" y="530"/>
                </a:cubicBezTo>
                <a:cubicBezTo>
                  <a:pt x="448" y="533"/>
                  <a:pt x="451" y="534"/>
                  <a:pt x="453" y="537"/>
                </a:cubicBezTo>
                <a:cubicBezTo>
                  <a:pt x="453" y="537"/>
                  <a:pt x="453" y="538"/>
                  <a:pt x="453" y="539"/>
                </a:cubicBezTo>
                <a:cubicBezTo>
                  <a:pt x="452" y="539"/>
                  <a:pt x="447" y="534"/>
                  <a:pt x="446" y="532"/>
                </a:cubicBezTo>
                <a:cubicBezTo>
                  <a:pt x="444" y="530"/>
                  <a:pt x="442" y="528"/>
                  <a:pt x="440" y="526"/>
                </a:cubicBezTo>
                <a:cubicBezTo>
                  <a:pt x="438" y="524"/>
                  <a:pt x="437" y="519"/>
                  <a:pt x="434" y="518"/>
                </a:cubicBezTo>
                <a:cubicBezTo>
                  <a:pt x="434" y="518"/>
                  <a:pt x="432" y="519"/>
                  <a:pt x="431" y="519"/>
                </a:cubicBezTo>
                <a:cubicBezTo>
                  <a:pt x="427" y="517"/>
                  <a:pt x="431" y="510"/>
                  <a:pt x="435" y="515"/>
                </a:cubicBezTo>
                <a:close/>
                <a:moveTo>
                  <a:pt x="434" y="370"/>
                </a:moveTo>
                <a:cubicBezTo>
                  <a:pt x="435" y="370"/>
                  <a:pt x="436" y="372"/>
                  <a:pt x="436" y="373"/>
                </a:cubicBezTo>
                <a:cubicBezTo>
                  <a:pt x="435" y="373"/>
                  <a:pt x="435" y="371"/>
                  <a:pt x="434" y="370"/>
                </a:cubicBezTo>
                <a:close/>
                <a:moveTo>
                  <a:pt x="437" y="135"/>
                </a:moveTo>
                <a:cubicBezTo>
                  <a:pt x="437" y="135"/>
                  <a:pt x="438" y="135"/>
                  <a:pt x="438" y="136"/>
                </a:cubicBezTo>
                <a:cubicBezTo>
                  <a:pt x="438" y="136"/>
                  <a:pt x="437" y="136"/>
                  <a:pt x="437" y="135"/>
                </a:cubicBezTo>
                <a:close/>
                <a:moveTo>
                  <a:pt x="448" y="408"/>
                </a:moveTo>
                <a:cubicBezTo>
                  <a:pt x="449" y="411"/>
                  <a:pt x="445" y="407"/>
                  <a:pt x="446" y="406"/>
                </a:cubicBezTo>
                <a:cubicBezTo>
                  <a:pt x="447" y="406"/>
                  <a:pt x="448" y="408"/>
                  <a:pt x="448" y="408"/>
                </a:cubicBezTo>
                <a:close/>
                <a:moveTo>
                  <a:pt x="448" y="167"/>
                </a:moveTo>
                <a:cubicBezTo>
                  <a:pt x="449" y="168"/>
                  <a:pt x="446" y="166"/>
                  <a:pt x="448" y="167"/>
                </a:cubicBezTo>
                <a:close/>
                <a:moveTo>
                  <a:pt x="447" y="435"/>
                </a:moveTo>
                <a:cubicBezTo>
                  <a:pt x="448" y="435"/>
                  <a:pt x="449" y="436"/>
                  <a:pt x="449" y="438"/>
                </a:cubicBezTo>
                <a:cubicBezTo>
                  <a:pt x="449" y="439"/>
                  <a:pt x="448" y="440"/>
                  <a:pt x="447" y="440"/>
                </a:cubicBezTo>
                <a:cubicBezTo>
                  <a:pt x="442" y="441"/>
                  <a:pt x="444" y="433"/>
                  <a:pt x="447" y="435"/>
                </a:cubicBezTo>
                <a:close/>
                <a:moveTo>
                  <a:pt x="446" y="515"/>
                </a:moveTo>
                <a:cubicBezTo>
                  <a:pt x="446" y="514"/>
                  <a:pt x="446" y="515"/>
                  <a:pt x="446" y="515"/>
                </a:cubicBezTo>
                <a:close/>
                <a:moveTo>
                  <a:pt x="445" y="441"/>
                </a:moveTo>
                <a:cubicBezTo>
                  <a:pt x="445" y="443"/>
                  <a:pt x="444" y="439"/>
                  <a:pt x="445" y="441"/>
                </a:cubicBezTo>
                <a:close/>
                <a:moveTo>
                  <a:pt x="445" y="494"/>
                </a:moveTo>
                <a:cubicBezTo>
                  <a:pt x="445" y="494"/>
                  <a:pt x="444" y="495"/>
                  <a:pt x="444" y="495"/>
                </a:cubicBezTo>
                <a:cubicBezTo>
                  <a:pt x="443" y="494"/>
                  <a:pt x="444" y="493"/>
                  <a:pt x="445" y="494"/>
                </a:cubicBezTo>
                <a:close/>
                <a:moveTo>
                  <a:pt x="452" y="150"/>
                </a:moveTo>
                <a:cubicBezTo>
                  <a:pt x="452" y="150"/>
                  <a:pt x="452" y="150"/>
                  <a:pt x="452" y="150"/>
                </a:cubicBezTo>
                <a:cubicBezTo>
                  <a:pt x="452" y="150"/>
                  <a:pt x="452" y="150"/>
                  <a:pt x="452" y="150"/>
                </a:cubicBezTo>
                <a:cubicBezTo>
                  <a:pt x="452" y="150"/>
                  <a:pt x="452" y="150"/>
                  <a:pt x="452" y="150"/>
                </a:cubicBezTo>
                <a:close/>
                <a:moveTo>
                  <a:pt x="456" y="548"/>
                </a:moveTo>
                <a:cubicBezTo>
                  <a:pt x="455" y="548"/>
                  <a:pt x="454" y="546"/>
                  <a:pt x="454" y="546"/>
                </a:cubicBezTo>
                <a:cubicBezTo>
                  <a:pt x="455" y="546"/>
                  <a:pt x="455" y="547"/>
                  <a:pt x="456" y="548"/>
                </a:cubicBezTo>
                <a:close/>
                <a:moveTo>
                  <a:pt x="454" y="436"/>
                </a:moveTo>
                <a:cubicBezTo>
                  <a:pt x="454" y="436"/>
                  <a:pt x="454" y="436"/>
                  <a:pt x="454" y="436"/>
                </a:cubicBezTo>
                <a:cubicBezTo>
                  <a:pt x="455" y="437"/>
                  <a:pt x="454" y="436"/>
                  <a:pt x="454" y="436"/>
                </a:cubicBezTo>
                <a:close/>
                <a:moveTo>
                  <a:pt x="459" y="622"/>
                </a:moveTo>
                <a:cubicBezTo>
                  <a:pt x="459" y="623"/>
                  <a:pt x="459" y="624"/>
                  <a:pt x="457" y="623"/>
                </a:cubicBezTo>
                <a:cubicBezTo>
                  <a:pt x="455" y="622"/>
                  <a:pt x="448" y="615"/>
                  <a:pt x="448" y="614"/>
                </a:cubicBezTo>
                <a:cubicBezTo>
                  <a:pt x="450" y="613"/>
                  <a:pt x="451" y="617"/>
                  <a:pt x="452" y="617"/>
                </a:cubicBezTo>
                <a:cubicBezTo>
                  <a:pt x="454" y="619"/>
                  <a:pt x="459" y="619"/>
                  <a:pt x="459" y="622"/>
                </a:cubicBezTo>
                <a:close/>
                <a:moveTo>
                  <a:pt x="458" y="565"/>
                </a:moveTo>
                <a:cubicBezTo>
                  <a:pt x="456" y="564"/>
                  <a:pt x="457" y="563"/>
                  <a:pt x="458" y="565"/>
                </a:cubicBezTo>
                <a:close/>
                <a:moveTo>
                  <a:pt x="459" y="565"/>
                </a:moveTo>
                <a:cubicBezTo>
                  <a:pt x="460" y="565"/>
                  <a:pt x="458" y="567"/>
                  <a:pt x="459" y="565"/>
                </a:cubicBezTo>
                <a:close/>
                <a:moveTo>
                  <a:pt x="459" y="642"/>
                </a:moveTo>
                <a:cubicBezTo>
                  <a:pt x="459" y="642"/>
                  <a:pt x="458" y="641"/>
                  <a:pt x="458" y="641"/>
                </a:cubicBezTo>
                <a:cubicBezTo>
                  <a:pt x="458" y="640"/>
                  <a:pt x="459" y="641"/>
                  <a:pt x="459" y="642"/>
                </a:cubicBezTo>
                <a:close/>
                <a:moveTo>
                  <a:pt x="454" y="648"/>
                </a:moveTo>
                <a:cubicBezTo>
                  <a:pt x="455" y="648"/>
                  <a:pt x="457" y="649"/>
                  <a:pt x="457" y="649"/>
                </a:cubicBezTo>
                <a:cubicBezTo>
                  <a:pt x="458" y="652"/>
                  <a:pt x="453" y="650"/>
                  <a:pt x="454" y="648"/>
                </a:cubicBezTo>
                <a:close/>
                <a:moveTo>
                  <a:pt x="454" y="659"/>
                </a:moveTo>
                <a:cubicBezTo>
                  <a:pt x="454" y="659"/>
                  <a:pt x="455" y="658"/>
                  <a:pt x="456" y="659"/>
                </a:cubicBezTo>
                <a:cubicBezTo>
                  <a:pt x="457" y="659"/>
                  <a:pt x="455" y="660"/>
                  <a:pt x="454" y="659"/>
                </a:cubicBezTo>
                <a:close/>
                <a:moveTo>
                  <a:pt x="452" y="632"/>
                </a:moveTo>
                <a:cubicBezTo>
                  <a:pt x="452" y="632"/>
                  <a:pt x="453" y="632"/>
                  <a:pt x="453" y="633"/>
                </a:cubicBezTo>
                <a:cubicBezTo>
                  <a:pt x="454" y="635"/>
                  <a:pt x="450" y="634"/>
                  <a:pt x="452" y="632"/>
                </a:cubicBezTo>
                <a:close/>
                <a:moveTo>
                  <a:pt x="449" y="622"/>
                </a:moveTo>
                <a:cubicBezTo>
                  <a:pt x="449" y="622"/>
                  <a:pt x="450" y="622"/>
                  <a:pt x="450" y="623"/>
                </a:cubicBezTo>
                <a:cubicBezTo>
                  <a:pt x="451" y="624"/>
                  <a:pt x="449" y="623"/>
                  <a:pt x="449" y="622"/>
                </a:cubicBezTo>
                <a:close/>
                <a:moveTo>
                  <a:pt x="446" y="640"/>
                </a:moveTo>
                <a:cubicBezTo>
                  <a:pt x="446" y="640"/>
                  <a:pt x="444" y="639"/>
                  <a:pt x="444" y="639"/>
                </a:cubicBezTo>
                <a:cubicBezTo>
                  <a:pt x="445" y="639"/>
                  <a:pt x="446" y="640"/>
                  <a:pt x="446" y="640"/>
                </a:cubicBezTo>
                <a:close/>
                <a:moveTo>
                  <a:pt x="445" y="602"/>
                </a:moveTo>
                <a:cubicBezTo>
                  <a:pt x="447" y="601"/>
                  <a:pt x="447" y="603"/>
                  <a:pt x="445" y="602"/>
                </a:cubicBezTo>
                <a:close/>
                <a:moveTo>
                  <a:pt x="444" y="571"/>
                </a:moveTo>
                <a:cubicBezTo>
                  <a:pt x="446" y="569"/>
                  <a:pt x="449" y="573"/>
                  <a:pt x="449" y="574"/>
                </a:cubicBezTo>
                <a:cubicBezTo>
                  <a:pt x="449" y="579"/>
                  <a:pt x="441" y="574"/>
                  <a:pt x="444" y="571"/>
                </a:cubicBezTo>
                <a:close/>
                <a:moveTo>
                  <a:pt x="429" y="648"/>
                </a:moveTo>
                <a:cubicBezTo>
                  <a:pt x="432" y="648"/>
                  <a:pt x="434" y="647"/>
                  <a:pt x="436" y="649"/>
                </a:cubicBezTo>
                <a:cubicBezTo>
                  <a:pt x="437" y="650"/>
                  <a:pt x="437" y="652"/>
                  <a:pt x="437" y="652"/>
                </a:cubicBezTo>
                <a:cubicBezTo>
                  <a:pt x="438" y="654"/>
                  <a:pt x="441" y="652"/>
                  <a:pt x="442" y="654"/>
                </a:cubicBezTo>
                <a:cubicBezTo>
                  <a:pt x="443" y="657"/>
                  <a:pt x="439" y="658"/>
                  <a:pt x="439" y="658"/>
                </a:cubicBezTo>
                <a:cubicBezTo>
                  <a:pt x="436" y="659"/>
                  <a:pt x="435" y="653"/>
                  <a:pt x="431" y="654"/>
                </a:cubicBezTo>
                <a:cubicBezTo>
                  <a:pt x="430" y="654"/>
                  <a:pt x="429" y="655"/>
                  <a:pt x="428" y="654"/>
                </a:cubicBezTo>
                <a:cubicBezTo>
                  <a:pt x="432" y="653"/>
                  <a:pt x="424" y="648"/>
                  <a:pt x="429" y="648"/>
                </a:cubicBezTo>
                <a:close/>
                <a:moveTo>
                  <a:pt x="428" y="646"/>
                </a:moveTo>
                <a:cubicBezTo>
                  <a:pt x="428" y="646"/>
                  <a:pt x="428" y="646"/>
                  <a:pt x="428" y="646"/>
                </a:cubicBezTo>
                <a:cubicBezTo>
                  <a:pt x="430" y="647"/>
                  <a:pt x="426" y="646"/>
                  <a:pt x="428" y="646"/>
                </a:cubicBezTo>
                <a:close/>
                <a:moveTo>
                  <a:pt x="426" y="638"/>
                </a:moveTo>
                <a:cubicBezTo>
                  <a:pt x="427" y="637"/>
                  <a:pt x="427" y="638"/>
                  <a:pt x="427" y="638"/>
                </a:cubicBezTo>
                <a:cubicBezTo>
                  <a:pt x="428" y="639"/>
                  <a:pt x="426" y="639"/>
                  <a:pt x="426" y="638"/>
                </a:cubicBezTo>
                <a:close/>
                <a:moveTo>
                  <a:pt x="429" y="628"/>
                </a:moveTo>
                <a:cubicBezTo>
                  <a:pt x="429" y="627"/>
                  <a:pt x="431" y="628"/>
                  <a:pt x="432" y="627"/>
                </a:cubicBezTo>
                <a:cubicBezTo>
                  <a:pt x="433" y="625"/>
                  <a:pt x="437" y="628"/>
                  <a:pt x="437" y="630"/>
                </a:cubicBezTo>
                <a:cubicBezTo>
                  <a:pt x="437" y="634"/>
                  <a:pt x="435" y="632"/>
                  <a:pt x="433" y="633"/>
                </a:cubicBezTo>
                <a:cubicBezTo>
                  <a:pt x="434" y="633"/>
                  <a:pt x="432" y="634"/>
                  <a:pt x="432" y="634"/>
                </a:cubicBezTo>
                <a:cubicBezTo>
                  <a:pt x="430" y="633"/>
                  <a:pt x="428" y="630"/>
                  <a:pt x="429" y="628"/>
                </a:cubicBezTo>
                <a:close/>
                <a:moveTo>
                  <a:pt x="429" y="579"/>
                </a:moveTo>
                <a:cubicBezTo>
                  <a:pt x="430" y="579"/>
                  <a:pt x="429" y="581"/>
                  <a:pt x="429" y="580"/>
                </a:cubicBezTo>
                <a:cubicBezTo>
                  <a:pt x="429" y="580"/>
                  <a:pt x="429" y="579"/>
                  <a:pt x="429" y="579"/>
                </a:cubicBezTo>
                <a:close/>
                <a:moveTo>
                  <a:pt x="430" y="612"/>
                </a:moveTo>
                <a:cubicBezTo>
                  <a:pt x="431" y="612"/>
                  <a:pt x="431" y="613"/>
                  <a:pt x="432" y="613"/>
                </a:cubicBezTo>
                <a:cubicBezTo>
                  <a:pt x="431" y="614"/>
                  <a:pt x="430" y="613"/>
                  <a:pt x="430" y="612"/>
                </a:cubicBezTo>
                <a:close/>
                <a:moveTo>
                  <a:pt x="433" y="549"/>
                </a:moveTo>
                <a:cubicBezTo>
                  <a:pt x="434" y="549"/>
                  <a:pt x="434" y="549"/>
                  <a:pt x="434" y="550"/>
                </a:cubicBezTo>
                <a:cubicBezTo>
                  <a:pt x="435" y="551"/>
                  <a:pt x="432" y="549"/>
                  <a:pt x="433" y="549"/>
                </a:cubicBezTo>
                <a:close/>
                <a:moveTo>
                  <a:pt x="443" y="617"/>
                </a:moveTo>
                <a:cubicBezTo>
                  <a:pt x="442" y="618"/>
                  <a:pt x="443" y="618"/>
                  <a:pt x="443" y="618"/>
                </a:cubicBezTo>
                <a:cubicBezTo>
                  <a:pt x="444" y="619"/>
                  <a:pt x="442" y="618"/>
                  <a:pt x="443" y="617"/>
                </a:cubicBezTo>
                <a:close/>
                <a:moveTo>
                  <a:pt x="443" y="632"/>
                </a:moveTo>
                <a:cubicBezTo>
                  <a:pt x="443" y="632"/>
                  <a:pt x="443" y="632"/>
                  <a:pt x="443" y="632"/>
                </a:cubicBezTo>
                <a:cubicBezTo>
                  <a:pt x="442" y="632"/>
                  <a:pt x="443" y="632"/>
                  <a:pt x="443" y="632"/>
                </a:cubicBezTo>
                <a:close/>
                <a:moveTo>
                  <a:pt x="442" y="613"/>
                </a:moveTo>
                <a:cubicBezTo>
                  <a:pt x="442" y="612"/>
                  <a:pt x="443" y="613"/>
                  <a:pt x="443" y="613"/>
                </a:cubicBezTo>
                <a:cubicBezTo>
                  <a:pt x="443" y="615"/>
                  <a:pt x="441" y="613"/>
                  <a:pt x="442" y="613"/>
                </a:cubicBezTo>
                <a:close/>
                <a:moveTo>
                  <a:pt x="443" y="582"/>
                </a:moveTo>
                <a:cubicBezTo>
                  <a:pt x="443" y="583"/>
                  <a:pt x="443" y="583"/>
                  <a:pt x="443" y="583"/>
                </a:cubicBezTo>
                <a:cubicBezTo>
                  <a:pt x="443" y="585"/>
                  <a:pt x="442" y="581"/>
                  <a:pt x="443" y="582"/>
                </a:cubicBezTo>
                <a:close/>
                <a:moveTo>
                  <a:pt x="441" y="554"/>
                </a:moveTo>
                <a:cubicBezTo>
                  <a:pt x="442" y="553"/>
                  <a:pt x="447" y="555"/>
                  <a:pt x="446" y="558"/>
                </a:cubicBezTo>
                <a:cubicBezTo>
                  <a:pt x="445" y="558"/>
                  <a:pt x="440" y="556"/>
                  <a:pt x="441" y="554"/>
                </a:cubicBezTo>
                <a:close/>
                <a:moveTo>
                  <a:pt x="441" y="609"/>
                </a:moveTo>
                <a:cubicBezTo>
                  <a:pt x="442" y="610"/>
                  <a:pt x="440" y="608"/>
                  <a:pt x="441" y="609"/>
                </a:cubicBezTo>
                <a:close/>
                <a:moveTo>
                  <a:pt x="440" y="534"/>
                </a:moveTo>
                <a:cubicBezTo>
                  <a:pt x="441" y="534"/>
                  <a:pt x="441" y="535"/>
                  <a:pt x="441" y="535"/>
                </a:cubicBezTo>
                <a:cubicBezTo>
                  <a:pt x="441" y="536"/>
                  <a:pt x="440" y="535"/>
                  <a:pt x="440" y="534"/>
                </a:cubicBezTo>
                <a:close/>
                <a:moveTo>
                  <a:pt x="442" y="648"/>
                </a:moveTo>
                <a:cubicBezTo>
                  <a:pt x="442" y="651"/>
                  <a:pt x="437" y="649"/>
                  <a:pt x="438" y="646"/>
                </a:cubicBezTo>
                <a:cubicBezTo>
                  <a:pt x="438" y="645"/>
                  <a:pt x="442" y="646"/>
                  <a:pt x="442" y="648"/>
                </a:cubicBezTo>
                <a:close/>
                <a:moveTo>
                  <a:pt x="435" y="615"/>
                </a:moveTo>
                <a:cubicBezTo>
                  <a:pt x="437" y="617"/>
                  <a:pt x="438" y="618"/>
                  <a:pt x="440" y="619"/>
                </a:cubicBezTo>
                <a:cubicBezTo>
                  <a:pt x="439" y="620"/>
                  <a:pt x="436" y="617"/>
                  <a:pt x="435" y="615"/>
                </a:cubicBezTo>
                <a:close/>
                <a:moveTo>
                  <a:pt x="437" y="603"/>
                </a:moveTo>
                <a:cubicBezTo>
                  <a:pt x="436" y="604"/>
                  <a:pt x="436" y="602"/>
                  <a:pt x="437" y="603"/>
                </a:cubicBezTo>
                <a:close/>
                <a:moveTo>
                  <a:pt x="436" y="529"/>
                </a:moveTo>
                <a:cubicBezTo>
                  <a:pt x="438" y="528"/>
                  <a:pt x="438" y="531"/>
                  <a:pt x="439" y="532"/>
                </a:cubicBezTo>
                <a:cubicBezTo>
                  <a:pt x="438" y="531"/>
                  <a:pt x="437" y="529"/>
                  <a:pt x="436" y="529"/>
                </a:cubicBezTo>
                <a:close/>
                <a:moveTo>
                  <a:pt x="435" y="525"/>
                </a:moveTo>
                <a:cubicBezTo>
                  <a:pt x="435" y="526"/>
                  <a:pt x="435" y="527"/>
                  <a:pt x="436" y="527"/>
                </a:cubicBezTo>
                <a:cubicBezTo>
                  <a:pt x="435" y="528"/>
                  <a:pt x="434" y="526"/>
                  <a:pt x="435" y="525"/>
                </a:cubicBezTo>
                <a:close/>
                <a:moveTo>
                  <a:pt x="432" y="638"/>
                </a:moveTo>
                <a:cubicBezTo>
                  <a:pt x="432" y="637"/>
                  <a:pt x="436" y="638"/>
                  <a:pt x="436" y="639"/>
                </a:cubicBezTo>
                <a:cubicBezTo>
                  <a:pt x="437" y="642"/>
                  <a:pt x="432" y="639"/>
                  <a:pt x="432" y="638"/>
                </a:cubicBezTo>
                <a:close/>
                <a:moveTo>
                  <a:pt x="435" y="641"/>
                </a:moveTo>
                <a:cubicBezTo>
                  <a:pt x="435" y="641"/>
                  <a:pt x="436" y="641"/>
                  <a:pt x="436" y="642"/>
                </a:cubicBezTo>
                <a:cubicBezTo>
                  <a:pt x="437" y="643"/>
                  <a:pt x="434" y="643"/>
                  <a:pt x="435" y="641"/>
                </a:cubicBezTo>
                <a:close/>
                <a:moveTo>
                  <a:pt x="444" y="668"/>
                </a:moveTo>
                <a:cubicBezTo>
                  <a:pt x="444" y="669"/>
                  <a:pt x="443" y="670"/>
                  <a:pt x="442" y="668"/>
                </a:cubicBezTo>
                <a:cubicBezTo>
                  <a:pt x="442" y="668"/>
                  <a:pt x="444" y="666"/>
                  <a:pt x="444" y="668"/>
                </a:cubicBezTo>
                <a:close/>
                <a:moveTo>
                  <a:pt x="449" y="565"/>
                </a:moveTo>
                <a:cubicBezTo>
                  <a:pt x="450" y="564"/>
                  <a:pt x="451" y="565"/>
                  <a:pt x="451" y="566"/>
                </a:cubicBezTo>
                <a:cubicBezTo>
                  <a:pt x="453" y="568"/>
                  <a:pt x="448" y="567"/>
                  <a:pt x="449" y="565"/>
                </a:cubicBezTo>
                <a:close/>
                <a:moveTo>
                  <a:pt x="455" y="614"/>
                </a:moveTo>
                <a:cubicBezTo>
                  <a:pt x="456" y="615"/>
                  <a:pt x="454" y="614"/>
                  <a:pt x="454" y="614"/>
                </a:cubicBezTo>
                <a:cubicBezTo>
                  <a:pt x="454" y="613"/>
                  <a:pt x="455" y="613"/>
                  <a:pt x="455" y="614"/>
                </a:cubicBezTo>
                <a:close/>
                <a:moveTo>
                  <a:pt x="452" y="555"/>
                </a:moveTo>
                <a:cubicBezTo>
                  <a:pt x="453" y="554"/>
                  <a:pt x="454" y="555"/>
                  <a:pt x="454" y="556"/>
                </a:cubicBezTo>
                <a:cubicBezTo>
                  <a:pt x="456" y="559"/>
                  <a:pt x="450" y="556"/>
                  <a:pt x="452" y="555"/>
                </a:cubicBezTo>
                <a:close/>
                <a:moveTo>
                  <a:pt x="451" y="548"/>
                </a:moveTo>
                <a:cubicBezTo>
                  <a:pt x="453" y="547"/>
                  <a:pt x="455" y="549"/>
                  <a:pt x="455" y="550"/>
                </a:cubicBezTo>
                <a:cubicBezTo>
                  <a:pt x="455" y="553"/>
                  <a:pt x="450" y="550"/>
                  <a:pt x="451" y="548"/>
                </a:cubicBezTo>
                <a:close/>
                <a:moveTo>
                  <a:pt x="454" y="498"/>
                </a:moveTo>
                <a:cubicBezTo>
                  <a:pt x="454" y="498"/>
                  <a:pt x="454" y="499"/>
                  <a:pt x="454" y="499"/>
                </a:cubicBezTo>
                <a:cubicBezTo>
                  <a:pt x="453" y="499"/>
                  <a:pt x="452" y="496"/>
                  <a:pt x="454" y="498"/>
                </a:cubicBezTo>
                <a:close/>
                <a:moveTo>
                  <a:pt x="454" y="414"/>
                </a:moveTo>
                <a:cubicBezTo>
                  <a:pt x="454" y="416"/>
                  <a:pt x="453" y="412"/>
                  <a:pt x="454" y="414"/>
                </a:cubicBezTo>
                <a:close/>
                <a:moveTo>
                  <a:pt x="452" y="462"/>
                </a:moveTo>
                <a:cubicBezTo>
                  <a:pt x="454" y="463"/>
                  <a:pt x="452" y="464"/>
                  <a:pt x="452" y="462"/>
                </a:cubicBezTo>
                <a:close/>
                <a:moveTo>
                  <a:pt x="453" y="501"/>
                </a:moveTo>
                <a:cubicBezTo>
                  <a:pt x="452" y="500"/>
                  <a:pt x="453" y="502"/>
                  <a:pt x="453" y="501"/>
                </a:cubicBezTo>
                <a:close/>
                <a:moveTo>
                  <a:pt x="429" y="475"/>
                </a:moveTo>
                <a:cubicBezTo>
                  <a:pt x="429" y="474"/>
                  <a:pt x="430" y="475"/>
                  <a:pt x="430" y="476"/>
                </a:cubicBezTo>
                <a:cubicBezTo>
                  <a:pt x="431" y="478"/>
                  <a:pt x="427" y="476"/>
                  <a:pt x="429" y="475"/>
                </a:cubicBezTo>
                <a:close/>
                <a:moveTo>
                  <a:pt x="429" y="611"/>
                </a:moveTo>
                <a:cubicBezTo>
                  <a:pt x="429" y="612"/>
                  <a:pt x="426" y="610"/>
                  <a:pt x="427" y="610"/>
                </a:cubicBezTo>
                <a:cubicBezTo>
                  <a:pt x="427" y="609"/>
                  <a:pt x="428" y="610"/>
                  <a:pt x="429" y="611"/>
                </a:cubicBezTo>
                <a:close/>
                <a:moveTo>
                  <a:pt x="427" y="634"/>
                </a:moveTo>
                <a:cubicBezTo>
                  <a:pt x="428" y="633"/>
                  <a:pt x="429" y="634"/>
                  <a:pt x="429" y="634"/>
                </a:cubicBezTo>
                <a:cubicBezTo>
                  <a:pt x="431" y="637"/>
                  <a:pt x="425" y="636"/>
                  <a:pt x="427" y="634"/>
                </a:cubicBezTo>
                <a:close/>
                <a:moveTo>
                  <a:pt x="425" y="607"/>
                </a:moveTo>
                <a:cubicBezTo>
                  <a:pt x="426" y="606"/>
                  <a:pt x="426" y="607"/>
                  <a:pt x="426" y="607"/>
                </a:cubicBezTo>
                <a:cubicBezTo>
                  <a:pt x="427" y="609"/>
                  <a:pt x="424" y="607"/>
                  <a:pt x="425" y="607"/>
                </a:cubicBezTo>
                <a:close/>
                <a:moveTo>
                  <a:pt x="426" y="620"/>
                </a:moveTo>
                <a:cubicBezTo>
                  <a:pt x="426" y="622"/>
                  <a:pt x="423" y="620"/>
                  <a:pt x="423" y="619"/>
                </a:cubicBezTo>
                <a:cubicBezTo>
                  <a:pt x="423" y="618"/>
                  <a:pt x="426" y="619"/>
                  <a:pt x="426" y="620"/>
                </a:cubicBezTo>
                <a:close/>
                <a:moveTo>
                  <a:pt x="420" y="690"/>
                </a:moveTo>
                <a:cubicBezTo>
                  <a:pt x="420" y="689"/>
                  <a:pt x="411" y="686"/>
                  <a:pt x="416" y="684"/>
                </a:cubicBezTo>
                <a:cubicBezTo>
                  <a:pt x="417" y="683"/>
                  <a:pt x="420" y="684"/>
                  <a:pt x="420" y="685"/>
                </a:cubicBezTo>
                <a:cubicBezTo>
                  <a:pt x="421" y="687"/>
                  <a:pt x="418" y="688"/>
                  <a:pt x="423" y="689"/>
                </a:cubicBezTo>
                <a:cubicBezTo>
                  <a:pt x="421" y="689"/>
                  <a:pt x="420" y="689"/>
                  <a:pt x="420" y="690"/>
                </a:cubicBezTo>
                <a:close/>
                <a:moveTo>
                  <a:pt x="418" y="700"/>
                </a:moveTo>
                <a:cubicBezTo>
                  <a:pt x="417" y="701"/>
                  <a:pt x="418" y="702"/>
                  <a:pt x="417" y="702"/>
                </a:cubicBezTo>
                <a:cubicBezTo>
                  <a:pt x="416" y="703"/>
                  <a:pt x="406" y="701"/>
                  <a:pt x="406" y="698"/>
                </a:cubicBezTo>
                <a:cubicBezTo>
                  <a:pt x="406" y="697"/>
                  <a:pt x="408" y="696"/>
                  <a:pt x="406" y="695"/>
                </a:cubicBezTo>
                <a:cubicBezTo>
                  <a:pt x="405" y="694"/>
                  <a:pt x="416" y="695"/>
                  <a:pt x="419" y="696"/>
                </a:cubicBezTo>
                <a:cubicBezTo>
                  <a:pt x="417" y="696"/>
                  <a:pt x="420" y="699"/>
                  <a:pt x="420" y="699"/>
                </a:cubicBezTo>
                <a:cubicBezTo>
                  <a:pt x="420" y="700"/>
                  <a:pt x="419" y="699"/>
                  <a:pt x="418" y="700"/>
                </a:cubicBezTo>
                <a:close/>
                <a:moveTo>
                  <a:pt x="420" y="714"/>
                </a:moveTo>
                <a:cubicBezTo>
                  <a:pt x="422" y="716"/>
                  <a:pt x="416" y="715"/>
                  <a:pt x="418" y="714"/>
                </a:cubicBezTo>
                <a:cubicBezTo>
                  <a:pt x="418" y="714"/>
                  <a:pt x="419" y="714"/>
                  <a:pt x="420" y="714"/>
                </a:cubicBezTo>
                <a:close/>
                <a:moveTo>
                  <a:pt x="410" y="719"/>
                </a:moveTo>
                <a:cubicBezTo>
                  <a:pt x="410" y="718"/>
                  <a:pt x="411" y="718"/>
                  <a:pt x="411" y="719"/>
                </a:cubicBezTo>
                <a:cubicBezTo>
                  <a:pt x="412" y="720"/>
                  <a:pt x="410" y="719"/>
                  <a:pt x="410" y="719"/>
                </a:cubicBezTo>
                <a:close/>
                <a:moveTo>
                  <a:pt x="403" y="686"/>
                </a:moveTo>
                <a:cubicBezTo>
                  <a:pt x="403" y="685"/>
                  <a:pt x="408" y="686"/>
                  <a:pt x="408" y="687"/>
                </a:cubicBezTo>
                <a:cubicBezTo>
                  <a:pt x="409" y="690"/>
                  <a:pt x="403" y="687"/>
                  <a:pt x="403" y="686"/>
                </a:cubicBezTo>
                <a:close/>
                <a:moveTo>
                  <a:pt x="406" y="697"/>
                </a:moveTo>
                <a:cubicBezTo>
                  <a:pt x="404" y="698"/>
                  <a:pt x="402" y="697"/>
                  <a:pt x="403" y="695"/>
                </a:cubicBezTo>
                <a:cubicBezTo>
                  <a:pt x="404" y="696"/>
                  <a:pt x="405" y="697"/>
                  <a:pt x="406" y="697"/>
                </a:cubicBezTo>
                <a:close/>
                <a:moveTo>
                  <a:pt x="414" y="652"/>
                </a:moveTo>
                <a:cubicBezTo>
                  <a:pt x="415" y="651"/>
                  <a:pt x="417" y="653"/>
                  <a:pt x="417" y="653"/>
                </a:cubicBezTo>
                <a:cubicBezTo>
                  <a:pt x="418" y="656"/>
                  <a:pt x="412" y="653"/>
                  <a:pt x="414" y="652"/>
                </a:cubicBezTo>
                <a:close/>
                <a:moveTo>
                  <a:pt x="418" y="679"/>
                </a:moveTo>
                <a:cubicBezTo>
                  <a:pt x="418" y="679"/>
                  <a:pt x="415" y="680"/>
                  <a:pt x="415" y="678"/>
                </a:cubicBezTo>
                <a:cubicBezTo>
                  <a:pt x="414" y="677"/>
                  <a:pt x="418" y="676"/>
                  <a:pt x="418" y="679"/>
                </a:cubicBezTo>
                <a:close/>
                <a:moveTo>
                  <a:pt x="414" y="669"/>
                </a:moveTo>
                <a:cubicBezTo>
                  <a:pt x="413" y="667"/>
                  <a:pt x="415" y="670"/>
                  <a:pt x="414" y="669"/>
                </a:cubicBezTo>
                <a:close/>
                <a:moveTo>
                  <a:pt x="411" y="641"/>
                </a:moveTo>
                <a:cubicBezTo>
                  <a:pt x="412" y="639"/>
                  <a:pt x="414" y="640"/>
                  <a:pt x="414" y="641"/>
                </a:cubicBezTo>
                <a:cubicBezTo>
                  <a:pt x="415" y="643"/>
                  <a:pt x="411" y="642"/>
                  <a:pt x="411" y="641"/>
                </a:cubicBezTo>
                <a:close/>
                <a:moveTo>
                  <a:pt x="420" y="682"/>
                </a:moveTo>
                <a:cubicBezTo>
                  <a:pt x="419" y="681"/>
                  <a:pt x="420" y="682"/>
                  <a:pt x="421" y="682"/>
                </a:cubicBezTo>
                <a:cubicBezTo>
                  <a:pt x="421" y="683"/>
                  <a:pt x="420" y="683"/>
                  <a:pt x="420" y="682"/>
                </a:cubicBezTo>
                <a:close/>
                <a:moveTo>
                  <a:pt x="422" y="683"/>
                </a:moveTo>
                <a:cubicBezTo>
                  <a:pt x="423" y="683"/>
                  <a:pt x="424" y="684"/>
                  <a:pt x="425" y="684"/>
                </a:cubicBezTo>
                <a:cubicBezTo>
                  <a:pt x="424" y="685"/>
                  <a:pt x="422" y="684"/>
                  <a:pt x="422" y="683"/>
                </a:cubicBezTo>
                <a:close/>
                <a:moveTo>
                  <a:pt x="425" y="673"/>
                </a:moveTo>
                <a:cubicBezTo>
                  <a:pt x="426" y="672"/>
                  <a:pt x="427" y="673"/>
                  <a:pt x="428" y="673"/>
                </a:cubicBezTo>
                <a:cubicBezTo>
                  <a:pt x="429" y="676"/>
                  <a:pt x="424" y="674"/>
                  <a:pt x="425" y="673"/>
                </a:cubicBezTo>
                <a:close/>
                <a:moveTo>
                  <a:pt x="426" y="681"/>
                </a:moveTo>
                <a:cubicBezTo>
                  <a:pt x="427" y="680"/>
                  <a:pt x="427" y="683"/>
                  <a:pt x="426" y="681"/>
                </a:cubicBezTo>
                <a:close/>
                <a:moveTo>
                  <a:pt x="427" y="693"/>
                </a:moveTo>
                <a:cubicBezTo>
                  <a:pt x="427" y="693"/>
                  <a:pt x="427" y="694"/>
                  <a:pt x="427" y="694"/>
                </a:cubicBezTo>
                <a:cubicBezTo>
                  <a:pt x="424" y="696"/>
                  <a:pt x="425" y="691"/>
                  <a:pt x="427" y="693"/>
                </a:cubicBezTo>
                <a:close/>
                <a:moveTo>
                  <a:pt x="426" y="685"/>
                </a:moveTo>
                <a:cubicBezTo>
                  <a:pt x="427" y="686"/>
                  <a:pt x="429" y="686"/>
                  <a:pt x="430" y="687"/>
                </a:cubicBezTo>
                <a:cubicBezTo>
                  <a:pt x="428" y="686"/>
                  <a:pt x="426" y="686"/>
                  <a:pt x="426" y="685"/>
                </a:cubicBezTo>
                <a:close/>
                <a:moveTo>
                  <a:pt x="416" y="649"/>
                </a:moveTo>
                <a:cubicBezTo>
                  <a:pt x="420" y="650"/>
                  <a:pt x="417" y="652"/>
                  <a:pt x="416" y="649"/>
                </a:cubicBezTo>
                <a:close/>
                <a:moveTo>
                  <a:pt x="418" y="563"/>
                </a:moveTo>
                <a:cubicBezTo>
                  <a:pt x="417" y="563"/>
                  <a:pt x="417" y="562"/>
                  <a:pt x="416" y="562"/>
                </a:cubicBezTo>
                <a:cubicBezTo>
                  <a:pt x="417" y="561"/>
                  <a:pt x="418" y="562"/>
                  <a:pt x="418" y="563"/>
                </a:cubicBezTo>
                <a:close/>
                <a:moveTo>
                  <a:pt x="414" y="556"/>
                </a:moveTo>
                <a:cubicBezTo>
                  <a:pt x="415" y="555"/>
                  <a:pt x="417" y="556"/>
                  <a:pt x="417" y="557"/>
                </a:cubicBezTo>
                <a:cubicBezTo>
                  <a:pt x="417" y="558"/>
                  <a:pt x="414" y="557"/>
                  <a:pt x="414" y="556"/>
                </a:cubicBezTo>
                <a:close/>
                <a:moveTo>
                  <a:pt x="415" y="631"/>
                </a:moveTo>
                <a:cubicBezTo>
                  <a:pt x="416" y="633"/>
                  <a:pt x="415" y="635"/>
                  <a:pt x="414" y="635"/>
                </a:cubicBezTo>
                <a:cubicBezTo>
                  <a:pt x="414" y="635"/>
                  <a:pt x="410" y="636"/>
                  <a:pt x="409" y="635"/>
                </a:cubicBezTo>
                <a:cubicBezTo>
                  <a:pt x="408" y="634"/>
                  <a:pt x="411" y="632"/>
                  <a:pt x="410" y="631"/>
                </a:cubicBezTo>
                <a:cubicBezTo>
                  <a:pt x="409" y="631"/>
                  <a:pt x="407" y="632"/>
                  <a:pt x="407" y="631"/>
                </a:cubicBezTo>
                <a:cubicBezTo>
                  <a:pt x="405" y="627"/>
                  <a:pt x="414" y="627"/>
                  <a:pt x="415" y="631"/>
                </a:cubicBezTo>
                <a:close/>
                <a:moveTo>
                  <a:pt x="410" y="640"/>
                </a:moveTo>
                <a:cubicBezTo>
                  <a:pt x="410" y="642"/>
                  <a:pt x="408" y="641"/>
                  <a:pt x="408" y="639"/>
                </a:cubicBezTo>
                <a:cubicBezTo>
                  <a:pt x="408" y="638"/>
                  <a:pt x="411" y="637"/>
                  <a:pt x="410" y="640"/>
                </a:cubicBezTo>
                <a:close/>
                <a:moveTo>
                  <a:pt x="408" y="660"/>
                </a:moveTo>
                <a:cubicBezTo>
                  <a:pt x="407" y="661"/>
                  <a:pt x="407" y="658"/>
                  <a:pt x="408" y="659"/>
                </a:cubicBezTo>
                <a:cubicBezTo>
                  <a:pt x="408" y="660"/>
                  <a:pt x="408" y="660"/>
                  <a:pt x="408" y="660"/>
                </a:cubicBezTo>
                <a:close/>
                <a:moveTo>
                  <a:pt x="407" y="611"/>
                </a:moveTo>
                <a:cubicBezTo>
                  <a:pt x="408" y="611"/>
                  <a:pt x="408" y="611"/>
                  <a:pt x="408" y="611"/>
                </a:cubicBezTo>
                <a:cubicBezTo>
                  <a:pt x="409" y="613"/>
                  <a:pt x="406" y="612"/>
                  <a:pt x="407" y="611"/>
                </a:cubicBezTo>
                <a:close/>
                <a:moveTo>
                  <a:pt x="408" y="568"/>
                </a:moveTo>
                <a:cubicBezTo>
                  <a:pt x="407" y="567"/>
                  <a:pt x="409" y="569"/>
                  <a:pt x="408" y="568"/>
                </a:cubicBezTo>
                <a:close/>
                <a:moveTo>
                  <a:pt x="408" y="164"/>
                </a:moveTo>
                <a:cubicBezTo>
                  <a:pt x="406" y="164"/>
                  <a:pt x="406" y="162"/>
                  <a:pt x="405" y="162"/>
                </a:cubicBezTo>
                <a:cubicBezTo>
                  <a:pt x="406" y="161"/>
                  <a:pt x="407" y="163"/>
                  <a:pt x="408" y="164"/>
                </a:cubicBezTo>
                <a:close/>
                <a:moveTo>
                  <a:pt x="405" y="462"/>
                </a:moveTo>
                <a:cubicBezTo>
                  <a:pt x="407" y="463"/>
                  <a:pt x="405" y="464"/>
                  <a:pt x="405" y="462"/>
                </a:cubicBezTo>
                <a:close/>
                <a:moveTo>
                  <a:pt x="404" y="93"/>
                </a:moveTo>
                <a:cubicBezTo>
                  <a:pt x="405" y="93"/>
                  <a:pt x="405" y="93"/>
                  <a:pt x="406" y="94"/>
                </a:cubicBezTo>
                <a:cubicBezTo>
                  <a:pt x="405" y="94"/>
                  <a:pt x="404" y="94"/>
                  <a:pt x="404" y="93"/>
                </a:cubicBezTo>
                <a:close/>
                <a:moveTo>
                  <a:pt x="404" y="393"/>
                </a:moveTo>
                <a:cubicBezTo>
                  <a:pt x="403" y="393"/>
                  <a:pt x="404" y="392"/>
                  <a:pt x="403" y="391"/>
                </a:cubicBezTo>
                <a:cubicBezTo>
                  <a:pt x="403" y="391"/>
                  <a:pt x="404" y="392"/>
                  <a:pt x="404" y="393"/>
                </a:cubicBezTo>
                <a:close/>
                <a:moveTo>
                  <a:pt x="408" y="622"/>
                </a:moveTo>
                <a:cubicBezTo>
                  <a:pt x="408" y="626"/>
                  <a:pt x="401" y="622"/>
                  <a:pt x="402" y="620"/>
                </a:cubicBezTo>
                <a:cubicBezTo>
                  <a:pt x="403" y="617"/>
                  <a:pt x="408" y="620"/>
                  <a:pt x="408" y="622"/>
                </a:cubicBezTo>
                <a:close/>
                <a:moveTo>
                  <a:pt x="406" y="655"/>
                </a:moveTo>
                <a:cubicBezTo>
                  <a:pt x="407" y="657"/>
                  <a:pt x="403" y="656"/>
                  <a:pt x="403" y="655"/>
                </a:cubicBezTo>
                <a:cubicBezTo>
                  <a:pt x="403" y="654"/>
                  <a:pt x="405" y="655"/>
                  <a:pt x="406" y="655"/>
                </a:cubicBezTo>
                <a:close/>
                <a:moveTo>
                  <a:pt x="403" y="640"/>
                </a:moveTo>
                <a:cubicBezTo>
                  <a:pt x="402" y="641"/>
                  <a:pt x="402" y="639"/>
                  <a:pt x="403" y="639"/>
                </a:cubicBezTo>
                <a:cubicBezTo>
                  <a:pt x="403" y="640"/>
                  <a:pt x="403" y="640"/>
                  <a:pt x="403" y="640"/>
                </a:cubicBezTo>
                <a:close/>
                <a:moveTo>
                  <a:pt x="402" y="649"/>
                </a:moveTo>
                <a:cubicBezTo>
                  <a:pt x="402" y="651"/>
                  <a:pt x="398" y="649"/>
                  <a:pt x="399" y="648"/>
                </a:cubicBezTo>
                <a:cubicBezTo>
                  <a:pt x="400" y="647"/>
                  <a:pt x="402" y="649"/>
                  <a:pt x="402" y="649"/>
                </a:cubicBezTo>
                <a:close/>
                <a:moveTo>
                  <a:pt x="402" y="492"/>
                </a:moveTo>
                <a:cubicBezTo>
                  <a:pt x="403" y="493"/>
                  <a:pt x="401" y="490"/>
                  <a:pt x="402" y="492"/>
                </a:cubicBezTo>
                <a:close/>
                <a:moveTo>
                  <a:pt x="397" y="651"/>
                </a:moveTo>
                <a:cubicBezTo>
                  <a:pt x="397" y="650"/>
                  <a:pt x="398" y="651"/>
                  <a:pt x="398" y="651"/>
                </a:cubicBezTo>
                <a:cubicBezTo>
                  <a:pt x="399" y="652"/>
                  <a:pt x="397" y="651"/>
                  <a:pt x="397" y="651"/>
                </a:cubicBezTo>
                <a:close/>
                <a:moveTo>
                  <a:pt x="396" y="629"/>
                </a:moveTo>
                <a:cubicBezTo>
                  <a:pt x="397" y="628"/>
                  <a:pt x="398" y="630"/>
                  <a:pt x="398" y="630"/>
                </a:cubicBezTo>
                <a:cubicBezTo>
                  <a:pt x="398" y="631"/>
                  <a:pt x="397" y="629"/>
                  <a:pt x="396" y="629"/>
                </a:cubicBezTo>
                <a:close/>
                <a:moveTo>
                  <a:pt x="402" y="683"/>
                </a:moveTo>
                <a:cubicBezTo>
                  <a:pt x="401" y="683"/>
                  <a:pt x="401" y="683"/>
                  <a:pt x="400" y="682"/>
                </a:cubicBezTo>
                <a:cubicBezTo>
                  <a:pt x="400" y="682"/>
                  <a:pt x="402" y="683"/>
                  <a:pt x="402" y="683"/>
                </a:cubicBezTo>
                <a:close/>
                <a:moveTo>
                  <a:pt x="399" y="681"/>
                </a:moveTo>
                <a:cubicBezTo>
                  <a:pt x="400" y="682"/>
                  <a:pt x="397" y="681"/>
                  <a:pt x="399" y="681"/>
                </a:cubicBezTo>
                <a:close/>
                <a:moveTo>
                  <a:pt x="394" y="689"/>
                </a:moveTo>
                <a:cubicBezTo>
                  <a:pt x="394" y="688"/>
                  <a:pt x="396" y="689"/>
                  <a:pt x="396" y="689"/>
                </a:cubicBezTo>
                <a:cubicBezTo>
                  <a:pt x="397" y="690"/>
                  <a:pt x="395" y="689"/>
                  <a:pt x="394" y="689"/>
                </a:cubicBezTo>
                <a:close/>
                <a:moveTo>
                  <a:pt x="393" y="724"/>
                </a:moveTo>
                <a:cubicBezTo>
                  <a:pt x="394" y="724"/>
                  <a:pt x="390" y="723"/>
                  <a:pt x="393" y="724"/>
                </a:cubicBezTo>
                <a:close/>
                <a:moveTo>
                  <a:pt x="391" y="742"/>
                </a:moveTo>
                <a:cubicBezTo>
                  <a:pt x="391" y="740"/>
                  <a:pt x="392" y="742"/>
                  <a:pt x="393" y="742"/>
                </a:cubicBezTo>
                <a:cubicBezTo>
                  <a:pt x="394" y="743"/>
                  <a:pt x="391" y="742"/>
                  <a:pt x="391" y="742"/>
                </a:cubicBezTo>
                <a:close/>
                <a:moveTo>
                  <a:pt x="399" y="697"/>
                </a:moveTo>
                <a:cubicBezTo>
                  <a:pt x="399" y="701"/>
                  <a:pt x="393" y="699"/>
                  <a:pt x="393" y="697"/>
                </a:cubicBezTo>
                <a:cubicBezTo>
                  <a:pt x="393" y="695"/>
                  <a:pt x="399" y="695"/>
                  <a:pt x="399" y="697"/>
                </a:cubicBezTo>
                <a:close/>
                <a:moveTo>
                  <a:pt x="394" y="717"/>
                </a:moveTo>
                <a:cubicBezTo>
                  <a:pt x="394" y="717"/>
                  <a:pt x="394" y="716"/>
                  <a:pt x="394" y="717"/>
                </a:cubicBezTo>
                <a:cubicBezTo>
                  <a:pt x="394" y="717"/>
                  <a:pt x="394" y="717"/>
                  <a:pt x="394" y="717"/>
                </a:cubicBezTo>
                <a:close/>
                <a:moveTo>
                  <a:pt x="394" y="727"/>
                </a:moveTo>
                <a:cubicBezTo>
                  <a:pt x="393" y="727"/>
                  <a:pt x="394" y="726"/>
                  <a:pt x="394" y="726"/>
                </a:cubicBezTo>
                <a:cubicBezTo>
                  <a:pt x="395" y="726"/>
                  <a:pt x="394" y="728"/>
                  <a:pt x="394" y="727"/>
                </a:cubicBezTo>
                <a:close/>
                <a:moveTo>
                  <a:pt x="395" y="745"/>
                </a:moveTo>
                <a:cubicBezTo>
                  <a:pt x="396" y="746"/>
                  <a:pt x="393" y="745"/>
                  <a:pt x="395" y="745"/>
                </a:cubicBezTo>
                <a:close/>
                <a:moveTo>
                  <a:pt x="396" y="726"/>
                </a:moveTo>
                <a:cubicBezTo>
                  <a:pt x="396" y="726"/>
                  <a:pt x="397" y="726"/>
                  <a:pt x="397" y="726"/>
                </a:cubicBezTo>
                <a:cubicBezTo>
                  <a:pt x="397" y="729"/>
                  <a:pt x="395" y="723"/>
                  <a:pt x="396" y="726"/>
                </a:cubicBezTo>
                <a:close/>
                <a:moveTo>
                  <a:pt x="404" y="726"/>
                </a:moveTo>
                <a:cubicBezTo>
                  <a:pt x="404" y="725"/>
                  <a:pt x="405" y="725"/>
                  <a:pt x="405" y="726"/>
                </a:cubicBezTo>
                <a:cubicBezTo>
                  <a:pt x="406" y="727"/>
                  <a:pt x="404" y="726"/>
                  <a:pt x="404" y="726"/>
                </a:cubicBezTo>
                <a:close/>
                <a:moveTo>
                  <a:pt x="399" y="722"/>
                </a:moveTo>
                <a:cubicBezTo>
                  <a:pt x="404" y="727"/>
                  <a:pt x="392" y="723"/>
                  <a:pt x="394" y="719"/>
                </a:cubicBezTo>
                <a:cubicBezTo>
                  <a:pt x="394" y="719"/>
                  <a:pt x="395" y="719"/>
                  <a:pt x="396" y="719"/>
                </a:cubicBezTo>
                <a:cubicBezTo>
                  <a:pt x="396" y="719"/>
                  <a:pt x="396" y="716"/>
                  <a:pt x="396" y="715"/>
                </a:cubicBezTo>
                <a:cubicBezTo>
                  <a:pt x="396" y="715"/>
                  <a:pt x="399" y="714"/>
                  <a:pt x="400" y="714"/>
                </a:cubicBezTo>
                <a:cubicBezTo>
                  <a:pt x="404" y="713"/>
                  <a:pt x="405" y="717"/>
                  <a:pt x="408" y="718"/>
                </a:cubicBezTo>
                <a:cubicBezTo>
                  <a:pt x="406" y="720"/>
                  <a:pt x="403" y="723"/>
                  <a:pt x="399" y="722"/>
                </a:cubicBezTo>
                <a:close/>
                <a:moveTo>
                  <a:pt x="409" y="735"/>
                </a:moveTo>
                <a:cubicBezTo>
                  <a:pt x="408" y="733"/>
                  <a:pt x="410" y="736"/>
                  <a:pt x="409" y="735"/>
                </a:cubicBezTo>
                <a:close/>
                <a:moveTo>
                  <a:pt x="415" y="738"/>
                </a:moveTo>
                <a:cubicBezTo>
                  <a:pt x="415" y="739"/>
                  <a:pt x="413" y="737"/>
                  <a:pt x="415" y="738"/>
                </a:cubicBezTo>
                <a:close/>
                <a:moveTo>
                  <a:pt x="408" y="727"/>
                </a:moveTo>
                <a:cubicBezTo>
                  <a:pt x="408" y="724"/>
                  <a:pt x="415" y="723"/>
                  <a:pt x="415" y="727"/>
                </a:cubicBezTo>
                <a:cubicBezTo>
                  <a:pt x="416" y="731"/>
                  <a:pt x="408" y="729"/>
                  <a:pt x="408" y="727"/>
                </a:cubicBezTo>
                <a:close/>
                <a:moveTo>
                  <a:pt x="417" y="733"/>
                </a:moveTo>
                <a:cubicBezTo>
                  <a:pt x="415" y="733"/>
                  <a:pt x="417" y="731"/>
                  <a:pt x="417" y="733"/>
                </a:cubicBezTo>
                <a:close/>
                <a:moveTo>
                  <a:pt x="419" y="726"/>
                </a:moveTo>
                <a:cubicBezTo>
                  <a:pt x="419" y="727"/>
                  <a:pt x="419" y="727"/>
                  <a:pt x="418" y="727"/>
                </a:cubicBezTo>
                <a:cubicBezTo>
                  <a:pt x="418" y="727"/>
                  <a:pt x="418" y="726"/>
                  <a:pt x="418" y="726"/>
                </a:cubicBezTo>
                <a:cubicBezTo>
                  <a:pt x="415" y="724"/>
                  <a:pt x="411" y="721"/>
                  <a:pt x="411" y="721"/>
                </a:cubicBezTo>
                <a:cubicBezTo>
                  <a:pt x="412" y="720"/>
                  <a:pt x="418" y="725"/>
                  <a:pt x="421" y="726"/>
                </a:cubicBezTo>
                <a:cubicBezTo>
                  <a:pt x="421" y="726"/>
                  <a:pt x="420" y="726"/>
                  <a:pt x="419" y="726"/>
                </a:cubicBezTo>
                <a:close/>
                <a:moveTo>
                  <a:pt x="420" y="705"/>
                </a:moveTo>
                <a:cubicBezTo>
                  <a:pt x="420" y="704"/>
                  <a:pt x="423" y="707"/>
                  <a:pt x="423" y="707"/>
                </a:cubicBezTo>
                <a:cubicBezTo>
                  <a:pt x="423" y="710"/>
                  <a:pt x="417" y="706"/>
                  <a:pt x="420" y="705"/>
                </a:cubicBezTo>
                <a:close/>
                <a:moveTo>
                  <a:pt x="422" y="709"/>
                </a:moveTo>
                <a:cubicBezTo>
                  <a:pt x="420" y="708"/>
                  <a:pt x="423" y="710"/>
                  <a:pt x="422" y="709"/>
                </a:cubicBezTo>
                <a:close/>
                <a:moveTo>
                  <a:pt x="422" y="712"/>
                </a:moveTo>
                <a:cubicBezTo>
                  <a:pt x="422" y="711"/>
                  <a:pt x="423" y="711"/>
                  <a:pt x="423" y="711"/>
                </a:cubicBezTo>
                <a:cubicBezTo>
                  <a:pt x="423" y="710"/>
                  <a:pt x="423" y="708"/>
                  <a:pt x="425" y="711"/>
                </a:cubicBezTo>
                <a:cubicBezTo>
                  <a:pt x="425" y="711"/>
                  <a:pt x="425" y="711"/>
                  <a:pt x="425" y="711"/>
                </a:cubicBezTo>
                <a:cubicBezTo>
                  <a:pt x="424" y="712"/>
                  <a:pt x="424" y="712"/>
                  <a:pt x="424" y="712"/>
                </a:cubicBezTo>
                <a:cubicBezTo>
                  <a:pt x="424" y="712"/>
                  <a:pt x="424" y="712"/>
                  <a:pt x="424" y="712"/>
                </a:cubicBezTo>
                <a:cubicBezTo>
                  <a:pt x="425" y="715"/>
                  <a:pt x="420" y="713"/>
                  <a:pt x="422" y="712"/>
                </a:cubicBezTo>
                <a:close/>
                <a:moveTo>
                  <a:pt x="425" y="708"/>
                </a:moveTo>
                <a:cubicBezTo>
                  <a:pt x="425" y="707"/>
                  <a:pt x="426" y="707"/>
                  <a:pt x="426" y="708"/>
                </a:cubicBezTo>
                <a:cubicBezTo>
                  <a:pt x="427" y="709"/>
                  <a:pt x="424" y="709"/>
                  <a:pt x="425" y="708"/>
                </a:cubicBezTo>
                <a:close/>
                <a:moveTo>
                  <a:pt x="426" y="712"/>
                </a:moveTo>
                <a:cubicBezTo>
                  <a:pt x="428" y="712"/>
                  <a:pt x="428" y="714"/>
                  <a:pt x="426" y="712"/>
                </a:cubicBezTo>
                <a:close/>
                <a:moveTo>
                  <a:pt x="422" y="722"/>
                </a:moveTo>
                <a:cubicBezTo>
                  <a:pt x="422" y="721"/>
                  <a:pt x="424" y="722"/>
                  <a:pt x="424" y="722"/>
                </a:cubicBezTo>
                <a:cubicBezTo>
                  <a:pt x="425" y="724"/>
                  <a:pt x="421" y="723"/>
                  <a:pt x="422" y="722"/>
                </a:cubicBezTo>
                <a:close/>
                <a:moveTo>
                  <a:pt x="429" y="731"/>
                </a:moveTo>
                <a:cubicBezTo>
                  <a:pt x="425" y="733"/>
                  <a:pt x="428" y="726"/>
                  <a:pt x="428" y="730"/>
                </a:cubicBezTo>
                <a:cubicBezTo>
                  <a:pt x="428" y="730"/>
                  <a:pt x="429" y="731"/>
                  <a:pt x="429" y="731"/>
                </a:cubicBezTo>
                <a:close/>
                <a:moveTo>
                  <a:pt x="428" y="722"/>
                </a:moveTo>
                <a:cubicBezTo>
                  <a:pt x="428" y="721"/>
                  <a:pt x="430" y="723"/>
                  <a:pt x="429" y="723"/>
                </a:cubicBezTo>
                <a:cubicBezTo>
                  <a:pt x="429" y="724"/>
                  <a:pt x="427" y="723"/>
                  <a:pt x="428" y="722"/>
                </a:cubicBezTo>
                <a:cubicBezTo>
                  <a:pt x="427" y="723"/>
                  <a:pt x="424" y="722"/>
                  <a:pt x="424" y="720"/>
                </a:cubicBezTo>
                <a:cubicBezTo>
                  <a:pt x="424" y="720"/>
                  <a:pt x="426" y="718"/>
                  <a:pt x="425" y="718"/>
                </a:cubicBezTo>
                <a:cubicBezTo>
                  <a:pt x="426" y="718"/>
                  <a:pt x="429" y="721"/>
                  <a:pt x="428" y="722"/>
                </a:cubicBezTo>
                <a:close/>
                <a:moveTo>
                  <a:pt x="427" y="702"/>
                </a:moveTo>
                <a:cubicBezTo>
                  <a:pt x="427" y="702"/>
                  <a:pt x="428" y="702"/>
                  <a:pt x="428" y="702"/>
                </a:cubicBezTo>
                <a:cubicBezTo>
                  <a:pt x="428" y="704"/>
                  <a:pt x="426" y="702"/>
                  <a:pt x="427" y="702"/>
                </a:cubicBezTo>
                <a:close/>
                <a:moveTo>
                  <a:pt x="424" y="697"/>
                </a:moveTo>
                <a:cubicBezTo>
                  <a:pt x="425" y="697"/>
                  <a:pt x="429" y="698"/>
                  <a:pt x="430" y="699"/>
                </a:cubicBezTo>
                <a:cubicBezTo>
                  <a:pt x="430" y="700"/>
                  <a:pt x="425" y="699"/>
                  <a:pt x="424" y="697"/>
                </a:cubicBezTo>
                <a:close/>
                <a:moveTo>
                  <a:pt x="430" y="690"/>
                </a:moveTo>
                <a:cubicBezTo>
                  <a:pt x="430" y="690"/>
                  <a:pt x="431" y="690"/>
                  <a:pt x="431" y="690"/>
                </a:cubicBezTo>
                <a:cubicBezTo>
                  <a:pt x="432" y="691"/>
                  <a:pt x="429" y="691"/>
                  <a:pt x="430" y="690"/>
                </a:cubicBezTo>
                <a:close/>
                <a:moveTo>
                  <a:pt x="435" y="698"/>
                </a:moveTo>
                <a:cubicBezTo>
                  <a:pt x="435" y="698"/>
                  <a:pt x="436" y="698"/>
                  <a:pt x="436" y="698"/>
                </a:cubicBezTo>
                <a:cubicBezTo>
                  <a:pt x="436" y="699"/>
                  <a:pt x="435" y="699"/>
                  <a:pt x="435" y="698"/>
                </a:cubicBezTo>
                <a:close/>
                <a:moveTo>
                  <a:pt x="437" y="693"/>
                </a:moveTo>
                <a:cubicBezTo>
                  <a:pt x="435" y="692"/>
                  <a:pt x="438" y="694"/>
                  <a:pt x="437" y="693"/>
                </a:cubicBezTo>
                <a:close/>
                <a:moveTo>
                  <a:pt x="438" y="696"/>
                </a:moveTo>
                <a:cubicBezTo>
                  <a:pt x="439" y="697"/>
                  <a:pt x="437" y="694"/>
                  <a:pt x="438" y="696"/>
                </a:cubicBezTo>
                <a:close/>
                <a:moveTo>
                  <a:pt x="432" y="689"/>
                </a:moveTo>
                <a:cubicBezTo>
                  <a:pt x="429" y="687"/>
                  <a:pt x="433" y="688"/>
                  <a:pt x="434" y="689"/>
                </a:cubicBezTo>
                <a:cubicBezTo>
                  <a:pt x="437" y="690"/>
                  <a:pt x="443" y="691"/>
                  <a:pt x="443" y="693"/>
                </a:cubicBezTo>
                <a:cubicBezTo>
                  <a:pt x="440" y="691"/>
                  <a:pt x="436" y="691"/>
                  <a:pt x="432" y="689"/>
                </a:cubicBezTo>
                <a:close/>
                <a:moveTo>
                  <a:pt x="439" y="682"/>
                </a:moveTo>
                <a:cubicBezTo>
                  <a:pt x="439" y="682"/>
                  <a:pt x="439" y="682"/>
                  <a:pt x="439" y="682"/>
                </a:cubicBezTo>
                <a:cubicBezTo>
                  <a:pt x="438" y="684"/>
                  <a:pt x="437" y="680"/>
                  <a:pt x="439" y="682"/>
                </a:cubicBezTo>
                <a:close/>
                <a:moveTo>
                  <a:pt x="446" y="681"/>
                </a:moveTo>
                <a:cubicBezTo>
                  <a:pt x="446" y="681"/>
                  <a:pt x="447" y="681"/>
                  <a:pt x="447" y="681"/>
                </a:cubicBezTo>
                <a:cubicBezTo>
                  <a:pt x="447" y="682"/>
                  <a:pt x="445" y="682"/>
                  <a:pt x="446" y="681"/>
                </a:cubicBezTo>
                <a:close/>
                <a:moveTo>
                  <a:pt x="442" y="678"/>
                </a:moveTo>
                <a:cubicBezTo>
                  <a:pt x="440" y="677"/>
                  <a:pt x="440" y="675"/>
                  <a:pt x="440" y="674"/>
                </a:cubicBezTo>
                <a:cubicBezTo>
                  <a:pt x="439" y="674"/>
                  <a:pt x="436" y="675"/>
                  <a:pt x="437" y="673"/>
                </a:cubicBezTo>
                <a:cubicBezTo>
                  <a:pt x="438" y="672"/>
                  <a:pt x="438" y="674"/>
                  <a:pt x="439" y="673"/>
                </a:cubicBezTo>
                <a:cubicBezTo>
                  <a:pt x="441" y="673"/>
                  <a:pt x="441" y="672"/>
                  <a:pt x="442" y="672"/>
                </a:cubicBezTo>
                <a:cubicBezTo>
                  <a:pt x="444" y="671"/>
                  <a:pt x="447" y="673"/>
                  <a:pt x="447" y="675"/>
                </a:cubicBezTo>
                <a:cubicBezTo>
                  <a:pt x="447" y="678"/>
                  <a:pt x="445" y="679"/>
                  <a:pt x="442" y="678"/>
                </a:cubicBezTo>
                <a:close/>
                <a:moveTo>
                  <a:pt x="445" y="642"/>
                </a:moveTo>
                <a:cubicBezTo>
                  <a:pt x="446" y="641"/>
                  <a:pt x="447" y="641"/>
                  <a:pt x="447" y="642"/>
                </a:cubicBezTo>
                <a:cubicBezTo>
                  <a:pt x="448" y="643"/>
                  <a:pt x="445" y="642"/>
                  <a:pt x="445" y="642"/>
                </a:cubicBezTo>
                <a:close/>
                <a:moveTo>
                  <a:pt x="447" y="580"/>
                </a:moveTo>
                <a:cubicBezTo>
                  <a:pt x="448" y="579"/>
                  <a:pt x="449" y="581"/>
                  <a:pt x="449" y="581"/>
                </a:cubicBezTo>
                <a:cubicBezTo>
                  <a:pt x="450" y="583"/>
                  <a:pt x="446" y="581"/>
                  <a:pt x="447" y="580"/>
                </a:cubicBezTo>
                <a:close/>
                <a:moveTo>
                  <a:pt x="448" y="651"/>
                </a:moveTo>
                <a:cubicBezTo>
                  <a:pt x="448" y="651"/>
                  <a:pt x="447" y="651"/>
                  <a:pt x="447" y="651"/>
                </a:cubicBezTo>
                <a:cubicBezTo>
                  <a:pt x="448" y="651"/>
                  <a:pt x="448" y="651"/>
                  <a:pt x="448" y="651"/>
                </a:cubicBezTo>
                <a:cubicBezTo>
                  <a:pt x="448" y="651"/>
                  <a:pt x="448" y="651"/>
                  <a:pt x="448" y="651"/>
                </a:cubicBezTo>
                <a:close/>
                <a:moveTo>
                  <a:pt x="448" y="640"/>
                </a:moveTo>
                <a:cubicBezTo>
                  <a:pt x="448" y="640"/>
                  <a:pt x="449" y="640"/>
                  <a:pt x="450" y="641"/>
                </a:cubicBezTo>
                <a:cubicBezTo>
                  <a:pt x="450" y="642"/>
                  <a:pt x="448" y="641"/>
                  <a:pt x="448" y="640"/>
                </a:cubicBezTo>
                <a:close/>
                <a:moveTo>
                  <a:pt x="450" y="636"/>
                </a:moveTo>
                <a:cubicBezTo>
                  <a:pt x="451" y="636"/>
                  <a:pt x="451" y="636"/>
                  <a:pt x="451" y="636"/>
                </a:cubicBezTo>
                <a:cubicBezTo>
                  <a:pt x="452" y="638"/>
                  <a:pt x="449" y="636"/>
                  <a:pt x="450" y="636"/>
                </a:cubicBezTo>
                <a:close/>
                <a:moveTo>
                  <a:pt x="451" y="642"/>
                </a:moveTo>
                <a:cubicBezTo>
                  <a:pt x="452" y="641"/>
                  <a:pt x="453" y="642"/>
                  <a:pt x="454" y="643"/>
                </a:cubicBezTo>
                <a:cubicBezTo>
                  <a:pt x="456" y="646"/>
                  <a:pt x="448" y="644"/>
                  <a:pt x="451" y="642"/>
                </a:cubicBezTo>
                <a:close/>
                <a:moveTo>
                  <a:pt x="451" y="666"/>
                </a:moveTo>
                <a:cubicBezTo>
                  <a:pt x="452" y="665"/>
                  <a:pt x="452" y="666"/>
                  <a:pt x="453" y="666"/>
                </a:cubicBezTo>
                <a:cubicBezTo>
                  <a:pt x="454" y="668"/>
                  <a:pt x="450" y="666"/>
                  <a:pt x="451" y="666"/>
                </a:cubicBezTo>
                <a:close/>
                <a:moveTo>
                  <a:pt x="453" y="682"/>
                </a:moveTo>
                <a:cubicBezTo>
                  <a:pt x="453" y="682"/>
                  <a:pt x="453" y="682"/>
                  <a:pt x="453" y="681"/>
                </a:cubicBezTo>
                <a:cubicBezTo>
                  <a:pt x="454" y="681"/>
                  <a:pt x="454" y="683"/>
                  <a:pt x="453" y="682"/>
                </a:cubicBezTo>
                <a:close/>
                <a:moveTo>
                  <a:pt x="456" y="685"/>
                </a:moveTo>
                <a:cubicBezTo>
                  <a:pt x="456" y="684"/>
                  <a:pt x="457" y="685"/>
                  <a:pt x="458" y="685"/>
                </a:cubicBezTo>
                <a:cubicBezTo>
                  <a:pt x="459" y="686"/>
                  <a:pt x="456" y="686"/>
                  <a:pt x="456" y="685"/>
                </a:cubicBezTo>
                <a:close/>
                <a:moveTo>
                  <a:pt x="458" y="702"/>
                </a:moveTo>
                <a:cubicBezTo>
                  <a:pt x="458" y="701"/>
                  <a:pt x="459" y="701"/>
                  <a:pt x="459" y="702"/>
                </a:cubicBezTo>
                <a:cubicBezTo>
                  <a:pt x="460" y="704"/>
                  <a:pt x="456" y="703"/>
                  <a:pt x="458" y="702"/>
                </a:cubicBezTo>
                <a:close/>
                <a:moveTo>
                  <a:pt x="460" y="691"/>
                </a:moveTo>
                <a:cubicBezTo>
                  <a:pt x="460" y="689"/>
                  <a:pt x="464" y="690"/>
                  <a:pt x="464" y="690"/>
                </a:cubicBezTo>
                <a:cubicBezTo>
                  <a:pt x="466" y="692"/>
                  <a:pt x="460" y="691"/>
                  <a:pt x="460" y="691"/>
                </a:cubicBezTo>
                <a:close/>
                <a:moveTo>
                  <a:pt x="466" y="690"/>
                </a:moveTo>
                <a:cubicBezTo>
                  <a:pt x="465" y="692"/>
                  <a:pt x="465" y="689"/>
                  <a:pt x="466" y="690"/>
                </a:cubicBezTo>
                <a:close/>
                <a:moveTo>
                  <a:pt x="459" y="679"/>
                </a:moveTo>
                <a:cubicBezTo>
                  <a:pt x="459" y="678"/>
                  <a:pt x="459" y="677"/>
                  <a:pt x="459" y="677"/>
                </a:cubicBezTo>
                <a:cubicBezTo>
                  <a:pt x="457" y="676"/>
                  <a:pt x="456" y="677"/>
                  <a:pt x="454" y="677"/>
                </a:cubicBezTo>
                <a:cubicBezTo>
                  <a:pt x="460" y="675"/>
                  <a:pt x="449" y="672"/>
                  <a:pt x="453" y="669"/>
                </a:cubicBezTo>
                <a:cubicBezTo>
                  <a:pt x="454" y="668"/>
                  <a:pt x="457" y="670"/>
                  <a:pt x="457" y="667"/>
                </a:cubicBezTo>
                <a:cubicBezTo>
                  <a:pt x="457" y="671"/>
                  <a:pt x="461" y="666"/>
                  <a:pt x="465" y="667"/>
                </a:cubicBezTo>
                <a:cubicBezTo>
                  <a:pt x="467" y="668"/>
                  <a:pt x="469" y="671"/>
                  <a:pt x="469" y="673"/>
                </a:cubicBezTo>
                <a:cubicBezTo>
                  <a:pt x="469" y="673"/>
                  <a:pt x="462" y="681"/>
                  <a:pt x="459" y="679"/>
                </a:cubicBezTo>
                <a:close/>
                <a:moveTo>
                  <a:pt x="460" y="633"/>
                </a:moveTo>
                <a:cubicBezTo>
                  <a:pt x="461" y="633"/>
                  <a:pt x="458" y="632"/>
                  <a:pt x="460" y="633"/>
                </a:cubicBezTo>
                <a:close/>
                <a:moveTo>
                  <a:pt x="460" y="643"/>
                </a:moveTo>
                <a:cubicBezTo>
                  <a:pt x="459" y="644"/>
                  <a:pt x="459" y="641"/>
                  <a:pt x="460" y="643"/>
                </a:cubicBezTo>
                <a:close/>
                <a:moveTo>
                  <a:pt x="471" y="641"/>
                </a:moveTo>
                <a:cubicBezTo>
                  <a:pt x="467" y="642"/>
                  <a:pt x="468" y="638"/>
                  <a:pt x="471" y="641"/>
                </a:cubicBezTo>
                <a:close/>
                <a:moveTo>
                  <a:pt x="469" y="656"/>
                </a:moveTo>
                <a:cubicBezTo>
                  <a:pt x="470" y="656"/>
                  <a:pt x="467" y="655"/>
                  <a:pt x="469" y="656"/>
                </a:cubicBezTo>
                <a:close/>
                <a:moveTo>
                  <a:pt x="467" y="622"/>
                </a:moveTo>
                <a:cubicBezTo>
                  <a:pt x="467" y="621"/>
                  <a:pt x="468" y="622"/>
                  <a:pt x="468" y="622"/>
                </a:cubicBezTo>
                <a:cubicBezTo>
                  <a:pt x="469" y="624"/>
                  <a:pt x="466" y="622"/>
                  <a:pt x="467" y="622"/>
                </a:cubicBezTo>
                <a:close/>
                <a:moveTo>
                  <a:pt x="466" y="598"/>
                </a:moveTo>
                <a:cubicBezTo>
                  <a:pt x="467" y="598"/>
                  <a:pt x="467" y="599"/>
                  <a:pt x="467" y="599"/>
                </a:cubicBezTo>
                <a:cubicBezTo>
                  <a:pt x="468" y="601"/>
                  <a:pt x="465" y="599"/>
                  <a:pt x="466" y="598"/>
                </a:cubicBezTo>
                <a:close/>
                <a:moveTo>
                  <a:pt x="470" y="684"/>
                </a:moveTo>
                <a:cubicBezTo>
                  <a:pt x="472" y="686"/>
                  <a:pt x="466" y="685"/>
                  <a:pt x="467" y="683"/>
                </a:cubicBezTo>
                <a:cubicBezTo>
                  <a:pt x="468" y="682"/>
                  <a:pt x="470" y="683"/>
                  <a:pt x="470" y="684"/>
                </a:cubicBezTo>
                <a:close/>
                <a:moveTo>
                  <a:pt x="469" y="666"/>
                </a:moveTo>
                <a:cubicBezTo>
                  <a:pt x="469" y="665"/>
                  <a:pt x="470" y="665"/>
                  <a:pt x="470" y="666"/>
                </a:cubicBezTo>
                <a:cubicBezTo>
                  <a:pt x="471" y="667"/>
                  <a:pt x="469" y="666"/>
                  <a:pt x="469" y="666"/>
                </a:cubicBezTo>
                <a:close/>
                <a:moveTo>
                  <a:pt x="470" y="689"/>
                </a:moveTo>
                <a:cubicBezTo>
                  <a:pt x="475" y="693"/>
                  <a:pt x="467" y="695"/>
                  <a:pt x="467" y="690"/>
                </a:cubicBezTo>
                <a:cubicBezTo>
                  <a:pt x="467" y="690"/>
                  <a:pt x="468" y="687"/>
                  <a:pt x="468" y="687"/>
                </a:cubicBezTo>
                <a:cubicBezTo>
                  <a:pt x="472" y="685"/>
                  <a:pt x="474" y="691"/>
                  <a:pt x="470" y="689"/>
                </a:cubicBezTo>
                <a:close/>
                <a:moveTo>
                  <a:pt x="472" y="667"/>
                </a:moveTo>
                <a:cubicBezTo>
                  <a:pt x="472" y="667"/>
                  <a:pt x="473" y="668"/>
                  <a:pt x="473" y="668"/>
                </a:cubicBezTo>
                <a:cubicBezTo>
                  <a:pt x="475" y="670"/>
                  <a:pt x="470" y="668"/>
                  <a:pt x="472" y="667"/>
                </a:cubicBezTo>
                <a:close/>
                <a:moveTo>
                  <a:pt x="474" y="664"/>
                </a:moveTo>
                <a:cubicBezTo>
                  <a:pt x="474" y="664"/>
                  <a:pt x="475" y="664"/>
                  <a:pt x="475" y="665"/>
                </a:cubicBezTo>
                <a:cubicBezTo>
                  <a:pt x="476" y="667"/>
                  <a:pt x="472" y="665"/>
                  <a:pt x="474" y="664"/>
                </a:cubicBezTo>
                <a:close/>
                <a:moveTo>
                  <a:pt x="476" y="687"/>
                </a:moveTo>
                <a:cubicBezTo>
                  <a:pt x="475" y="687"/>
                  <a:pt x="475" y="684"/>
                  <a:pt x="476" y="685"/>
                </a:cubicBezTo>
                <a:cubicBezTo>
                  <a:pt x="476" y="685"/>
                  <a:pt x="476" y="686"/>
                  <a:pt x="476" y="687"/>
                </a:cubicBezTo>
                <a:close/>
                <a:moveTo>
                  <a:pt x="476" y="673"/>
                </a:moveTo>
                <a:cubicBezTo>
                  <a:pt x="476" y="673"/>
                  <a:pt x="477" y="672"/>
                  <a:pt x="477" y="673"/>
                </a:cubicBezTo>
                <a:cubicBezTo>
                  <a:pt x="478" y="674"/>
                  <a:pt x="476" y="674"/>
                  <a:pt x="476" y="673"/>
                </a:cubicBezTo>
                <a:close/>
                <a:moveTo>
                  <a:pt x="481" y="671"/>
                </a:moveTo>
                <a:cubicBezTo>
                  <a:pt x="477" y="671"/>
                  <a:pt x="479" y="668"/>
                  <a:pt x="481" y="671"/>
                </a:cubicBezTo>
                <a:close/>
                <a:moveTo>
                  <a:pt x="482" y="658"/>
                </a:moveTo>
                <a:cubicBezTo>
                  <a:pt x="477" y="657"/>
                  <a:pt x="479" y="654"/>
                  <a:pt x="482" y="658"/>
                </a:cubicBezTo>
                <a:close/>
                <a:moveTo>
                  <a:pt x="480" y="668"/>
                </a:moveTo>
                <a:cubicBezTo>
                  <a:pt x="481" y="667"/>
                  <a:pt x="481" y="669"/>
                  <a:pt x="480" y="668"/>
                </a:cubicBezTo>
                <a:close/>
                <a:moveTo>
                  <a:pt x="487" y="691"/>
                </a:moveTo>
                <a:cubicBezTo>
                  <a:pt x="488" y="690"/>
                  <a:pt x="489" y="692"/>
                  <a:pt x="489" y="692"/>
                </a:cubicBezTo>
                <a:cubicBezTo>
                  <a:pt x="490" y="695"/>
                  <a:pt x="486" y="693"/>
                  <a:pt x="487" y="691"/>
                </a:cubicBezTo>
                <a:close/>
                <a:moveTo>
                  <a:pt x="493" y="686"/>
                </a:moveTo>
                <a:cubicBezTo>
                  <a:pt x="493" y="686"/>
                  <a:pt x="493" y="686"/>
                  <a:pt x="493" y="686"/>
                </a:cubicBezTo>
                <a:cubicBezTo>
                  <a:pt x="493" y="686"/>
                  <a:pt x="493" y="686"/>
                  <a:pt x="493" y="686"/>
                </a:cubicBezTo>
                <a:cubicBezTo>
                  <a:pt x="493" y="686"/>
                  <a:pt x="493" y="686"/>
                  <a:pt x="493" y="686"/>
                </a:cubicBezTo>
                <a:close/>
                <a:moveTo>
                  <a:pt x="495" y="682"/>
                </a:moveTo>
                <a:cubicBezTo>
                  <a:pt x="497" y="683"/>
                  <a:pt x="494" y="681"/>
                  <a:pt x="495" y="682"/>
                </a:cubicBezTo>
                <a:close/>
                <a:moveTo>
                  <a:pt x="497" y="681"/>
                </a:moveTo>
                <a:cubicBezTo>
                  <a:pt x="497" y="681"/>
                  <a:pt x="497" y="681"/>
                  <a:pt x="497" y="681"/>
                </a:cubicBezTo>
                <a:cubicBezTo>
                  <a:pt x="496" y="680"/>
                  <a:pt x="497" y="681"/>
                  <a:pt x="497" y="681"/>
                </a:cubicBezTo>
                <a:close/>
                <a:moveTo>
                  <a:pt x="496" y="673"/>
                </a:moveTo>
                <a:cubicBezTo>
                  <a:pt x="497" y="674"/>
                  <a:pt x="494" y="674"/>
                  <a:pt x="495" y="673"/>
                </a:cubicBezTo>
                <a:cubicBezTo>
                  <a:pt x="495" y="673"/>
                  <a:pt x="496" y="672"/>
                  <a:pt x="496" y="673"/>
                </a:cubicBezTo>
                <a:close/>
                <a:moveTo>
                  <a:pt x="494" y="670"/>
                </a:moveTo>
                <a:cubicBezTo>
                  <a:pt x="494" y="670"/>
                  <a:pt x="495" y="669"/>
                  <a:pt x="495" y="670"/>
                </a:cubicBezTo>
                <a:cubicBezTo>
                  <a:pt x="496" y="671"/>
                  <a:pt x="492" y="670"/>
                  <a:pt x="494" y="670"/>
                </a:cubicBezTo>
                <a:close/>
                <a:moveTo>
                  <a:pt x="492" y="681"/>
                </a:moveTo>
                <a:cubicBezTo>
                  <a:pt x="492" y="682"/>
                  <a:pt x="494" y="684"/>
                  <a:pt x="494" y="685"/>
                </a:cubicBezTo>
                <a:cubicBezTo>
                  <a:pt x="493" y="685"/>
                  <a:pt x="489" y="685"/>
                  <a:pt x="492" y="682"/>
                </a:cubicBezTo>
                <a:cubicBezTo>
                  <a:pt x="488" y="683"/>
                  <a:pt x="489" y="680"/>
                  <a:pt x="492" y="681"/>
                </a:cubicBezTo>
                <a:close/>
                <a:moveTo>
                  <a:pt x="488" y="684"/>
                </a:moveTo>
                <a:cubicBezTo>
                  <a:pt x="488" y="684"/>
                  <a:pt x="490" y="685"/>
                  <a:pt x="490" y="685"/>
                </a:cubicBezTo>
                <a:cubicBezTo>
                  <a:pt x="491" y="687"/>
                  <a:pt x="486" y="686"/>
                  <a:pt x="488" y="684"/>
                </a:cubicBezTo>
                <a:close/>
                <a:moveTo>
                  <a:pt x="485" y="687"/>
                </a:moveTo>
                <a:cubicBezTo>
                  <a:pt x="485" y="686"/>
                  <a:pt x="486" y="685"/>
                  <a:pt x="487" y="687"/>
                </a:cubicBezTo>
                <a:cubicBezTo>
                  <a:pt x="489" y="688"/>
                  <a:pt x="485" y="688"/>
                  <a:pt x="485" y="687"/>
                </a:cubicBezTo>
                <a:close/>
                <a:moveTo>
                  <a:pt x="485" y="684"/>
                </a:moveTo>
                <a:cubicBezTo>
                  <a:pt x="485" y="683"/>
                  <a:pt x="486" y="683"/>
                  <a:pt x="486" y="683"/>
                </a:cubicBezTo>
                <a:cubicBezTo>
                  <a:pt x="487" y="685"/>
                  <a:pt x="485" y="684"/>
                  <a:pt x="485" y="684"/>
                </a:cubicBezTo>
                <a:close/>
                <a:moveTo>
                  <a:pt x="485" y="683"/>
                </a:moveTo>
                <a:cubicBezTo>
                  <a:pt x="480" y="684"/>
                  <a:pt x="485" y="678"/>
                  <a:pt x="487" y="680"/>
                </a:cubicBezTo>
                <a:cubicBezTo>
                  <a:pt x="487" y="680"/>
                  <a:pt x="485" y="683"/>
                  <a:pt x="485" y="683"/>
                </a:cubicBezTo>
                <a:close/>
                <a:moveTo>
                  <a:pt x="484" y="665"/>
                </a:moveTo>
                <a:cubicBezTo>
                  <a:pt x="484" y="665"/>
                  <a:pt x="485" y="666"/>
                  <a:pt x="485" y="666"/>
                </a:cubicBezTo>
                <a:cubicBezTo>
                  <a:pt x="486" y="667"/>
                  <a:pt x="483" y="666"/>
                  <a:pt x="484" y="665"/>
                </a:cubicBezTo>
                <a:close/>
                <a:moveTo>
                  <a:pt x="486" y="676"/>
                </a:moveTo>
                <a:cubicBezTo>
                  <a:pt x="485" y="676"/>
                  <a:pt x="483" y="672"/>
                  <a:pt x="481" y="672"/>
                </a:cubicBezTo>
                <a:cubicBezTo>
                  <a:pt x="484" y="671"/>
                  <a:pt x="487" y="675"/>
                  <a:pt x="486" y="676"/>
                </a:cubicBezTo>
                <a:close/>
                <a:moveTo>
                  <a:pt x="484" y="651"/>
                </a:moveTo>
                <a:cubicBezTo>
                  <a:pt x="482" y="653"/>
                  <a:pt x="480" y="649"/>
                  <a:pt x="479" y="648"/>
                </a:cubicBezTo>
                <a:cubicBezTo>
                  <a:pt x="480" y="648"/>
                  <a:pt x="485" y="650"/>
                  <a:pt x="484" y="651"/>
                </a:cubicBezTo>
                <a:close/>
                <a:moveTo>
                  <a:pt x="482" y="644"/>
                </a:moveTo>
                <a:cubicBezTo>
                  <a:pt x="484" y="644"/>
                  <a:pt x="483" y="646"/>
                  <a:pt x="482" y="644"/>
                </a:cubicBezTo>
                <a:close/>
                <a:moveTo>
                  <a:pt x="482" y="639"/>
                </a:moveTo>
                <a:cubicBezTo>
                  <a:pt x="483" y="642"/>
                  <a:pt x="477" y="641"/>
                  <a:pt x="478" y="639"/>
                </a:cubicBezTo>
                <a:cubicBezTo>
                  <a:pt x="479" y="637"/>
                  <a:pt x="482" y="638"/>
                  <a:pt x="482" y="639"/>
                </a:cubicBezTo>
                <a:close/>
                <a:moveTo>
                  <a:pt x="481" y="637"/>
                </a:moveTo>
                <a:cubicBezTo>
                  <a:pt x="480" y="636"/>
                  <a:pt x="481" y="635"/>
                  <a:pt x="481" y="637"/>
                </a:cubicBezTo>
                <a:close/>
                <a:moveTo>
                  <a:pt x="482" y="621"/>
                </a:moveTo>
                <a:cubicBezTo>
                  <a:pt x="481" y="622"/>
                  <a:pt x="481" y="621"/>
                  <a:pt x="480" y="621"/>
                </a:cubicBezTo>
                <a:cubicBezTo>
                  <a:pt x="481" y="620"/>
                  <a:pt x="481" y="621"/>
                  <a:pt x="482" y="621"/>
                </a:cubicBezTo>
                <a:close/>
                <a:moveTo>
                  <a:pt x="480" y="622"/>
                </a:moveTo>
                <a:cubicBezTo>
                  <a:pt x="481" y="622"/>
                  <a:pt x="480" y="623"/>
                  <a:pt x="479" y="622"/>
                </a:cubicBezTo>
                <a:cubicBezTo>
                  <a:pt x="479" y="622"/>
                  <a:pt x="480" y="621"/>
                  <a:pt x="480" y="622"/>
                </a:cubicBezTo>
                <a:close/>
                <a:moveTo>
                  <a:pt x="479" y="615"/>
                </a:moveTo>
                <a:cubicBezTo>
                  <a:pt x="480" y="616"/>
                  <a:pt x="477" y="615"/>
                  <a:pt x="477" y="615"/>
                </a:cubicBezTo>
                <a:cubicBezTo>
                  <a:pt x="477" y="614"/>
                  <a:pt x="479" y="614"/>
                  <a:pt x="479" y="615"/>
                </a:cubicBezTo>
                <a:close/>
                <a:moveTo>
                  <a:pt x="477" y="640"/>
                </a:moveTo>
                <a:cubicBezTo>
                  <a:pt x="478" y="641"/>
                  <a:pt x="476" y="638"/>
                  <a:pt x="477" y="640"/>
                </a:cubicBezTo>
                <a:close/>
                <a:moveTo>
                  <a:pt x="477" y="654"/>
                </a:moveTo>
                <a:cubicBezTo>
                  <a:pt x="478" y="655"/>
                  <a:pt x="476" y="654"/>
                  <a:pt x="476" y="654"/>
                </a:cubicBezTo>
                <a:cubicBezTo>
                  <a:pt x="475" y="653"/>
                  <a:pt x="477" y="654"/>
                  <a:pt x="477" y="654"/>
                </a:cubicBezTo>
                <a:close/>
                <a:moveTo>
                  <a:pt x="476" y="611"/>
                </a:moveTo>
                <a:cubicBezTo>
                  <a:pt x="477" y="612"/>
                  <a:pt x="475" y="609"/>
                  <a:pt x="476" y="611"/>
                </a:cubicBezTo>
                <a:close/>
                <a:moveTo>
                  <a:pt x="476" y="642"/>
                </a:moveTo>
                <a:cubicBezTo>
                  <a:pt x="475" y="643"/>
                  <a:pt x="475" y="640"/>
                  <a:pt x="476" y="642"/>
                </a:cubicBezTo>
                <a:close/>
                <a:moveTo>
                  <a:pt x="474" y="617"/>
                </a:moveTo>
                <a:cubicBezTo>
                  <a:pt x="475" y="617"/>
                  <a:pt x="474" y="618"/>
                  <a:pt x="473" y="617"/>
                </a:cubicBezTo>
                <a:cubicBezTo>
                  <a:pt x="473" y="617"/>
                  <a:pt x="474" y="616"/>
                  <a:pt x="474" y="617"/>
                </a:cubicBezTo>
                <a:close/>
                <a:moveTo>
                  <a:pt x="476" y="646"/>
                </a:moveTo>
                <a:cubicBezTo>
                  <a:pt x="475" y="645"/>
                  <a:pt x="474" y="644"/>
                  <a:pt x="473" y="644"/>
                </a:cubicBezTo>
                <a:cubicBezTo>
                  <a:pt x="474" y="644"/>
                  <a:pt x="476" y="645"/>
                  <a:pt x="476" y="646"/>
                </a:cubicBezTo>
                <a:close/>
                <a:moveTo>
                  <a:pt x="475" y="654"/>
                </a:moveTo>
                <a:cubicBezTo>
                  <a:pt x="475" y="654"/>
                  <a:pt x="474" y="657"/>
                  <a:pt x="473" y="656"/>
                </a:cubicBezTo>
                <a:cubicBezTo>
                  <a:pt x="471" y="655"/>
                  <a:pt x="474" y="651"/>
                  <a:pt x="475" y="654"/>
                </a:cubicBezTo>
                <a:close/>
                <a:moveTo>
                  <a:pt x="474" y="661"/>
                </a:moveTo>
                <a:cubicBezTo>
                  <a:pt x="476" y="667"/>
                  <a:pt x="462" y="660"/>
                  <a:pt x="467" y="656"/>
                </a:cubicBezTo>
                <a:cubicBezTo>
                  <a:pt x="466" y="657"/>
                  <a:pt x="470" y="657"/>
                  <a:pt x="469" y="657"/>
                </a:cubicBezTo>
                <a:cubicBezTo>
                  <a:pt x="470" y="657"/>
                  <a:pt x="474" y="660"/>
                  <a:pt x="474" y="661"/>
                </a:cubicBezTo>
                <a:close/>
                <a:moveTo>
                  <a:pt x="468" y="591"/>
                </a:moveTo>
                <a:cubicBezTo>
                  <a:pt x="466" y="590"/>
                  <a:pt x="467" y="589"/>
                  <a:pt x="466" y="588"/>
                </a:cubicBezTo>
                <a:cubicBezTo>
                  <a:pt x="466" y="587"/>
                  <a:pt x="465" y="586"/>
                  <a:pt x="465" y="585"/>
                </a:cubicBezTo>
                <a:cubicBezTo>
                  <a:pt x="466" y="581"/>
                  <a:pt x="472" y="585"/>
                  <a:pt x="471" y="589"/>
                </a:cubicBezTo>
                <a:cubicBezTo>
                  <a:pt x="471" y="590"/>
                  <a:pt x="470" y="593"/>
                  <a:pt x="468" y="591"/>
                </a:cubicBezTo>
                <a:close/>
                <a:moveTo>
                  <a:pt x="466" y="483"/>
                </a:moveTo>
                <a:cubicBezTo>
                  <a:pt x="468" y="484"/>
                  <a:pt x="467" y="485"/>
                  <a:pt x="469" y="486"/>
                </a:cubicBezTo>
                <a:cubicBezTo>
                  <a:pt x="468" y="486"/>
                  <a:pt x="466" y="485"/>
                  <a:pt x="466" y="483"/>
                </a:cubicBezTo>
                <a:close/>
                <a:moveTo>
                  <a:pt x="475" y="566"/>
                </a:moveTo>
                <a:cubicBezTo>
                  <a:pt x="476" y="565"/>
                  <a:pt x="478" y="567"/>
                  <a:pt x="478" y="567"/>
                </a:cubicBezTo>
                <a:cubicBezTo>
                  <a:pt x="479" y="569"/>
                  <a:pt x="474" y="567"/>
                  <a:pt x="475" y="566"/>
                </a:cubicBezTo>
                <a:close/>
                <a:moveTo>
                  <a:pt x="477" y="592"/>
                </a:moveTo>
                <a:cubicBezTo>
                  <a:pt x="477" y="592"/>
                  <a:pt x="476" y="591"/>
                  <a:pt x="477" y="592"/>
                </a:cubicBezTo>
                <a:cubicBezTo>
                  <a:pt x="477" y="593"/>
                  <a:pt x="477" y="592"/>
                  <a:pt x="477" y="592"/>
                </a:cubicBezTo>
                <a:close/>
                <a:moveTo>
                  <a:pt x="477" y="587"/>
                </a:moveTo>
                <a:cubicBezTo>
                  <a:pt x="478" y="586"/>
                  <a:pt x="479" y="588"/>
                  <a:pt x="480" y="588"/>
                </a:cubicBezTo>
                <a:cubicBezTo>
                  <a:pt x="480" y="591"/>
                  <a:pt x="475" y="588"/>
                  <a:pt x="477" y="587"/>
                </a:cubicBezTo>
                <a:close/>
                <a:moveTo>
                  <a:pt x="479" y="454"/>
                </a:moveTo>
                <a:cubicBezTo>
                  <a:pt x="478" y="453"/>
                  <a:pt x="480" y="456"/>
                  <a:pt x="479" y="454"/>
                </a:cubicBezTo>
                <a:close/>
                <a:moveTo>
                  <a:pt x="496" y="587"/>
                </a:moveTo>
                <a:cubicBezTo>
                  <a:pt x="497" y="588"/>
                  <a:pt x="495" y="587"/>
                  <a:pt x="495" y="586"/>
                </a:cubicBezTo>
                <a:cubicBezTo>
                  <a:pt x="496" y="586"/>
                  <a:pt x="496" y="586"/>
                  <a:pt x="496" y="587"/>
                </a:cubicBezTo>
                <a:close/>
                <a:moveTo>
                  <a:pt x="496" y="580"/>
                </a:moveTo>
                <a:cubicBezTo>
                  <a:pt x="495" y="578"/>
                  <a:pt x="496" y="582"/>
                  <a:pt x="496" y="580"/>
                </a:cubicBezTo>
                <a:close/>
                <a:moveTo>
                  <a:pt x="496" y="559"/>
                </a:moveTo>
                <a:cubicBezTo>
                  <a:pt x="496" y="559"/>
                  <a:pt x="496" y="559"/>
                  <a:pt x="496" y="560"/>
                </a:cubicBezTo>
                <a:cubicBezTo>
                  <a:pt x="497" y="561"/>
                  <a:pt x="496" y="560"/>
                  <a:pt x="496" y="559"/>
                </a:cubicBezTo>
                <a:close/>
                <a:moveTo>
                  <a:pt x="496" y="596"/>
                </a:moveTo>
                <a:cubicBezTo>
                  <a:pt x="495" y="595"/>
                  <a:pt x="497" y="597"/>
                  <a:pt x="496" y="596"/>
                </a:cubicBezTo>
                <a:close/>
                <a:moveTo>
                  <a:pt x="496" y="590"/>
                </a:moveTo>
                <a:cubicBezTo>
                  <a:pt x="497" y="589"/>
                  <a:pt x="498" y="592"/>
                  <a:pt x="496" y="592"/>
                </a:cubicBezTo>
                <a:cubicBezTo>
                  <a:pt x="495" y="593"/>
                  <a:pt x="495" y="591"/>
                  <a:pt x="496" y="590"/>
                </a:cubicBezTo>
                <a:close/>
                <a:moveTo>
                  <a:pt x="499" y="609"/>
                </a:moveTo>
                <a:cubicBezTo>
                  <a:pt x="502" y="612"/>
                  <a:pt x="502" y="609"/>
                  <a:pt x="504" y="609"/>
                </a:cubicBezTo>
                <a:cubicBezTo>
                  <a:pt x="504" y="609"/>
                  <a:pt x="506" y="610"/>
                  <a:pt x="506" y="611"/>
                </a:cubicBezTo>
                <a:cubicBezTo>
                  <a:pt x="508" y="615"/>
                  <a:pt x="499" y="614"/>
                  <a:pt x="499" y="609"/>
                </a:cubicBezTo>
                <a:close/>
                <a:moveTo>
                  <a:pt x="505" y="598"/>
                </a:moveTo>
                <a:cubicBezTo>
                  <a:pt x="505" y="600"/>
                  <a:pt x="503" y="601"/>
                  <a:pt x="501" y="601"/>
                </a:cubicBezTo>
                <a:cubicBezTo>
                  <a:pt x="498" y="601"/>
                  <a:pt x="497" y="598"/>
                  <a:pt x="497" y="595"/>
                </a:cubicBezTo>
                <a:cubicBezTo>
                  <a:pt x="497" y="595"/>
                  <a:pt x="497" y="594"/>
                  <a:pt x="496" y="594"/>
                </a:cubicBezTo>
                <a:cubicBezTo>
                  <a:pt x="497" y="593"/>
                  <a:pt x="500" y="593"/>
                  <a:pt x="500" y="593"/>
                </a:cubicBezTo>
                <a:cubicBezTo>
                  <a:pt x="501" y="591"/>
                  <a:pt x="496" y="591"/>
                  <a:pt x="497" y="589"/>
                </a:cubicBezTo>
                <a:cubicBezTo>
                  <a:pt x="498" y="587"/>
                  <a:pt x="500" y="590"/>
                  <a:pt x="500" y="591"/>
                </a:cubicBezTo>
                <a:cubicBezTo>
                  <a:pt x="502" y="592"/>
                  <a:pt x="503" y="590"/>
                  <a:pt x="503" y="593"/>
                </a:cubicBezTo>
                <a:cubicBezTo>
                  <a:pt x="503" y="594"/>
                  <a:pt x="506" y="597"/>
                  <a:pt x="506" y="597"/>
                </a:cubicBezTo>
                <a:cubicBezTo>
                  <a:pt x="507" y="597"/>
                  <a:pt x="507" y="595"/>
                  <a:pt x="508" y="597"/>
                </a:cubicBezTo>
                <a:cubicBezTo>
                  <a:pt x="508" y="596"/>
                  <a:pt x="507" y="600"/>
                  <a:pt x="508" y="600"/>
                </a:cubicBezTo>
                <a:cubicBezTo>
                  <a:pt x="507" y="600"/>
                  <a:pt x="506" y="600"/>
                  <a:pt x="505" y="598"/>
                </a:cubicBezTo>
                <a:close/>
                <a:moveTo>
                  <a:pt x="499" y="528"/>
                </a:moveTo>
                <a:cubicBezTo>
                  <a:pt x="500" y="528"/>
                  <a:pt x="500" y="529"/>
                  <a:pt x="501" y="529"/>
                </a:cubicBezTo>
                <a:cubicBezTo>
                  <a:pt x="502" y="530"/>
                  <a:pt x="498" y="529"/>
                  <a:pt x="499" y="528"/>
                </a:cubicBezTo>
                <a:close/>
                <a:moveTo>
                  <a:pt x="501" y="521"/>
                </a:moveTo>
                <a:cubicBezTo>
                  <a:pt x="502" y="520"/>
                  <a:pt x="502" y="522"/>
                  <a:pt x="502" y="522"/>
                </a:cubicBezTo>
                <a:cubicBezTo>
                  <a:pt x="502" y="523"/>
                  <a:pt x="500" y="521"/>
                  <a:pt x="501" y="521"/>
                </a:cubicBezTo>
                <a:close/>
                <a:moveTo>
                  <a:pt x="509" y="616"/>
                </a:moveTo>
                <a:cubicBezTo>
                  <a:pt x="508" y="616"/>
                  <a:pt x="507" y="614"/>
                  <a:pt x="508" y="614"/>
                </a:cubicBezTo>
                <a:cubicBezTo>
                  <a:pt x="510" y="614"/>
                  <a:pt x="510" y="616"/>
                  <a:pt x="509" y="616"/>
                </a:cubicBezTo>
                <a:close/>
                <a:moveTo>
                  <a:pt x="510" y="615"/>
                </a:moveTo>
                <a:cubicBezTo>
                  <a:pt x="510" y="615"/>
                  <a:pt x="511" y="615"/>
                  <a:pt x="511" y="616"/>
                </a:cubicBezTo>
                <a:cubicBezTo>
                  <a:pt x="512" y="617"/>
                  <a:pt x="510" y="616"/>
                  <a:pt x="510" y="615"/>
                </a:cubicBezTo>
                <a:close/>
                <a:moveTo>
                  <a:pt x="515" y="611"/>
                </a:moveTo>
                <a:cubicBezTo>
                  <a:pt x="514" y="610"/>
                  <a:pt x="516" y="610"/>
                  <a:pt x="515" y="611"/>
                </a:cubicBezTo>
                <a:close/>
                <a:moveTo>
                  <a:pt x="518" y="606"/>
                </a:moveTo>
                <a:cubicBezTo>
                  <a:pt x="517" y="604"/>
                  <a:pt x="519" y="603"/>
                  <a:pt x="518" y="606"/>
                </a:cubicBezTo>
                <a:close/>
                <a:moveTo>
                  <a:pt x="518" y="567"/>
                </a:moveTo>
                <a:cubicBezTo>
                  <a:pt x="517" y="568"/>
                  <a:pt x="518" y="565"/>
                  <a:pt x="518" y="567"/>
                </a:cubicBezTo>
                <a:close/>
                <a:moveTo>
                  <a:pt x="520" y="607"/>
                </a:moveTo>
                <a:cubicBezTo>
                  <a:pt x="519" y="607"/>
                  <a:pt x="520" y="607"/>
                  <a:pt x="520" y="607"/>
                </a:cubicBezTo>
                <a:close/>
                <a:moveTo>
                  <a:pt x="520" y="607"/>
                </a:moveTo>
                <a:cubicBezTo>
                  <a:pt x="520" y="608"/>
                  <a:pt x="520" y="608"/>
                  <a:pt x="520" y="608"/>
                </a:cubicBezTo>
                <a:cubicBezTo>
                  <a:pt x="520" y="608"/>
                  <a:pt x="520" y="608"/>
                  <a:pt x="520" y="608"/>
                </a:cubicBezTo>
                <a:cubicBezTo>
                  <a:pt x="520" y="608"/>
                  <a:pt x="520" y="608"/>
                  <a:pt x="520" y="607"/>
                </a:cubicBezTo>
                <a:close/>
                <a:moveTo>
                  <a:pt x="520" y="587"/>
                </a:moveTo>
                <a:cubicBezTo>
                  <a:pt x="520" y="587"/>
                  <a:pt x="521" y="588"/>
                  <a:pt x="521" y="588"/>
                </a:cubicBezTo>
                <a:cubicBezTo>
                  <a:pt x="522" y="589"/>
                  <a:pt x="519" y="588"/>
                  <a:pt x="520" y="587"/>
                </a:cubicBezTo>
                <a:close/>
                <a:moveTo>
                  <a:pt x="524" y="590"/>
                </a:moveTo>
                <a:cubicBezTo>
                  <a:pt x="523" y="591"/>
                  <a:pt x="524" y="588"/>
                  <a:pt x="524" y="590"/>
                </a:cubicBezTo>
                <a:close/>
                <a:moveTo>
                  <a:pt x="525" y="609"/>
                </a:moveTo>
                <a:cubicBezTo>
                  <a:pt x="528" y="610"/>
                  <a:pt x="527" y="613"/>
                  <a:pt x="529" y="615"/>
                </a:cubicBezTo>
                <a:cubicBezTo>
                  <a:pt x="527" y="614"/>
                  <a:pt x="526" y="611"/>
                  <a:pt x="525" y="609"/>
                </a:cubicBezTo>
                <a:close/>
                <a:moveTo>
                  <a:pt x="525" y="580"/>
                </a:moveTo>
                <a:cubicBezTo>
                  <a:pt x="525" y="582"/>
                  <a:pt x="522" y="580"/>
                  <a:pt x="523" y="579"/>
                </a:cubicBezTo>
                <a:cubicBezTo>
                  <a:pt x="524" y="578"/>
                  <a:pt x="525" y="579"/>
                  <a:pt x="525" y="580"/>
                </a:cubicBezTo>
                <a:close/>
                <a:moveTo>
                  <a:pt x="524" y="565"/>
                </a:moveTo>
                <a:cubicBezTo>
                  <a:pt x="524" y="564"/>
                  <a:pt x="525" y="566"/>
                  <a:pt x="525" y="566"/>
                </a:cubicBezTo>
                <a:cubicBezTo>
                  <a:pt x="525" y="568"/>
                  <a:pt x="523" y="566"/>
                  <a:pt x="524" y="565"/>
                </a:cubicBezTo>
                <a:close/>
                <a:moveTo>
                  <a:pt x="524" y="549"/>
                </a:moveTo>
                <a:cubicBezTo>
                  <a:pt x="525" y="547"/>
                  <a:pt x="529" y="549"/>
                  <a:pt x="529" y="551"/>
                </a:cubicBezTo>
                <a:cubicBezTo>
                  <a:pt x="530" y="557"/>
                  <a:pt x="524" y="550"/>
                  <a:pt x="524" y="549"/>
                </a:cubicBezTo>
                <a:close/>
                <a:moveTo>
                  <a:pt x="525" y="541"/>
                </a:moveTo>
                <a:cubicBezTo>
                  <a:pt x="523" y="541"/>
                  <a:pt x="525" y="539"/>
                  <a:pt x="525" y="541"/>
                </a:cubicBezTo>
                <a:close/>
                <a:moveTo>
                  <a:pt x="526" y="576"/>
                </a:moveTo>
                <a:cubicBezTo>
                  <a:pt x="526" y="576"/>
                  <a:pt x="526" y="576"/>
                  <a:pt x="526" y="576"/>
                </a:cubicBezTo>
                <a:cubicBezTo>
                  <a:pt x="526" y="574"/>
                  <a:pt x="526" y="576"/>
                  <a:pt x="526" y="576"/>
                </a:cubicBezTo>
                <a:close/>
                <a:moveTo>
                  <a:pt x="530" y="596"/>
                </a:moveTo>
                <a:cubicBezTo>
                  <a:pt x="530" y="596"/>
                  <a:pt x="530" y="597"/>
                  <a:pt x="531" y="597"/>
                </a:cubicBezTo>
                <a:cubicBezTo>
                  <a:pt x="531" y="599"/>
                  <a:pt x="528" y="596"/>
                  <a:pt x="530" y="596"/>
                </a:cubicBezTo>
                <a:close/>
                <a:moveTo>
                  <a:pt x="527" y="595"/>
                </a:moveTo>
                <a:cubicBezTo>
                  <a:pt x="526" y="594"/>
                  <a:pt x="528" y="590"/>
                  <a:pt x="530" y="591"/>
                </a:cubicBezTo>
                <a:cubicBezTo>
                  <a:pt x="532" y="592"/>
                  <a:pt x="531" y="598"/>
                  <a:pt x="527" y="595"/>
                </a:cubicBezTo>
                <a:close/>
                <a:moveTo>
                  <a:pt x="533" y="617"/>
                </a:moveTo>
                <a:cubicBezTo>
                  <a:pt x="533" y="618"/>
                  <a:pt x="532" y="616"/>
                  <a:pt x="533" y="617"/>
                </a:cubicBezTo>
                <a:close/>
                <a:moveTo>
                  <a:pt x="533" y="600"/>
                </a:moveTo>
                <a:cubicBezTo>
                  <a:pt x="534" y="601"/>
                  <a:pt x="531" y="600"/>
                  <a:pt x="532" y="599"/>
                </a:cubicBezTo>
                <a:cubicBezTo>
                  <a:pt x="532" y="598"/>
                  <a:pt x="533" y="599"/>
                  <a:pt x="533" y="600"/>
                </a:cubicBezTo>
                <a:close/>
                <a:moveTo>
                  <a:pt x="531" y="579"/>
                </a:moveTo>
                <a:cubicBezTo>
                  <a:pt x="530" y="577"/>
                  <a:pt x="529" y="575"/>
                  <a:pt x="529" y="572"/>
                </a:cubicBezTo>
                <a:cubicBezTo>
                  <a:pt x="530" y="574"/>
                  <a:pt x="531" y="576"/>
                  <a:pt x="531" y="579"/>
                </a:cubicBezTo>
                <a:close/>
                <a:moveTo>
                  <a:pt x="532" y="541"/>
                </a:moveTo>
                <a:cubicBezTo>
                  <a:pt x="533" y="541"/>
                  <a:pt x="530" y="540"/>
                  <a:pt x="532" y="541"/>
                </a:cubicBezTo>
                <a:close/>
                <a:moveTo>
                  <a:pt x="531" y="502"/>
                </a:moveTo>
                <a:cubicBezTo>
                  <a:pt x="529" y="501"/>
                  <a:pt x="529" y="499"/>
                  <a:pt x="529" y="498"/>
                </a:cubicBezTo>
                <a:cubicBezTo>
                  <a:pt x="530" y="499"/>
                  <a:pt x="530" y="500"/>
                  <a:pt x="531" y="502"/>
                </a:cubicBezTo>
                <a:close/>
                <a:moveTo>
                  <a:pt x="526" y="400"/>
                </a:moveTo>
                <a:cubicBezTo>
                  <a:pt x="528" y="399"/>
                  <a:pt x="530" y="401"/>
                  <a:pt x="529" y="402"/>
                </a:cubicBezTo>
                <a:cubicBezTo>
                  <a:pt x="529" y="406"/>
                  <a:pt x="525" y="401"/>
                  <a:pt x="526" y="400"/>
                </a:cubicBezTo>
                <a:close/>
                <a:moveTo>
                  <a:pt x="529" y="495"/>
                </a:moveTo>
                <a:cubicBezTo>
                  <a:pt x="528" y="491"/>
                  <a:pt x="529" y="498"/>
                  <a:pt x="529" y="495"/>
                </a:cubicBezTo>
                <a:close/>
                <a:moveTo>
                  <a:pt x="528" y="472"/>
                </a:moveTo>
                <a:cubicBezTo>
                  <a:pt x="528" y="473"/>
                  <a:pt x="528" y="472"/>
                  <a:pt x="528" y="473"/>
                </a:cubicBezTo>
                <a:cubicBezTo>
                  <a:pt x="529" y="474"/>
                  <a:pt x="526" y="471"/>
                  <a:pt x="528" y="472"/>
                </a:cubicBezTo>
                <a:close/>
                <a:moveTo>
                  <a:pt x="527" y="451"/>
                </a:moveTo>
                <a:cubicBezTo>
                  <a:pt x="527" y="452"/>
                  <a:pt x="527" y="453"/>
                  <a:pt x="527" y="454"/>
                </a:cubicBezTo>
                <a:cubicBezTo>
                  <a:pt x="527" y="452"/>
                  <a:pt x="527" y="452"/>
                  <a:pt x="527" y="451"/>
                </a:cubicBezTo>
                <a:close/>
                <a:moveTo>
                  <a:pt x="526" y="427"/>
                </a:moveTo>
                <a:cubicBezTo>
                  <a:pt x="525" y="428"/>
                  <a:pt x="526" y="425"/>
                  <a:pt x="526" y="427"/>
                </a:cubicBezTo>
                <a:close/>
                <a:moveTo>
                  <a:pt x="525" y="423"/>
                </a:moveTo>
                <a:cubicBezTo>
                  <a:pt x="525" y="424"/>
                  <a:pt x="526" y="425"/>
                  <a:pt x="525" y="426"/>
                </a:cubicBezTo>
                <a:cubicBezTo>
                  <a:pt x="525" y="425"/>
                  <a:pt x="524" y="424"/>
                  <a:pt x="525" y="423"/>
                </a:cubicBezTo>
                <a:close/>
                <a:moveTo>
                  <a:pt x="523" y="458"/>
                </a:moveTo>
                <a:cubicBezTo>
                  <a:pt x="523" y="458"/>
                  <a:pt x="523" y="458"/>
                  <a:pt x="523" y="458"/>
                </a:cubicBezTo>
                <a:cubicBezTo>
                  <a:pt x="523" y="458"/>
                  <a:pt x="523" y="458"/>
                  <a:pt x="523" y="458"/>
                </a:cubicBezTo>
                <a:cubicBezTo>
                  <a:pt x="523" y="458"/>
                  <a:pt x="523" y="458"/>
                  <a:pt x="523" y="458"/>
                </a:cubicBezTo>
                <a:close/>
                <a:moveTo>
                  <a:pt x="530" y="536"/>
                </a:moveTo>
                <a:cubicBezTo>
                  <a:pt x="527" y="532"/>
                  <a:pt x="525" y="528"/>
                  <a:pt x="523" y="523"/>
                </a:cubicBezTo>
                <a:cubicBezTo>
                  <a:pt x="526" y="527"/>
                  <a:pt x="529" y="531"/>
                  <a:pt x="530" y="536"/>
                </a:cubicBezTo>
                <a:close/>
                <a:moveTo>
                  <a:pt x="525" y="586"/>
                </a:moveTo>
                <a:cubicBezTo>
                  <a:pt x="525" y="586"/>
                  <a:pt x="525" y="587"/>
                  <a:pt x="524" y="587"/>
                </a:cubicBezTo>
                <a:cubicBezTo>
                  <a:pt x="520" y="589"/>
                  <a:pt x="523" y="581"/>
                  <a:pt x="525" y="586"/>
                </a:cubicBezTo>
                <a:close/>
                <a:moveTo>
                  <a:pt x="521" y="487"/>
                </a:moveTo>
                <a:cubicBezTo>
                  <a:pt x="522" y="487"/>
                  <a:pt x="522" y="487"/>
                  <a:pt x="522" y="487"/>
                </a:cubicBezTo>
                <a:cubicBezTo>
                  <a:pt x="523" y="489"/>
                  <a:pt x="520" y="487"/>
                  <a:pt x="521" y="487"/>
                </a:cubicBezTo>
                <a:close/>
                <a:moveTo>
                  <a:pt x="520" y="406"/>
                </a:moveTo>
                <a:cubicBezTo>
                  <a:pt x="519" y="407"/>
                  <a:pt x="519" y="405"/>
                  <a:pt x="519" y="404"/>
                </a:cubicBezTo>
                <a:cubicBezTo>
                  <a:pt x="520" y="404"/>
                  <a:pt x="520" y="406"/>
                  <a:pt x="520" y="406"/>
                </a:cubicBezTo>
                <a:close/>
                <a:moveTo>
                  <a:pt x="518" y="118"/>
                </a:moveTo>
                <a:cubicBezTo>
                  <a:pt x="516" y="117"/>
                  <a:pt x="520" y="119"/>
                  <a:pt x="518" y="118"/>
                </a:cubicBezTo>
                <a:close/>
                <a:moveTo>
                  <a:pt x="520" y="517"/>
                </a:moveTo>
                <a:cubicBezTo>
                  <a:pt x="520" y="517"/>
                  <a:pt x="523" y="522"/>
                  <a:pt x="521" y="521"/>
                </a:cubicBezTo>
                <a:cubicBezTo>
                  <a:pt x="519" y="520"/>
                  <a:pt x="518" y="514"/>
                  <a:pt x="517" y="511"/>
                </a:cubicBezTo>
                <a:cubicBezTo>
                  <a:pt x="518" y="512"/>
                  <a:pt x="519" y="515"/>
                  <a:pt x="520" y="517"/>
                </a:cubicBezTo>
                <a:close/>
                <a:moveTo>
                  <a:pt x="517" y="510"/>
                </a:moveTo>
                <a:cubicBezTo>
                  <a:pt x="516" y="508"/>
                  <a:pt x="515" y="507"/>
                  <a:pt x="515" y="506"/>
                </a:cubicBezTo>
                <a:cubicBezTo>
                  <a:pt x="516" y="506"/>
                  <a:pt x="517" y="508"/>
                  <a:pt x="517" y="510"/>
                </a:cubicBezTo>
                <a:close/>
                <a:moveTo>
                  <a:pt x="517" y="585"/>
                </a:moveTo>
                <a:cubicBezTo>
                  <a:pt x="516" y="585"/>
                  <a:pt x="516" y="584"/>
                  <a:pt x="516" y="584"/>
                </a:cubicBezTo>
                <a:cubicBezTo>
                  <a:pt x="517" y="584"/>
                  <a:pt x="517" y="585"/>
                  <a:pt x="517" y="585"/>
                </a:cubicBezTo>
                <a:close/>
                <a:moveTo>
                  <a:pt x="513" y="496"/>
                </a:moveTo>
                <a:cubicBezTo>
                  <a:pt x="514" y="498"/>
                  <a:pt x="515" y="500"/>
                  <a:pt x="516" y="502"/>
                </a:cubicBezTo>
                <a:cubicBezTo>
                  <a:pt x="516" y="502"/>
                  <a:pt x="513" y="498"/>
                  <a:pt x="513" y="496"/>
                </a:cubicBezTo>
                <a:close/>
                <a:moveTo>
                  <a:pt x="513" y="532"/>
                </a:moveTo>
                <a:cubicBezTo>
                  <a:pt x="513" y="532"/>
                  <a:pt x="513" y="531"/>
                  <a:pt x="513" y="532"/>
                </a:cubicBezTo>
                <a:cubicBezTo>
                  <a:pt x="513" y="532"/>
                  <a:pt x="513" y="532"/>
                  <a:pt x="513" y="532"/>
                </a:cubicBezTo>
                <a:close/>
                <a:moveTo>
                  <a:pt x="514" y="115"/>
                </a:moveTo>
                <a:cubicBezTo>
                  <a:pt x="514" y="116"/>
                  <a:pt x="512" y="115"/>
                  <a:pt x="512" y="114"/>
                </a:cubicBezTo>
                <a:cubicBezTo>
                  <a:pt x="513" y="114"/>
                  <a:pt x="513" y="115"/>
                  <a:pt x="514" y="115"/>
                </a:cubicBezTo>
                <a:close/>
                <a:moveTo>
                  <a:pt x="513" y="495"/>
                </a:moveTo>
                <a:cubicBezTo>
                  <a:pt x="513" y="496"/>
                  <a:pt x="512" y="493"/>
                  <a:pt x="513" y="495"/>
                </a:cubicBezTo>
                <a:close/>
                <a:moveTo>
                  <a:pt x="515" y="592"/>
                </a:moveTo>
                <a:cubicBezTo>
                  <a:pt x="516" y="594"/>
                  <a:pt x="518" y="595"/>
                  <a:pt x="518" y="598"/>
                </a:cubicBezTo>
                <a:cubicBezTo>
                  <a:pt x="514" y="592"/>
                  <a:pt x="511" y="585"/>
                  <a:pt x="507" y="580"/>
                </a:cubicBezTo>
                <a:cubicBezTo>
                  <a:pt x="504" y="575"/>
                  <a:pt x="511" y="583"/>
                  <a:pt x="512" y="584"/>
                </a:cubicBezTo>
                <a:cubicBezTo>
                  <a:pt x="513" y="586"/>
                  <a:pt x="514" y="590"/>
                  <a:pt x="515" y="592"/>
                </a:cubicBezTo>
                <a:close/>
                <a:moveTo>
                  <a:pt x="509" y="537"/>
                </a:moveTo>
                <a:cubicBezTo>
                  <a:pt x="509" y="539"/>
                  <a:pt x="507" y="537"/>
                  <a:pt x="508" y="537"/>
                </a:cubicBezTo>
                <a:cubicBezTo>
                  <a:pt x="508" y="536"/>
                  <a:pt x="509" y="537"/>
                  <a:pt x="509" y="537"/>
                </a:cubicBezTo>
                <a:close/>
                <a:moveTo>
                  <a:pt x="508" y="484"/>
                </a:moveTo>
                <a:cubicBezTo>
                  <a:pt x="509" y="485"/>
                  <a:pt x="508" y="483"/>
                  <a:pt x="508" y="484"/>
                </a:cubicBezTo>
                <a:close/>
                <a:moveTo>
                  <a:pt x="510" y="544"/>
                </a:moveTo>
                <a:cubicBezTo>
                  <a:pt x="510" y="544"/>
                  <a:pt x="510" y="545"/>
                  <a:pt x="510" y="545"/>
                </a:cubicBezTo>
                <a:cubicBezTo>
                  <a:pt x="507" y="546"/>
                  <a:pt x="508" y="541"/>
                  <a:pt x="510" y="544"/>
                </a:cubicBezTo>
                <a:close/>
                <a:moveTo>
                  <a:pt x="507" y="463"/>
                </a:moveTo>
                <a:cubicBezTo>
                  <a:pt x="508" y="467"/>
                  <a:pt x="511" y="471"/>
                  <a:pt x="511" y="476"/>
                </a:cubicBezTo>
                <a:cubicBezTo>
                  <a:pt x="509" y="472"/>
                  <a:pt x="508" y="468"/>
                  <a:pt x="507" y="463"/>
                </a:cubicBezTo>
                <a:close/>
                <a:moveTo>
                  <a:pt x="508" y="387"/>
                </a:moveTo>
                <a:cubicBezTo>
                  <a:pt x="506" y="384"/>
                  <a:pt x="505" y="381"/>
                  <a:pt x="505" y="378"/>
                </a:cubicBezTo>
                <a:cubicBezTo>
                  <a:pt x="506" y="381"/>
                  <a:pt x="507" y="383"/>
                  <a:pt x="508" y="387"/>
                </a:cubicBezTo>
                <a:close/>
                <a:moveTo>
                  <a:pt x="507" y="528"/>
                </a:moveTo>
                <a:cubicBezTo>
                  <a:pt x="506" y="529"/>
                  <a:pt x="505" y="527"/>
                  <a:pt x="504" y="526"/>
                </a:cubicBezTo>
                <a:cubicBezTo>
                  <a:pt x="506" y="525"/>
                  <a:pt x="506" y="528"/>
                  <a:pt x="507" y="528"/>
                </a:cubicBezTo>
                <a:close/>
                <a:moveTo>
                  <a:pt x="504" y="525"/>
                </a:moveTo>
                <a:cubicBezTo>
                  <a:pt x="504" y="525"/>
                  <a:pt x="502" y="524"/>
                  <a:pt x="503" y="523"/>
                </a:cubicBezTo>
                <a:cubicBezTo>
                  <a:pt x="504" y="523"/>
                  <a:pt x="503" y="524"/>
                  <a:pt x="504" y="525"/>
                </a:cubicBezTo>
                <a:close/>
                <a:moveTo>
                  <a:pt x="503" y="434"/>
                </a:moveTo>
                <a:cubicBezTo>
                  <a:pt x="502" y="434"/>
                  <a:pt x="502" y="433"/>
                  <a:pt x="502" y="432"/>
                </a:cubicBezTo>
                <a:cubicBezTo>
                  <a:pt x="503" y="433"/>
                  <a:pt x="503" y="434"/>
                  <a:pt x="503" y="434"/>
                </a:cubicBezTo>
                <a:close/>
                <a:moveTo>
                  <a:pt x="501" y="431"/>
                </a:moveTo>
                <a:cubicBezTo>
                  <a:pt x="502" y="430"/>
                  <a:pt x="502" y="432"/>
                  <a:pt x="501" y="431"/>
                </a:cubicBezTo>
                <a:close/>
                <a:moveTo>
                  <a:pt x="500" y="448"/>
                </a:moveTo>
                <a:cubicBezTo>
                  <a:pt x="500" y="447"/>
                  <a:pt x="501" y="447"/>
                  <a:pt x="501" y="447"/>
                </a:cubicBezTo>
                <a:cubicBezTo>
                  <a:pt x="502" y="448"/>
                  <a:pt x="500" y="448"/>
                  <a:pt x="500" y="448"/>
                </a:cubicBezTo>
                <a:close/>
                <a:moveTo>
                  <a:pt x="501" y="429"/>
                </a:moveTo>
                <a:cubicBezTo>
                  <a:pt x="500" y="429"/>
                  <a:pt x="499" y="427"/>
                  <a:pt x="499" y="426"/>
                </a:cubicBezTo>
                <a:cubicBezTo>
                  <a:pt x="500" y="427"/>
                  <a:pt x="500" y="428"/>
                  <a:pt x="501" y="429"/>
                </a:cubicBezTo>
                <a:close/>
                <a:moveTo>
                  <a:pt x="499" y="566"/>
                </a:moveTo>
                <a:cubicBezTo>
                  <a:pt x="500" y="568"/>
                  <a:pt x="495" y="566"/>
                  <a:pt x="497" y="565"/>
                </a:cubicBezTo>
                <a:cubicBezTo>
                  <a:pt x="498" y="564"/>
                  <a:pt x="499" y="565"/>
                  <a:pt x="499" y="566"/>
                </a:cubicBezTo>
                <a:close/>
                <a:moveTo>
                  <a:pt x="498" y="149"/>
                </a:moveTo>
                <a:cubicBezTo>
                  <a:pt x="497" y="149"/>
                  <a:pt x="496" y="149"/>
                  <a:pt x="495" y="148"/>
                </a:cubicBezTo>
                <a:cubicBezTo>
                  <a:pt x="496" y="147"/>
                  <a:pt x="497" y="149"/>
                  <a:pt x="498" y="149"/>
                </a:cubicBezTo>
                <a:close/>
                <a:moveTo>
                  <a:pt x="494" y="480"/>
                </a:moveTo>
                <a:cubicBezTo>
                  <a:pt x="495" y="480"/>
                  <a:pt x="494" y="482"/>
                  <a:pt x="494" y="481"/>
                </a:cubicBezTo>
                <a:cubicBezTo>
                  <a:pt x="494" y="481"/>
                  <a:pt x="494" y="480"/>
                  <a:pt x="494" y="480"/>
                </a:cubicBezTo>
                <a:close/>
                <a:moveTo>
                  <a:pt x="487" y="591"/>
                </a:moveTo>
                <a:cubicBezTo>
                  <a:pt x="488" y="592"/>
                  <a:pt x="491" y="594"/>
                  <a:pt x="491" y="595"/>
                </a:cubicBezTo>
                <a:cubicBezTo>
                  <a:pt x="491" y="596"/>
                  <a:pt x="487" y="593"/>
                  <a:pt x="487" y="591"/>
                </a:cubicBezTo>
                <a:close/>
                <a:moveTo>
                  <a:pt x="487" y="573"/>
                </a:moveTo>
                <a:cubicBezTo>
                  <a:pt x="486" y="573"/>
                  <a:pt x="488" y="573"/>
                  <a:pt x="487" y="573"/>
                </a:cubicBezTo>
                <a:close/>
                <a:moveTo>
                  <a:pt x="490" y="482"/>
                </a:moveTo>
                <a:cubicBezTo>
                  <a:pt x="490" y="485"/>
                  <a:pt x="485" y="482"/>
                  <a:pt x="487" y="481"/>
                </a:cubicBezTo>
                <a:cubicBezTo>
                  <a:pt x="488" y="480"/>
                  <a:pt x="490" y="482"/>
                  <a:pt x="490" y="482"/>
                </a:cubicBezTo>
                <a:close/>
                <a:moveTo>
                  <a:pt x="487" y="468"/>
                </a:moveTo>
                <a:cubicBezTo>
                  <a:pt x="487" y="469"/>
                  <a:pt x="486" y="466"/>
                  <a:pt x="487" y="468"/>
                </a:cubicBezTo>
                <a:close/>
                <a:moveTo>
                  <a:pt x="486" y="380"/>
                </a:moveTo>
                <a:cubicBezTo>
                  <a:pt x="486" y="379"/>
                  <a:pt x="488" y="382"/>
                  <a:pt x="486" y="380"/>
                </a:cubicBezTo>
                <a:close/>
                <a:moveTo>
                  <a:pt x="486" y="467"/>
                </a:moveTo>
                <a:cubicBezTo>
                  <a:pt x="486" y="466"/>
                  <a:pt x="485" y="466"/>
                  <a:pt x="485" y="465"/>
                </a:cubicBezTo>
                <a:cubicBezTo>
                  <a:pt x="486" y="465"/>
                  <a:pt x="486" y="466"/>
                  <a:pt x="486" y="467"/>
                </a:cubicBezTo>
                <a:close/>
                <a:moveTo>
                  <a:pt x="486" y="560"/>
                </a:moveTo>
                <a:cubicBezTo>
                  <a:pt x="485" y="561"/>
                  <a:pt x="485" y="558"/>
                  <a:pt x="486" y="560"/>
                </a:cubicBezTo>
                <a:close/>
                <a:moveTo>
                  <a:pt x="484" y="463"/>
                </a:moveTo>
                <a:cubicBezTo>
                  <a:pt x="485" y="463"/>
                  <a:pt x="485" y="464"/>
                  <a:pt x="485" y="464"/>
                </a:cubicBezTo>
                <a:cubicBezTo>
                  <a:pt x="485" y="464"/>
                  <a:pt x="484" y="464"/>
                  <a:pt x="484" y="463"/>
                </a:cubicBezTo>
                <a:close/>
                <a:moveTo>
                  <a:pt x="484" y="462"/>
                </a:moveTo>
                <a:cubicBezTo>
                  <a:pt x="483" y="461"/>
                  <a:pt x="484" y="460"/>
                  <a:pt x="484" y="462"/>
                </a:cubicBezTo>
                <a:close/>
                <a:moveTo>
                  <a:pt x="484" y="465"/>
                </a:moveTo>
                <a:cubicBezTo>
                  <a:pt x="483" y="465"/>
                  <a:pt x="483" y="464"/>
                  <a:pt x="483" y="463"/>
                </a:cubicBezTo>
                <a:cubicBezTo>
                  <a:pt x="484" y="463"/>
                  <a:pt x="484" y="464"/>
                  <a:pt x="484" y="465"/>
                </a:cubicBezTo>
                <a:close/>
                <a:moveTo>
                  <a:pt x="483" y="460"/>
                </a:moveTo>
                <a:cubicBezTo>
                  <a:pt x="482" y="459"/>
                  <a:pt x="481" y="458"/>
                  <a:pt x="482" y="456"/>
                </a:cubicBezTo>
                <a:cubicBezTo>
                  <a:pt x="482" y="457"/>
                  <a:pt x="483" y="458"/>
                  <a:pt x="483" y="460"/>
                </a:cubicBezTo>
                <a:close/>
                <a:moveTo>
                  <a:pt x="482" y="461"/>
                </a:moveTo>
                <a:cubicBezTo>
                  <a:pt x="483" y="462"/>
                  <a:pt x="481" y="460"/>
                  <a:pt x="482" y="461"/>
                </a:cubicBezTo>
                <a:close/>
                <a:moveTo>
                  <a:pt x="486" y="590"/>
                </a:moveTo>
                <a:cubicBezTo>
                  <a:pt x="484" y="587"/>
                  <a:pt x="482" y="585"/>
                  <a:pt x="481" y="582"/>
                </a:cubicBezTo>
                <a:cubicBezTo>
                  <a:pt x="483" y="584"/>
                  <a:pt x="485" y="587"/>
                  <a:pt x="486" y="590"/>
                </a:cubicBezTo>
                <a:close/>
                <a:moveTo>
                  <a:pt x="480" y="457"/>
                </a:moveTo>
                <a:cubicBezTo>
                  <a:pt x="480" y="457"/>
                  <a:pt x="479" y="454"/>
                  <a:pt x="480" y="457"/>
                </a:cubicBezTo>
                <a:close/>
                <a:moveTo>
                  <a:pt x="479" y="414"/>
                </a:moveTo>
                <a:cubicBezTo>
                  <a:pt x="479" y="413"/>
                  <a:pt x="478" y="413"/>
                  <a:pt x="479" y="412"/>
                </a:cubicBezTo>
                <a:cubicBezTo>
                  <a:pt x="479" y="413"/>
                  <a:pt x="480" y="413"/>
                  <a:pt x="479" y="414"/>
                </a:cubicBezTo>
                <a:close/>
                <a:moveTo>
                  <a:pt x="478" y="401"/>
                </a:moveTo>
                <a:cubicBezTo>
                  <a:pt x="477" y="400"/>
                  <a:pt x="475" y="397"/>
                  <a:pt x="475" y="394"/>
                </a:cubicBezTo>
                <a:cubicBezTo>
                  <a:pt x="477" y="396"/>
                  <a:pt x="480" y="404"/>
                  <a:pt x="478" y="401"/>
                </a:cubicBezTo>
                <a:close/>
                <a:moveTo>
                  <a:pt x="474" y="393"/>
                </a:moveTo>
                <a:cubicBezTo>
                  <a:pt x="474" y="393"/>
                  <a:pt x="474" y="393"/>
                  <a:pt x="474" y="393"/>
                </a:cubicBezTo>
                <a:cubicBezTo>
                  <a:pt x="474" y="393"/>
                  <a:pt x="474" y="393"/>
                  <a:pt x="474" y="393"/>
                </a:cubicBezTo>
                <a:cubicBezTo>
                  <a:pt x="474" y="393"/>
                  <a:pt x="474" y="393"/>
                  <a:pt x="474" y="393"/>
                </a:cubicBezTo>
                <a:close/>
                <a:moveTo>
                  <a:pt x="469" y="488"/>
                </a:moveTo>
                <a:cubicBezTo>
                  <a:pt x="471" y="488"/>
                  <a:pt x="472" y="491"/>
                  <a:pt x="473" y="493"/>
                </a:cubicBezTo>
                <a:cubicBezTo>
                  <a:pt x="471" y="492"/>
                  <a:pt x="470" y="489"/>
                  <a:pt x="469" y="488"/>
                </a:cubicBezTo>
                <a:close/>
                <a:moveTo>
                  <a:pt x="472" y="391"/>
                </a:moveTo>
                <a:cubicBezTo>
                  <a:pt x="471" y="389"/>
                  <a:pt x="470" y="388"/>
                  <a:pt x="469" y="385"/>
                </a:cubicBezTo>
                <a:cubicBezTo>
                  <a:pt x="471" y="386"/>
                  <a:pt x="472" y="389"/>
                  <a:pt x="472" y="391"/>
                </a:cubicBezTo>
                <a:close/>
                <a:moveTo>
                  <a:pt x="469" y="124"/>
                </a:moveTo>
                <a:cubicBezTo>
                  <a:pt x="469" y="125"/>
                  <a:pt x="467" y="124"/>
                  <a:pt x="467" y="124"/>
                </a:cubicBezTo>
                <a:cubicBezTo>
                  <a:pt x="464" y="122"/>
                  <a:pt x="470" y="123"/>
                  <a:pt x="469" y="124"/>
                </a:cubicBezTo>
                <a:close/>
                <a:moveTo>
                  <a:pt x="466" y="430"/>
                </a:moveTo>
                <a:cubicBezTo>
                  <a:pt x="466" y="434"/>
                  <a:pt x="471" y="437"/>
                  <a:pt x="470" y="440"/>
                </a:cubicBezTo>
                <a:cubicBezTo>
                  <a:pt x="470" y="440"/>
                  <a:pt x="465" y="433"/>
                  <a:pt x="466" y="430"/>
                </a:cubicBezTo>
                <a:close/>
                <a:moveTo>
                  <a:pt x="465" y="555"/>
                </a:moveTo>
                <a:cubicBezTo>
                  <a:pt x="465" y="555"/>
                  <a:pt x="466" y="556"/>
                  <a:pt x="466" y="556"/>
                </a:cubicBezTo>
                <a:cubicBezTo>
                  <a:pt x="467" y="557"/>
                  <a:pt x="464" y="556"/>
                  <a:pt x="465" y="555"/>
                </a:cubicBezTo>
                <a:close/>
                <a:moveTo>
                  <a:pt x="465" y="575"/>
                </a:moveTo>
                <a:cubicBezTo>
                  <a:pt x="465" y="575"/>
                  <a:pt x="465" y="575"/>
                  <a:pt x="466" y="576"/>
                </a:cubicBezTo>
                <a:cubicBezTo>
                  <a:pt x="467" y="577"/>
                  <a:pt x="464" y="576"/>
                  <a:pt x="465" y="575"/>
                </a:cubicBezTo>
                <a:close/>
                <a:moveTo>
                  <a:pt x="463" y="584"/>
                </a:moveTo>
                <a:cubicBezTo>
                  <a:pt x="464" y="583"/>
                  <a:pt x="464" y="584"/>
                  <a:pt x="465" y="585"/>
                </a:cubicBezTo>
                <a:cubicBezTo>
                  <a:pt x="465" y="586"/>
                  <a:pt x="463" y="585"/>
                  <a:pt x="463" y="584"/>
                </a:cubicBezTo>
                <a:close/>
                <a:moveTo>
                  <a:pt x="464" y="655"/>
                </a:moveTo>
                <a:cubicBezTo>
                  <a:pt x="464" y="656"/>
                  <a:pt x="462" y="656"/>
                  <a:pt x="462" y="655"/>
                </a:cubicBezTo>
                <a:cubicBezTo>
                  <a:pt x="462" y="655"/>
                  <a:pt x="464" y="654"/>
                  <a:pt x="464" y="655"/>
                </a:cubicBezTo>
                <a:close/>
                <a:moveTo>
                  <a:pt x="463" y="619"/>
                </a:moveTo>
                <a:cubicBezTo>
                  <a:pt x="462" y="620"/>
                  <a:pt x="461" y="619"/>
                  <a:pt x="461" y="618"/>
                </a:cubicBezTo>
                <a:cubicBezTo>
                  <a:pt x="462" y="619"/>
                  <a:pt x="462" y="619"/>
                  <a:pt x="463" y="619"/>
                </a:cubicBezTo>
                <a:close/>
                <a:moveTo>
                  <a:pt x="461" y="536"/>
                </a:moveTo>
                <a:cubicBezTo>
                  <a:pt x="462" y="537"/>
                  <a:pt x="458" y="535"/>
                  <a:pt x="459" y="534"/>
                </a:cubicBezTo>
                <a:cubicBezTo>
                  <a:pt x="461" y="533"/>
                  <a:pt x="461" y="535"/>
                  <a:pt x="461" y="536"/>
                </a:cubicBezTo>
                <a:close/>
                <a:moveTo>
                  <a:pt x="454" y="150"/>
                </a:moveTo>
                <a:cubicBezTo>
                  <a:pt x="456" y="152"/>
                  <a:pt x="459" y="152"/>
                  <a:pt x="460" y="154"/>
                </a:cubicBezTo>
                <a:cubicBezTo>
                  <a:pt x="458" y="154"/>
                  <a:pt x="456" y="152"/>
                  <a:pt x="454" y="150"/>
                </a:cubicBezTo>
                <a:close/>
                <a:moveTo>
                  <a:pt x="459" y="122"/>
                </a:moveTo>
                <a:cubicBezTo>
                  <a:pt x="457" y="120"/>
                  <a:pt x="461" y="123"/>
                  <a:pt x="459" y="122"/>
                </a:cubicBezTo>
                <a:close/>
                <a:moveTo>
                  <a:pt x="453" y="94"/>
                </a:moveTo>
                <a:cubicBezTo>
                  <a:pt x="451" y="92"/>
                  <a:pt x="455" y="96"/>
                  <a:pt x="453" y="94"/>
                </a:cubicBezTo>
                <a:close/>
                <a:moveTo>
                  <a:pt x="451" y="96"/>
                </a:moveTo>
                <a:cubicBezTo>
                  <a:pt x="455" y="93"/>
                  <a:pt x="458" y="100"/>
                  <a:pt x="454" y="100"/>
                </a:cubicBezTo>
                <a:cubicBezTo>
                  <a:pt x="453" y="101"/>
                  <a:pt x="452" y="100"/>
                  <a:pt x="451" y="98"/>
                </a:cubicBezTo>
                <a:cubicBezTo>
                  <a:pt x="450" y="97"/>
                  <a:pt x="450" y="96"/>
                  <a:pt x="451" y="96"/>
                </a:cubicBezTo>
                <a:close/>
                <a:moveTo>
                  <a:pt x="447" y="103"/>
                </a:moveTo>
                <a:cubicBezTo>
                  <a:pt x="447" y="103"/>
                  <a:pt x="447" y="103"/>
                  <a:pt x="447" y="103"/>
                </a:cubicBezTo>
                <a:cubicBezTo>
                  <a:pt x="446" y="103"/>
                  <a:pt x="447" y="103"/>
                  <a:pt x="447" y="103"/>
                </a:cubicBezTo>
                <a:close/>
                <a:moveTo>
                  <a:pt x="444" y="145"/>
                </a:moveTo>
                <a:cubicBezTo>
                  <a:pt x="446" y="145"/>
                  <a:pt x="449" y="147"/>
                  <a:pt x="451" y="149"/>
                </a:cubicBezTo>
                <a:cubicBezTo>
                  <a:pt x="448" y="149"/>
                  <a:pt x="441" y="143"/>
                  <a:pt x="444" y="145"/>
                </a:cubicBezTo>
                <a:close/>
                <a:moveTo>
                  <a:pt x="442" y="515"/>
                </a:moveTo>
                <a:cubicBezTo>
                  <a:pt x="440" y="516"/>
                  <a:pt x="441" y="513"/>
                  <a:pt x="442" y="515"/>
                </a:cubicBezTo>
                <a:close/>
                <a:moveTo>
                  <a:pt x="436" y="80"/>
                </a:moveTo>
                <a:cubicBezTo>
                  <a:pt x="434" y="80"/>
                  <a:pt x="435" y="78"/>
                  <a:pt x="436" y="80"/>
                </a:cubicBezTo>
                <a:close/>
                <a:moveTo>
                  <a:pt x="440" y="114"/>
                </a:moveTo>
                <a:cubicBezTo>
                  <a:pt x="438" y="111"/>
                  <a:pt x="432" y="110"/>
                  <a:pt x="431" y="107"/>
                </a:cubicBezTo>
                <a:cubicBezTo>
                  <a:pt x="432" y="108"/>
                  <a:pt x="439" y="111"/>
                  <a:pt x="440" y="114"/>
                </a:cubicBezTo>
                <a:close/>
                <a:moveTo>
                  <a:pt x="433" y="179"/>
                </a:moveTo>
                <a:cubicBezTo>
                  <a:pt x="431" y="177"/>
                  <a:pt x="428" y="175"/>
                  <a:pt x="426" y="172"/>
                </a:cubicBezTo>
                <a:cubicBezTo>
                  <a:pt x="429" y="174"/>
                  <a:pt x="432" y="176"/>
                  <a:pt x="433" y="179"/>
                </a:cubicBezTo>
                <a:close/>
                <a:moveTo>
                  <a:pt x="425" y="594"/>
                </a:moveTo>
                <a:cubicBezTo>
                  <a:pt x="425" y="595"/>
                  <a:pt x="426" y="595"/>
                  <a:pt x="426" y="595"/>
                </a:cubicBezTo>
                <a:cubicBezTo>
                  <a:pt x="426" y="596"/>
                  <a:pt x="424" y="595"/>
                  <a:pt x="425" y="594"/>
                </a:cubicBezTo>
                <a:close/>
                <a:moveTo>
                  <a:pt x="426" y="549"/>
                </a:moveTo>
                <a:cubicBezTo>
                  <a:pt x="426" y="550"/>
                  <a:pt x="425" y="548"/>
                  <a:pt x="426" y="549"/>
                </a:cubicBezTo>
                <a:close/>
                <a:moveTo>
                  <a:pt x="426" y="468"/>
                </a:moveTo>
                <a:cubicBezTo>
                  <a:pt x="423" y="467"/>
                  <a:pt x="426" y="466"/>
                  <a:pt x="426" y="468"/>
                </a:cubicBezTo>
                <a:close/>
                <a:moveTo>
                  <a:pt x="425" y="542"/>
                </a:moveTo>
                <a:cubicBezTo>
                  <a:pt x="424" y="541"/>
                  <a:pt x="424" y="539"/>
                  <a:pt x="424" y="538"/>
                </a:cubicBezTo>
                <a:cubicBezTo>
                  <a:pt x="426" y="538"/>
                  <a:pt x="425" y="541"/>
                  <a:pt x="425" y="542"/>
                </a:cubicBezTo>
                <a:close/>
                <a:moveTo>
                  <a:pt x="423" y="592"/>
                </a:moveTo>
                <a:cubicBezTo>
                  <a:pt x="421" y="592"/>
                  <a:pt x="420" y="590"/>
                  <a:pt x="418" y="589"/>
                </a:cubicBezTo>
                <a:cubicBezTo>
                  <a:pt x="420" y="590"/>
                  <a:pt x="419" y="589"/>
                  <a:pt x="420" y="588"/>
                </a:cubicBezTo>
                <a:cubicBezTo>
                  <a:pt x="423" y="587"/>
                  <a:pt x="425" y="591"/>
                  <a:pt x="423" y="592"/>
                </a:cubicBezTo>
                <a:close/>
                <a:moveTo>
                  <a:pt x="420" y="499"/>
                </a:moveTo>
                <a:cubicBezTo>
                  <a:pt x="419" y="500"/>
                  <a:pt x="417" y="496"/>
                  <a:pt x="416" y="494"/>
                </a:cubicBezTo>
                <a:cubicBezTo>
                  <a:pt x="418" y="496"/>
                  <a:pt x="419" y="497"/>
                  <a:pt x="420" y="499"/>
                </a:cubicBezTo>
                <a:close/>
                <a:moveTo>
                  <a:pt x="417" y="100"/>
                </a:moveTo>
                <a:cubicBezTo>
                  <a:pt x="418" y="101"/>
                  <a:pt x="415" y="99"/>
                  <a:pt x="417" y="100"/>
                </a:cubicBezTo>
                <a:close/>
                <a:moveTo>
                  <a:pt x="416" y="49"/>
                </a:moveTo>
                <a:cubicBezTo>
                  <a:pt x="416" y="49"/>
                  <a:pt x="415" y="49"/>
                  <a:pt x="416" y="49"/>
                </a:cubicBezTo>
                <a:cubicBezTo>
                  <a:pt x="416" y="48"/>
                  <a:pt x="418" y="50"/>
                  <a:pt x="416" y="49"/>
                </a:cubicBezTo>
                <a:close/>
                <a:moveTo>
                  <a:pt x="413" y="491"/>
                </a:moveTo>
                <a:cubicBezTo>
                  <a:pt x="414" y="491"/>
                  <a:pt x="414" y="493"/>
                  <a:pt x="416" y="494"/>
                </a:cubicBezTo>
                <a:cubicBezTo>
                  <a:pt x="415" y="494"/>
                  <a:pt x="413" y="492"/>
                  <a:pt x="413" y="491"/>
                </a:cubicBezTo>
                <a:close/>
                <a:moveTo>
                  <a:pt x="415" y="46"/>
                </a:moveTo>
                <a:cubicBezTo>
                  <a:pt x="417" y="47"/>
                  <a:pt x="414" y="45"/>
                  <a:pt x="415" y="46"/>
                </a:cubicBezTo>
                <a:close/>
                <a:moveTo>
                  <a:pt x="414" y="98"/>
                </a:moveTo>
                <a:cubicBezTo>
                  <a:pt x="414" y="97"/>
                  <a:pt x="417" y="100"/>
                  <a:pt x="414" y="98"/>
                </a:cubicBezTo>
                <a:close/>
                <a:moveTo>
                  <a:pt x="414" y="134"/>
                </a:moveTo>
                <a:cubicBezTo>
                  <a:pt x="413" y="134"/>
                  <a:pt x="412" y="133"/>
                  <a:pt x="411" y="133"/>
                </a:cubicBezTo>
                <a:cubicBezTo>
                  <a:pt x="411" y="132"/>
                  <a:pt x="413" y="133"/>
                  <a:pt x="414" y="134"/>
                </a:cubicBezTo>
                <a:close/>
                <a:moveTo>
                  <a:pt x="413" y="99"/>
                </a:moveTo>
                <a:cubicBezTo>
                  <a:pt x="412" y="99"/>
                  <a:pt x="411" y="98"/>
                  <a:pt x="411" y="97"/>
                </a:cubicBezTo>
                <a:cubicBezTo>
                  <a:pt x="412" y="98"/>
                  <a:pt x="413" y="98"/>
                  <a:pt x="413" y="99"/>
                </a:cubicBezTo>
                <a:close/>
                <a:moveTo>
                  <a:pt x="411" y="96"/>
                </a:moveTo>
                <a:cubicBezTo>
                  <a:pt x="409" y="95"/>
                  <a:pt x="412" y="96"/>
                  <a:pt x="411" y="96"/>
                </a:cubicBezTo>
                <a:close/>
                <a:moveTo>
                  <a:pt x="412" y="68"/>
                </a:moveTo>
                <a:cubicBezTo>
                  <a:pt x="411" y="68"/>
                  <a:pt x="410" y="67"/>
                  <a:pt x="409" y="67"/>
                </a:cubicBezTo>
                <a:cubicBezTo>
                  <a:pt x="410" y="66"/>
                  <a:pt x="412" y="67"/>
                  <a:pt x="412" y="68"/>
                </a:cubicBezTo>
                <a:close/>
                <a:moveTo>
                  <a:pt x="408" y="95"/>
                </a:moveTo>
                <a:cubicBezTo>
                  <a:pt x="410" y="96"/>
                  <a:pt x="409" y="97"/>
                  <a:pt x="408" y="95"/>
                </a:cubicBezTo>
                <a:close/>
                <a:moveTo>
                  <a:pt x="406" y="93"/>
                </a:moveTo>
                <a:cubicBezTo>
                  <a:pt x="407" y="93"/>
                  <a:pt x="408" y="94"/>
                  <a:pt x="409" y="95"/>
                </a:cubicBezTo>
                <a:cubicBezTo>
                  <a:pt x="408" y="94"/>
                  <a:pt x="407" y="94"/>
                  <a:pt x="406" y="93"/>
                </a:cubicBezTo>
                <a:close/>
                <a:moveTo>
                  <a:pt x="408" y="66"/>
                </a:moveTo>
                <a:cubicBezTo>
                  <a:pt x="406" y="66"/>
                  <a:pt x="404" y="64"/>
                  <a:pt x="402" y="63"/>
                </a:cubicBezTo>
                <a:cubicBezTo>
                  <a:pt x="404" y="63"/>
                  <a:pt x="406" y="65"/>
                  <a:pt x="408" y="66"/>
                </a:cubicBezTo>
                <a:close/>
                <a:moveTo>
                  <a:pt x="403" y="92"/>
                </a:moveTo>
                <a:cubicBezTo>
                  <a:pt x="402" y="91"/>
                  <a:pt x="404" y="94"/>
                  <a:pt x="403" y="92"/>
                </a:cubicBezTo>
                <a:close/>
                <a:moveTo>
                  <a:pt x="402" y="116"/>
                </a:moveTo>
                <a:cubicBezTo>
                  <a:pt x="402" y="116"/>
                  <a:pt x="401" y="117"/>
                  <a:pt x="401" y="117"/>
                </a:cubicBezTo>
                <a:cubicBezTo>
                  <a:pt x="400" y="117"/>
                  <a:pt x="401" y="115"/>
                  <a:pt x="402" y="116"/>
                </a:cubicBezTo>
                <a:close/>
                <a:moveTo>
                  <a:pt x="404" y="171"/>
                </a:moveTo>
                <a:cubicBezTo>
                  <a:pt x="403" y="173"/>
                  <a:pt x="400" y="171"/>
                  <a:pt x="400" y="170"/>
                </a:cubicBezTo>
                <a:cubicBezTo>
                  <a:pt x="398" y="167"/>
                  <a:pt x="404" y="169"/>
                  <a:pt x="404" y="171"/>
                </a:cubicBezTo>
                <a:close/>
                <a:moveTo>
                  <a:pt x="398" y="513"/>
                </a:moveTo>
                <a:cubicBezTo>
                  <a:pt x="398" y="512"/>
                  <a:pt x="399" y="513"/>
                  <a:pt x="400" y="513"/>
                </a:cubicBezTo>
                <a:cubicBezTo>
                  <a:pt x="401" y="516"/>
                  <a:pt x="396" y="514"/>
                  <a:pt x="398" y="513"/>
                </a:cubicBezTo>
                <a:close/>
                <a:moveTo>
                  <a:pt x="397" y="471"/>
                </a:moveTo>
                <a:cubicBezTo>
                  <a:pt x="396" y="472"/>
                  <a:pt x="396" y="469"/>
                  <a:pt x="397" y="470"/>
                </a:cubicBezTo>
                <a:cubicBezTo>
                  <a:pt x="397" y="470"/>
                  <a:pt x="397" y="471"/>
                  <a:pt x="397" y="471"/>
                </a:cubicBezTo>
                <a:close/>
                <a:moveTo>
                  <a:pt x="397" y="427"/>
                </a:moveTo>
                <a:cubicBezTo>
                  <a:pt x="398" y="428"/>
                  <a:pt x="394" y="427"/>
                  <a:pt x="396" y="426"/>
                </a:cubicBezTo>
                <a:cubicBezTo>
                  <a:pt x="396" y="426"/>
                  <a:pt x="397" y="427"/>
                  <a:pt x="397" y="427"/>
                </a:cubicBezTo>
                <a:close/>
                <a:moveTo>
                  <a:pt x="396" y="81"/>
                </a:moveTo>
                <a:cubicBezTo>
                  <a:pt x="396" y="82"/>
                  <a:pt x="393" y="82"/>
                  <a:pt x="393" y="81"/>
                </a:cubicBezTo>
                <a:cubicBezTo>
                  <a:pt x="391" y="79"/>
                  <a:pt x="397" y="79"/>
                  <a:pt x="396" y="81"/>
                </a:cubicBezTo>
                <a:close/>
                <a:moveTo>
                  <a:pt x="393" y="150"/>
                </a:moveTo>
                <a:cubicBezTo>
                  <a:pt x="392" y="150"/>
                  <a:pt x="391" y="149"/>
                  <a:pt x="391" y="148"/>
                </a:cubicBezTo>
                <a:cubicBezTo>
                  <a:pt x="392" y="148"/>
                  <a:pt x="393" y="149"/>
                  <a:pt x="393" y="150"/>
                </a:cubicBezTo>
                <a:close/>
                <a:moveTo>
                  <a:pt x="395" y="400"/>
                </a:moveTo>
                <a:cubicBezTo>
                  <a:pt x="394" y="403"/>
                  <a:pt x="389" y="398"/>
                  <a:pt x="390" y="397"/>
                </a:cubicBezTo>
                <a:cubicBezTo>
                  <a:pt x="392" y="395"/>
                  <a:pt x="395" y="399"/>
                  <a:pt x="395" y="400"/>
                </a:cubicBezTo>
                <a:close/>
                <a:moveTo>
                  <a:pt x="391" y="167"/>
                </a:moveTo>
                <a:cubicBezTo>
                  <a:pt x="390" y="168"/>
                  <a:pt x="389" y="166"/>
                  <a:pt x="391" y="167"/>
                </a:cubicBezTo>
                <a:close/>
                <a:moveTo>
                  <a:pt x="390" y="147"/>
                </a:moveTo>
                <a:cubicBezTo>
                  <a:pt x="390" y="146"/>
                  <a:pt x="391" y="149"/>
                  <a:pt x="390" y="147"/>
                </a:cubicBezTo>
                <a:close/>
                <a:moveTo>
                  <a:pt x="390" y="84"/>
                </a:moveTo>
                <a:cubicBezTo>
                  <a:pt x="390" y="85"/>
                  <a:pt x="390" y="85"/>
                  <a:pt x="390" y="85"/>
                </a:cubicBezTo>
                <a:cubicBezTo>
                  <a:pt x="389" y="86"/>
                  <a:pt x="389" y="84"/>
                  <a:pt x="390" y="84"/>
                </a:cubicBezTo>
                <a:close/>
                <a:moveTo>
                  <a:pt x="391" y="691"/>
                </a:moveTo>
                <a:cubicBezTo>
                  <a:pt x="391" y="691"/>
                  <a:pt x="391" y="691"/>
                  <a:pt x="391" y="692"/>
                </a:cubicBezTo>
                <a:cubicBezTo>
                  <a:pt x="388" y="691"/>
                  <a:pt x="382" y="691"/>
                  <a:pt x="384" y="687"/>
                </a:cubicBezTo>
                <a:cubicBezTo>
                  <a:pt x="384" y="687"/>
                  <a:pt x="387" y="686"/>
                  <a:pt x="388" y="687"/>
                </a:cubicBezTo>
                <a:cubicBezTo>
                  <a:pt x="391" y="688"/>
                  <a:pt x="388" y="691"/>
                  <a:pt x="391" y="691"/>
                </a:cubicBezTo>
                <a:close/>
                <a:moveTo>
                  <a:pt x="381" y="643"/>
                </a:moveTo>
                <a:cubicBezTo>
                  <a:pt x="381" y="642"/>
                  <a:pt x="381" y="641"/>
                  <a:pt x="381" y="641"/>
                </a:cubicBezTo>
                <a:cubicBezTo>
                  <a:pt x="381" y="641"/>
                  <a:pt x="379" y="641"/>
                  <a:pt x="379" y="640"/>
                </a:cubicBezTo>
                <a:cubicBezTo>
                  <a:pt x="380" y="637"/>
                  <a:pt x="387" y="642"/>
                  <a:pt x="388" y="643"/>
                </a:cubicBezTo>
                <a:cubicBezTo>
                  <a:pt x="387" y="642"/>
                  <a:pt x="383" y="646"/>
                  <a:pt x="381" y="643"/>
                </a:cubicBezTo>
                <a:close/>
                <a:moveTo>
                  <a:pt x="382" y="615"/>
                </a:moveTo>
                <a:cubicBezTo>
                  <a:pt x="383" y="616"/>
                  <a:pt x="381" y="614"/>
                  <a:pt x="382" y="615"/>
                </a:cubicBezTo>
                <a:close/>
                <a:moveTo>
                  <a:pt x="383" y="159"/>
                </a:moveTo>
                <a:cubicBezTo>
                  <a:pt x="383" y="158"/>
                  <a:pt x="385" y="161"/>
                  <a:pt x="383" y="160"/>
                </a:cubicBezTo>
                <a:cubicBezTo>
                  <a:pt x="383" y="160"/>
                  <a:pt x="382" y="159"/>
                  <a:pt x="383" y="159"/>
                </a:cubicBezTo>
                <a:close/>
                <a:moveTo>
                  <a:pt x="387" y="432"/>
                </a:moveTo>
                <a:cubicBezTo>
                  <a:pt x="387" y="432"/>
                  <a:pt x="387" y="433"/>
                  <a:pt x="387" y="433"/>
                </a:cubicBezTo>
                <a:cubicBezTo>
                  <a:pt x="386" y="434"/>
                  <a:pt x="386" y="432"/>
                  <a:pt x="387" y="432"/>
                </a:cubicBezTo>
                <a:close/>
                <a:moveTo>
                  <a:pt x="387" y="159"/>
                </a:moveTo>
                <a:cubicBezTo>
                  <a:pt x="388" y="159"/>
                  <a:pt x="387" y="161"/>
                  <a:pt x="387" y="159"/>
                </a:cubicBezTo>
                <a:close/>
                <a:moveTo>
                  <a:pt x="388" y="106"/>
                </a:moveTo>
                <a:cubicBezTo>
                  <a:pt x="384" y="103"/>
                  <a:pt x="381" y="102"/>
                  <a:pt x="378" y="97"/>
                </a:cubicBezTo>
                <a:cubicBezTo>
                  <a:pt x="382" y="99"/>
                  <a:pt x="385" y="103"/>
                  <a:pt x="388" y="106"/>
                </a:cubicBezTo>
                <a:close/>
                <a:moveTo>
                  <a:pt x="377" y="583"/>
                </a:moveTo>
                <a:cubicBezTo>
                  <a:pt x="379" y="584"/>
                  <a:pt x="377" y="585"/>
                  <a:pt x="377" y="583"/>
                </a:cubicBezTo>
                <a:close/>
                <a:moveTo>
                  <a:pt x="376" y="149"/>
                </a:moveTo>
                <a:cubicBezTo>
                  <a:pt x="376" y="149"/>
                  <a:pt x="375" y="149"/>
                  <a:pt x="376" y="148"/>
                </a:cubicBezTo>
                <a:cubicBezTo>
                  <a:pt x="376" y="147"/>
                  <a:pt x="378" y="151"/>
                  <a:pt x="376" y="149"/>
                </a:cubicBezTo>
                <a:close/>
                <a:moveTo>
                  <a:pt x="376" y="89"/>
                </a:moveTo>
                <a:cubicBezTo>
                  <a:pt x="375" y="89"/>
                  <a:pt x="377" y="90"/>
                  <a:pt x="376" y="89"/>
                </a:cubicBezTo>
                <a:close/>
                <a:moveTo>
                  <a:pt x="376" y="119"/>
                </a:moveTo>
                <a:cubicBezTo>
                  <a:pt x="376" y="119"/>
                  <a:pt x="376" y="119"/>
                  <a:pt x="376" y="119"/>
                </a:cubicBezTo>
                <a:cubicBezTo>
                  <a:pt x="376" y="119"/>
                  <a:pt x="377" y="119"/>
                  <a:pt x="376" y="119"/>
                </a:cubicBezTo>
                <a:close/>
                <a:moveTo>
                  <a:pt x="377" y="127"/>
                </a:moveTo>
                <a:cubicBezTo>
                  <a:pt x="376" y="126"/>
                  <a:pt x="376" y="126"/>
                  <a:pt x="375" y="125"/>
                </a:cubicBezTo>
                <a:cubicBezTo>
                  <a:pt x="376" y="126"/>
                  <a:pt x="377" y="126"/>
                  <a:pt x="377" y="127"/>
                </a:cubicBezTo>
                <a:close/>
                <a:moveTo>
                  <a:pt x="376" y="147"/>
                </a:moveTo>
                <a:cubicBezTo>
                  <a:pt x="374" y="147"/>
                  <a:pt x="373" y="146"/>
                  <a:pt x="372" y="144"/>
                </a:cubicBezTo>
                <a:cubicBezTo>
                  <a:pt x="374" y="144"/>
                  <a:pt x="375" y="146"/>
                  <a:pt x="376" y="147"/>
                </a:cubicBezTo>
                <a:close/>
                <a:moveTo>
                  <a:pt x="362" y="132"/>
                </a:moveTo>
                <a:cubicBezTo>
                  <a:pt x="366" y="134"/>
                  <a:pt x="369" y="139"/>
                  <a:pt x="372" y="143"/>
                </a:cubicBezTo>
                <a:cubicBezTo>
                  <a:pt x="369" y="141"/>
                  <a:pt x="365" y="135"/>
                  <a:pt x="362" y="132"/>
                </a:cubicBezTo>
                <a:close/>
                <a:moveTo>
                  <a:pt x="367" y="82"/>
                </a:moveTo>
                <a:cubicBezTo>
                  <a:pt x="366" y="81"/>
                  <a:pt x="368" y="83"/>
                  <a:pt x="367" y="82"/>
                </a:cubicBezTo>
                <a:close/>
                <a:moveTo>
                  <a:pt x="366" y="81"/>
                </a:moveTo>
                <a:cubicBezTo>
                  <a:pt x="364" y="81"/>
                  <a:pt x="362" y="79"/>
                  <a:pt x="360" y="77"/>
                </a:cubicBezTo>
                <a:cubicBezTo>
                  <a:pt x="361" y="78"/>
                  <a:pt x="365" y="79"/>
                  <a:pt x="366" y="81"/>
                </a:cubicBezTo>
                <a:close/>
                <a:moveTo>
                  <a:pt x="364" y="54"/>
                </a:moveTo>
                <a:cubicBezTo>
                  <a:pt x="363" y="54"/>
                  <a:pt x="362" y="53"/>
                  <a:pt x="362" y="53"/>
                </a:cubicBezTo>
                <a:cubicBezTo>
                  <a:pt x="362" y="52"/>
                  <a:pt x="364" y="53"/>
                  <a:pt x="364" y="54"/>
                </a:cubicBezTo>
                <a:close/>
                <a:moveTo>
                  <a:pt x="361" y="47"/>
                </a:moveTo>
                <a:cubicBezTo>
                  <a:pt x="361" y="47"/>
                  <a:pt x="360" y="47"/>
                  <a:pt x="360" y="47"/>
                </a:cubicBezTo>
                <a:cubicBezTo>
                  <a:pt x="358" y="46"/>
                  <a:pt x="362" y="45"/>
                  <a:pt x="361" y="47"/>
                </a:cubicBezTo>
                <a:close/>
                <a:moveTo>
                  <a:pt x="361" y="52"/>
                </a:moveTo>
                <a:cubicBezTo>
                  <a:pt x="360" y="53"/>
                  <a:pt x="360" y="52"/>
                  <a:pt x="359" y="52"/>
                </a:cubicBezTo>
                <a:cubicBezTo>
                  <a:pt x="359" y="51"/>
                  <a:pt x="361" y="52"/>
                  <a:pt x="361" y="52"/>
                </a:cubicBezTo>
                <a:close/>
                <a:moveTo>
                  <a:pt x="359" y="74"/>
                </a:moveTo>
                <a:cubicBezTo>
                  <a:pt x="359" y="74"/>
                  <a:pt x="357" y="73"/>
                  <a:pt x="356" y="71"/>
                </a:cubicBezTo>
                <a:cubicBezTo>
                  <a:pt x="357" y="72"/>
                  <a:pt x="358" y="72"/>
                  <a:pt x="359" y="74"/>
                </a:cubicBezTo>
                <a:close/>
                <a:moveTo>
                  <a:pt x="356" y="12"/>
                </a:moveTo>
                <a:cubicBezTo>
                  <a:pt x="357" y="11"/>
                  <a:pt x="358" y="13"/>
                  <a:pt x="356" y="12"/>
                </a:cubicBezTo>
                <a:close/>
                <a:moveTo>
                  <a:pt x="358" y="51"/>
                </a:moveTo>
                <a:cubicBezTo>
                  <a:pt x="357" y="52"/>
                  <a:pt x="356" y="51"/>
                  <a:pt x="355" y="50"/>
                </a:cubicBezTo>
                <a:cubicBezTo>
                  <a:pt x="355" y="49"/>
                  <a:pt x="357" y="51"/>
                  <a:pt x="358" y="51"/>
                </a:cubicBezTo>
                <a:close/>
                <a:moveTo>
                  <a:pt x="350" y="44"/>
                </a:moveTo>
                <a:cubicBezTo>
                  <a:pt x="349" y="44"/>
                  <a:pt x="349" y="44"/>
                  <a:pt x="349" y="43"/>
                </a:cubicBezTo>
                <a:cubicBezTo>
                  <a:pt x="348" y="43"/>
                  <a:pt x="350" y="43"/>
                  <a:pt x="350" y="44"/>
                </a:cubicBezTo>
                <a:close/>
                <a:moveTo>
                  <a:pt x="348" y="18"/>
                </a:moveTo>
                <a:cubicBezTo>
                  <a:pt x="346" y="17"/>
                  <a:pt x="349" y="18"/>
                  <a:pt x="348" y="18"/>
                </a:cubicBezTo>
                <a:close/>
                <a:moveTo>
                  <a:pt x="348" y="50"/>
                </a:moveTo>
                <a:cubicBezTo>
                  <a:pt x="347" y="50"/>
                  <a:pt x="347" y="50"/>
                  <a:pt x="347" y="50"/>
                </a:cubicBezTo>
                <a:cubicBezTo>
                  <a:pt x="348" y="50"/>
                  <a:pt x="348" y="51"/>
                  <a:pt x="348" y="50"/>
                </a:cubicBezTo>
                <a:close/>
                <a:moveTo>
                  <a:pt x="347" y="64"/>
                </a:moveTo>
                <a:cubicBezTo>
                  <a:pt x="349" y="64"/>
                  <a:pt x="352" y="68"/>
                  <a:pt x="355" y="71"/>
                </a:cubicBezTo>
                <a:cubicBezTo>
                  <a:pt x="353" y="70"/>
                  <a:pt x="351" y="68"/>
                  <a:pt x="349" y="66"/>
                </a:cubicBezTo>
                <a:cubicBezTo>
                  <a:pt x="349" y="66"/>
                  <a:pt x="344" y="64"/>
                  <a:pt x="347" y="64"/>
                </a:cubicBezTo>
                <a:close/>
                <a:moveTo>
                  <a:pt x="345" y="38"/>
                </a:moveTo>
                <a:cubicBezTo>
                  <a:pt x="345" y="38"/>
                  <a:pt x="344" y="38"/>
                  <a:pt x="344" y="37"/>
                </a:cubicBezTo>
                <a:cubicBezTo>
                  <a:pt x="345" y="35"/>
                  <a:pt x="347" y="40"/>
                  <a:pt x="345" y="38"/>
                </a:cubicBezTo>
                <a:close/>
                <a:moveTo>
                  <a:pt x="345" y="14"/>
                </a:moveTo>
                <a:cubicBezTo>
                  <a:pt x="345" y="15"/>
                  <a:pt x="343" y="14"/>
                  <a:pt x="343" y="14"/>
                </a:cubicBezTo>
                <a:cubicBezTo>
                  <a:pt x="341" y="12"/>
                  <a:pt x="346" y="12"/>
                  <a:pt x="345" y="14"/>
                </a:cubicBezTo>
                <a:close/>
                <a:moveTo>
                  <a:pt x="333" y="49"/>
                </a:moveTo>
                <a:cubicBezTo>
                  <a:pt x="335" y="48"/>
                  <a:pt x="334" y="50"/>
                  <a:pt x="333" y="49"/>
                </a:cubicBezTo>
                <a:close/>
                <a:moveTo>
                  <a:pt x="344" y="63"/>
                </a:moveTo>
                <a:cubicBezTo>
                  <a:pt x="339" y="61"/>
                  <a:pt x="335" y="59"/>
                  <a:pt x="331" y="56"/>
                </a:cubicBezTo>
                <a:cubicBezTo>
                  <a:pt x="336" y="57"/>
                  <a:pt x="340" y="60"/>
                  <a:pt x="344" y="63"/>
                </a:cubicBezTo>
                <a:close/>
                <a:moveTo>
                  <a:pt x="331" y="76"/>
                </a:moveTo>
                <a:cubicBezTo>
                  <a:pt x="331" y="77"/>
                  <a:pt x="329" y="78"/>
                  <a:pt x="329" y="77"/>
                </a:cubicBezTo>
                <a:cubicBezTo>
                  <a:pt x="329" y="77"/>
                  <a:pt x="329" y="77"/>
                  <a:pt x="329" y="77"/>
                </a:cubicBezTo>
                <a:cubicBezTo>
                  <a:pt x="329" y="78"/>
                  <a:pt x="329" y="78"/>
                  <a:pt x="328" y="78"/>
                </a:cubicBezTo>
                <a:cubicBezTo>
                  <a:pt x="327" y="79"/>
                  <a:pt x="324" y="75"/>
                  <a:pt x="327" y="75"/>
                </a:cubicBezTo>
                <a:cubicBezTo>
                  <a:pt x="328" y="75"/>
                  <a:pt x="329" y="75"/>
                  <a:pt x="329" y="76"/>
                </a:cubicBezTo>
                <a:cubicBezTo>
                  <a:pt x="329" y="76"/>
                  <a:pt x="330" y="75"/>
                  <a:pt x="331" y="76"/>
                </a:cubicBezTo>
                <a:close/>
                <a:moveTo>
                  <a:pt x="327" y="52"/>
                </a:moveTo>
                <a:cubicBezTo>
                  <a:pt x="326" y="52"/>
                  <a:pt x="329" y="52"/>
                  <a:pt x="327" y="52"/>
                </a:cubicBezTo>
                <a:close/>
                <a:moveTo>
                  <a:pt x="325" y="23"/>
                </a:moveTo>
                <a:cubicBezTo>
                  <a:pt x="325" y="22"/>
                  <a:pt x="326" y="24"/>
                  <a:pt x="325" y="23"/>
                </a:cubicBezTo>
                <a:close/>
                <a:moveTo>
                  <a:pt x="330" y="41"/>
                </a:moveTo>
                <a:cubicBezTo>
                  <a:pt x="330" y="43"/>
                  <a:pt x="325" y="43"/>
                  <a:pt x="324" y="42"/>
                </a:cubicBezTo>
                <a:cubicBezTo>
                  <a:pt x="321" y="38"/>
                  <a:pt x="330" y="41"/>
                  <a:pt x="330" y="41"/>
                </a:cubicBezTo>
                <a:close/>
                <a:moveTo>
                  <a:pt x="326" y="75"/>
                </a:moveTo>
                <a:cubicBezTo>
                  <a:pt x="326" y="76"/>
                  <a:pt x="325" y="76"/>
                  <a:pt x="325" y="75"/>
                </a:cubicBezTo>
                <a:cubicBezTo>
                  <a:pt x="324" y="75"/>
                  <a:pt x="326" y="74"/>
                  <a:pt x="326" y="75"/>
                </a:cubicBezTo>
                <a:close/>
                <a:moveTo>
                  <a:pt x="324" y="68"/>
                </a:moveTo>
                <a:cubicBezTo>
                  <a:pt x="324" y="67"/>
                  <a:pt x="325" y="67"/>
                  <a:pt x="325" y="68"/>
                </a:cubicBezTo>
                <a:cubicBezTo>
                  <a:pt x="326" y="69"/>
                  <a:pt x="324" y="68"/>
                  <a:pt x="324" y="68"/>
                </a:cubicBezTo>
                <a:close/>
                <a:moveTo>
                  <a:pt x="327" y="107"/>
                </a:moveTo>
                <a:cubicBezTo>
                  <a:pt x="326" y="109"/>
                  <a:pt x="322" y="107"/>
                  <a:pt x="322" y="107"/>
                </a:cubicBezTo>
                <a:cubicBezTo>
                  <a:pt x="319" y="103"/>
                  <a:pt x="328" y="104"/>
                  <a:pt x="327" y="107"/>
                </a:cubicBezTo>
                <a:close/>
                <a:moveTo>
                  <a:pt x="322" y="27"/>
                </a:moveTo>
                <a:cubicBezTo>
                  <a:pt x="321" y="28"/>
                  <a:pt x="320" y="27"/>
                  <a:pt x="320" y="27"/>
                </a:cubicBezTo>
                <a:cubicBezTo>
                  <a:pt x="319" y="25"/>
                  <a:pt x="322" y="26"/>
                  <a:pt x="322" y="27"/>
                </a:cubicBezTo>
                <a:close/>
                <a:moveTo>
                  <a:pt x="319" y="102"/>
                </a:moveTo>
                <a:cubicBezTo>
                  <a:pt x="319" y="102"/>
                  <a:pt x="318" y="102"/>
                  <a:pt x="318" y="101"/>
                </a:cubicBezTo>
                <a:cubicBezTo>
                  <a:pt x="316" y="100"/>
                  <a:pt x="321" y="100"/>
                  <a:pt x="319" y="102"/>
                </a:cubicBezTo>
                <a:close/>
                <a:moveTo>
                  <a:pt x="319" y="85"/>
                </a:moveTo>
                <a:cubicBezTo>
                  <a:pt x="321" y="85"/>
                  <a:pt x="318" y="87"/>
                  <a:pt x="318" y="85"/>
                </a:cubicBezTo>
                <a:cubicBezTo>
                  <a:pt x="318" y="85"/>
                  <a:pt x="319" y="85"/>
                  <a:pt x="319" y="85"/>
                </a:cubicBezTo>
                <a:close/>
                <a:moveTo>
                  <a:pt x="319" y="73"/>
                </a:moveTo>
                <a:cubicBezTo>
                  <a:pt x="319" y="73"/>
                  <a:pt x="318" y="73"/>
                  <a:pt x="318" y="73"/>
                </a:cubicBezTo>
                <a:cubicBezTo>
                  <a:pt x="316" y="73"/>
                  <a:pt x="318" y="72"/>
                  <a:pt x="319" y="73"/>
                </a:cubicBezTo>
                <a:close/>
                <a:moveTo>
                  <a:pt x="317" y="46"/>
                </a:moveTo>
                <a:cubicBezTo>
                  <a:pt x="317" y="47"/>
                  <a:pt x="315" y="47"/>
                  <a:pt x="315" y="46"/>
                </a:cubicBezTo>
                <a:cubicBezTo>
                  <a:pt x="314" y="45"/>
                  <a:pt x="317" y="44"/>
                  <a:pt x="317" y="46"/>
                </a:cubicBezTo>
                <a:close/>
                <a:moveTo>
                  <a:pt x="315" y="61"/>
                </a:moveTo>
                <a:cubicBezTo>
                  <a:pt x="315" y="61"/>
                  <a:pt x="315" y="60"/>
                  <a:pt x="315" y="60"/>
                </a:cubicBezTo>
                <a:cubicBezTo>
                  <a:pt x="313" y="57"/>
                  <a:pt x="319" y="61"/>
                  <a:pt x="315" y="61"/>
                </a:cubicBezTo>
                <a:close/>
                <a:moveTo>
                  <a:pt x="314" y="88"/>
                </a:moveTo>
                <a:cubicBezTo>
                  <a:pt x="315" y="88"/>
                  <a:pt x="316" y="89"/>
                  <a:pt x="315" y="89"/>
                </a:cubicBezTo>
                <a:cubicBezTo>
                  <a:pt x="315" y="90"/>
                  <a:pt x="313" y="89"/>
                  <a:pt x="314" y="88"/>
                </a:cubicBezTo>
                <a:close/>
                <a:moveTo>
                  <a:pt x="314" y="98"/>
                </a:moveTo>
                <a:cubicBezTo>
                  <a:pt x="313" y="98"/>
                  <a:pt x="312" y="97"/>
                  <a:pt x="312" y="96"/>
                </a:cubicBezTo>
                <a:cubicBezTo>
                  <a:pt x="313" y="96"/>
                  <a:pt x="313" y="97"/>
                  <a:pt x="314" y="98"/>
                </a:cubicBezTo>
                <a:close/>
                <a:moveTo>
                  <a:pt x="313" y="62"/>
                </a:moveTo>
                <a:cubicBezTo>
                  <a:pt x="311" y="61"/>
                  <a:pt x="314" y="62"/>
                  <a:pt x="313" y="62"/>
                </a:cubicBezTo>
                <a:close/>
                <a:moveTo>
                  <a:pt x="308" y="35"/>
                </a:moveTo>
                <a:cubicBezTo>
                  <a:pt x="307" y="34"/>
                  <a:pt x="310" y="37"/>
                  <a:pt x="308" y="35"/>
                </a:cubicBezTo>
                <a:close/>
                <a:moveTo>
                  <a:pt x="305" y="53"/>
                </a:moveTo>
                <a:cubicBezTo>
                  <a:pt x="305" y="52"/>
                  <a:pt x="306" y="54"/>
                  <a:pt x="306" y="54"/>
                </a:cubicBezTo>
                <a:cubicBezTo>
                  <a:pt x="306" y="54"/>
                  <a:pt x="306" y="53"/>
                  <a:pt x="305" y="53"/>
                </a:cubicBezTo>
                <a:close/>
                <a:moveTo>
                  <a:pt x="306" y="45"/>
                </a:moveTo>
                <a:cubicBezTo>
                  <a:pt x="304" y="40"/>
                  <a:pt x="314" y="43"/>
                  <a:pt x="312" y="46"/>
                </a:cubicBezTo>
                <a:cubicBezTo>
                  <a:pt x="311" y="48"/>
                  <a:pt x="307" y="45"/>
                  <a:pt x="306" y="45"/>
                </a:cubicBezTo>
                <a:close/>
                <a:moveTo>
                  <a:pt x="307" y="88"/>
                </a:moveTo>
                <a:cubicBezTo>
                  <a:pt x="308" y="88"/>
                  <a:pt x="307" y="89"/>
                  <a:pt x="307" y="89"/>
                </a:cubicBezTo>
                <a:cubicBezTo>
                  <a:pt x="307" y="89"/>
                  <a:pt x="306" y="87"/>
                  <a:pt x="307" y="88"/>
                </a:cubicBezTo>
                <a:close/>
                <a:moveTo>
                  <a:pt x="313" y="101"/>
                </a:moveTo>
                <a:cubicBezTo>
                  <a:pt x="313" y="102"/>
                  <a:pt x="306" y="96"/>
                  <a:pt x="305" y="95"/>
                </a:cubicBezTo>
                <a:cubicBezTo>
                  <a:pt x="305" y="95"/>
                  <a:pt x="305" y="94"/>
                  <a:pt x="305" y="93"/>
                </a:cubicBezTo>
                <a:cubicBezTo>
                  <a:pt x="305" y="93"/>
                  <a:pt x="314" y="100"/>
                  <a:pt x="313" y="101"/>
                </a:cubicBezTo>
                <a:close/>
                <a:moveTo>
                  <a:pt x="306" y="102"/>
                </a:moveTo>
                <a:cubicBezTo>
                  <a:pt x="304" y="103"/>
                  <a:pt x="303" y="99"/>
                  <a:pt x="302" y="98"/>
                </a:cubicBezTo>
                <a:cubicBezTo>
                  <a:pt x="303" y="98"/>
                  <a:pt x="305" y="101"/>
                  <a:pt x="306" y="102"/>
                </a:cubicBezTo>
                <a:close/>
                <a:moveTo>
                  <a:pt x="301" y="81"/>
                </a:moveTo>
                <a:cubicBezTo>
                  <a:pt x="302" y="80"/>
                  <a:pt x="303" y="84"/>
                  <a:pt x="301" y="82"/>
                </a:cubicBezTo>
                <a:cubicBezTo>
                  <a:pt x="301" y="82"/>
                  <a:pt x="301" y="82"/>
                  <a:pt x="301" y="81"/>
                </a:cubicBezTo>
                <a:close/>
                <a:moveTo>
                  <a:pt x="303" y="92"/>
                </a:moveTo>
                <a:cubicBezTo>
                  <a:pt x="299" y="88"/>
                  <a:pt x="295" y="86"/>
                  <a:pt x="293" y="81"/>
                </a:cubicBezTo>
                <a:cubicBezTo>
                  <a:pt x="297" y="83"/>
                  <a:pt x="301" y="88"/>
                  <a:pt x="303" y="92"/>
                </a:cubicBezTo>
                <a:close/>
                <a:moveTo>
                  <a:pt x="293" y="77"/>
                </a:moveTo>
                <a:cubicBezTo>
                  <a:pt x="293" y="77"/>
                  <a:pt x="293" y="77"/>
                  <a:pt x="293" y="77"/>
                </a:cubicBezTo>
                <a:cubicBezTo>
                  <a:pt x="293" y="77"/>
                  <a:pt x="293" y="77"/>
                  <a:pt x="293" y="77"/>
                </a:cubicBezTo>
                <a:cubicBezTo>
                  <a:pt x="293" y="77"/>
                  <a:pt x="293" y="77"/>
                  <a:pt x="293" y="77"/>
                </a:cubicBezTo>
                <a:close/>
                <a:moveTo>
                  <a:pt x="302" y="98"/>
                </a:moveTo>
                <a:cubicBezTo>
                  <a:pt x="297" y="92"/>
                  <a:pt x="293" y="88"/>
                  <a:pt x="288" y="83"/>
                </a:cubicBezTo>
                <a:cubicBezTo>
                  <a:pt x="293" y="87"/>
                  <a:pt x="298" y="91"/>
                  <a:pt x="302" y="98"/>
                </a:cubicBezTo>
                <a:close/>
                <a:moveTo>
                  <a:pt x="295" y="198"/>
                </a:moveTo>
                <a:cubicBezTo>
                  <a:pt x="291" y="196"/>
                  <a:pt x="287" y="194"/>
                  <a:pt x="284" y="192"/>
                </a:cubicBezTo>
                <a:cubicBezTo>
                  <a:pt x="286" y="193"/>
                  <a:pt x="293" y="196"/>
                  <a:pt x="295" y="198"/>
                </a:cubicBezTo>
                <a:close/>
                <a:moveTo>
                  <a:pt x="287" y="663"/>
                </a:moveTo>
                <a:cubicBezTo>
                  <a:pt x="288" y="663"/>
                  <a:pt x="289" y="664"/>
                  <a:pt x="289" y="664"/>
                </a:cubicBezTo>
                <a:cubicBezTo>
                  <a:pt x="290" y="665"/>
                  <a:pt x="286" y="664"/>
                  <a:pt x="287" y="663"/>
                </a:cubicBezTo>
                <a:close/>
                <a:moveTo>
                  <a:pt x="283" y="230"/>
                </a:moveTo>
                <a:cubicBezTo>
                  <a:pt x="284" y="231"/>
                  <a:pt x="281" y="228"/>
                  <a:pt x="283" y="230"/>
                </a:cubicBezTo>
                <a:close/>
                <a:moveTo>
                  <a:pt x="282" y="216"/>
                </a:moveTo>
                <a:cubicBezTo>
                  <a:pt x="282" y="216"/>
                  <a:pt x="282" y="216"/>
                  <a:pt x="282" y="216"/>
                </a:cubicBezTo>
                <a:cubicBezTo>
                  <a:pt x="283" y="216"/>
                  <a:pt x="283" y="216"/>
                  <a:pt x="283" y="216"/>
                </a:cubicBezTo>
                <a:cubicBezTo>
                  <a:pt x="283" y="216"/>
                  <a:pt x="282" y="216"/>
                  <a:pt x="282" y="216"/>
                </a:cubicBezTo>
                <a:close/>
                <a:moveTo>
                  <a:pt x="283" y="165"/>
                </a:moveTo>
                <a:cubicBezTo>
                  <a:pt x="280" y="165"/>
                  <a:pt x="280" y="160"/>
                  <a:pt x="284" y="161"/>
                </a:cubicBezTo>
                <a:cubicBezTo>
                  <a:pt x="286" y="162"/>
                  <a:pt x="285" y="166"/>
                  <a:pt x="283" y="165"/>
                </a:cubicBezTo>
                <a:close/>
                <a:moveTo>
                  <a:pt x="279" y="199"/>
                </a:moveTo>
                <a:cubicBezTo>
                  <a:pt x="279" y="199"/>
                  <a:pt x="278" y="198"/>
                  <a:pt x="279" y="198"/>
                </a:cubicBezTo>
                <a:cubicBezTo>
                  <a:pt x="279" y="198"/>
                  <a:pt x="280" y="199"/>
                  <a:pt x="279" y="199"/>
                </a:cubicBezTo>
                <a:close/>
                <a:moveTo>
                  <a:pt x="278" y="184"/>
                </a:moveTo>
                <a:cubicBezTo>
                  <a:pt x="278" y="184"/>
                  <a:pt x="278" y="185"/>
                  <a:pt x="278" y="185"/>
                </a:cubicBezTo>
                <a:cubicBezTo>
                  <a:pt x="277" y="183"/>
                  <a:pt x="280" y="185"/>
                  <a:pt x="278" y="184"/>
                </a:cubicBezTo>
                <a:close/>
                <a:moveTo>
                  <a:pt x="270" y="138"/>
                </a:moveTo>
                <a:cubicBezTo>
                  <a:pt x="271" y="139"/>
                  <a:pt x="272" y="136"/>
                  <a:pt x="273" y="136"/>
                </a:cubicBezTo>
                <a:cubicBezTo>
                  <a:pt x="275" y="137"/>
                  <a:pt x="273" y="138"/>
                  <a:pt x="274" y="139"/>
                </a:cubicBezTo>
                <a:cubicBezTo>
                  <a:pt x="277" y="141"/>
                  <a:pt x="282" y="141"/>
                  <a:pt x="284" y="143"/>
                </a:cubicBezTo>
                <a:cubicBezTo>
                  <a:pt x="280" y="142"/>
                  <a:pt x="275" y="140"/>
                  <a:pt x="270" y="138"/>
                </a:cubicBezTo>
                <a:close/>
                <a:moveTo>
                  <a:pt x="278" y="148"/>
                </a:moveTo>
                <a:cubicBezTo>
                  <a:pt x="276" y="148"/>
                  <a:pt x="278" y="147"/>
                  <a:pt x="278" y="148"/>
                </a:cubicBezTo>
                <a:close/>
                <a:moveTo>
                  <a:pt x="265" y="190"/>
                </a:moveTo>
                <a:cubicBezTo>
                  <a:pt x="268" y="190"/>
                  <a:pt x="273" y="192"/>
                  <a:pt x="275" y="194"/>
                </a:cubicBezTo>
                <a:cubicBezTo>
                  <a:pt x="271" y="192"/>
                  <a:pt x="268" y="192"/>
                  <a:pt x="265" y="190"/>
                </a:cubicBezTo>
                <a:close/>
                <a:moveTo>
                  <a:pt x="273" y="554"/>
                </a:moveTo>
                <a:cubicBezTo>
                  <a:pt x="273" y="554"/>
                  <a:pt x="273" y="553"/>
                  <a:pt x="273" y="554"/>
                </a:cubicBezTo>
                <a:cubicBezTo>
                  <a:pt x="273" y="554"/>
                  <a:pt x="273" y="554"/>
                  <a:pt x="273" y="554"/>
                </a:cubicBezTo>
                <a:close/>
                <a:moveTo>
                  <a:pt x="271" y="230"/>
                </a:moveTo>
                <a:cubicBezTo>
                  <a:pt x="272" y="230"/>
                  <a:pt x="274" y="234"/>
                  <a:pt x="272" y="235"/>
                </a:cubicBezTo>
                <a:cubicBezTo>
                  <a:pt x="269" y="235"/>
                  <a:pt x="269" y="231"/>
                  <a:pt x="271" y="230"/>
                </a:cubicBezTo>
                <a:close/>
                <a:moveTo>
                  <a:pt x="270" y="215"/>
                </a:moveTo>
                <a:cubicBezTo>
                  <a:pt x="271" y="214"/>
                  <a:pt x="272" y="217"/>
                  <a:pt x="270" y="216"/>
                </a:cubicBezTo>
                <a:cubicBezTo>
                  <a:pt x="270" y="216"/>
                  <a:pt x="269" y="215"/>
                  <a:pt x="270" y="215"/>
                </a:cubicBezTo>
                <a:close/>
                <a:moveTo>
                  <a:pt x="267" y="262"/>
                </a:moveTo>
                <a:cubicBezTo>
                  <a:pt x="269" y="261"/>
                  <a:pt x="268" y="263"/>
                  <a:pt x="267" y="262"/>
                </a:cubicBezTo>
                <a:close/>
                <a:moveTo>
                  <a:pt x="258" y="254"/>
                </a:moveTo>
                <a:cubicBezTo>
                  <a:pt x="260" y="255"/>
                  <a:pt x="261" y="257"/>
                  <a:pt x="263" y="258"/>
                </a:cubicBezTo>
                <a:cubicBezTo>
                  <a:pt x="261" y="258"/>
                  <a:pt x="260" y="256"/>
                  <a:pt x="258" y="254"/>
                </a:cubicBezTo>
                <a:close/>
                <a:moveTo>
                  <a:pt x="261" y="509"/>
                </a:moveTo>
                <a:cubicBezTo>
                  <a:pt x="261" y="510"/>
                  <a:pt x="260" y="509"/>
                  <a:pt x="260" y="509"/>
                </a:cubicBezTo>
                <a:cubicBezTo>
                  <a:pt x="260" y="508"/>
                  <a:pt x="261" y="509"/>
                  <a:pt x="261" y="509"/>
                </a:cubicBezTo>
                <a:close/>
                <a:moveTo>
                  <a:pt x="258" y="191"/>
                </a:moveTo>
                <a:cubicBezTo>
                  <a:pt x="258" y="191"/>
                  <a:pt x="259" y="193"/>
                  <a:pt x="258" y="193"/>
                </a:cubicBezTo>
                <a:cubicBezTo>
                  <a:pt x="257" y="193"/>
                  <a:pt x="258" y="192"/>
                  <a:pt x="258" y="191"/>
                </a:cubicBezTo>
                <a:close/>
                <a:moveTo>
                  <a:pt x="260" y="233"/>
                </a:moveTo>
                <a:cubicBezTo>
                  <a:pt x="262" y="233"/>
                  <a:pt x="258" y="234"/>
                  <a:pt x="260" y="233"/>
                </a:cubicBezTo>
                <a:close/>
                <a:moveTo>
                  <a:pt x="260" y="231"/>
                </a:moveTo>
                <a:cubicBezTo>
                  <a:pt x="261" y="233"/>
                  <a:pt x="263" y="236"/>
                  <a:pt x="264" y="238"/>
                </a:cubicBezTo>
                <a:cubicBezTo>
                  <a:pt x="262" y="237"/>
                  <a:pt x="261" y="233"/>
                  <a:pt x="260" y="231"/>
                </a:cubicBezTo>
                <a:close/>
                <a:moveTo>
                  <a:pt x="260" y="229"/>
                </a:moveTo>
                <a:cubicBezTo>
                  <a:pt x="260" y="229"/>
                  <a:pt x="261" y="230"/>
                  <a:pt x="261" y="230"/>
                </a:cubicBezTo>
                <a:cubicBezTo>
                  <a:pt x="261" y="230"/>
                  <a:pt x="260" y="229"/>
                  <a:pt x="260" y="229"/>
                </a:cubicBezTo>
                <a:close/>
                <a:moveTo>
                  <a:pt x="261" y="154"/>
                </a:moveTo>
                <a:cubicBezTo>
                  <a:pt x="262" y="155"/>
                  <a:pt x="263" y="157"/>
                  <a:pt x="263" y="158"/>
                </a:cubicBezTo>
                <a:cubicBezTo>
                  <a:pt x="262" y="157"/>
                  <a:pt x="261" y="156"/>
                  <a:pt x="261" y="154"/>
                </a:cubicBezTo>
                <a:close/>
                <a:moveTo>
                  <a:pt x="263" y="68"/>
                </a:moveTo>
                <a:cubicBezTo>
                  <a:pt x="264" y="69"/>
                  <a:pt x="265" y="70"/>
                  <a:pt x="266" y="72"/>
                </a:cubicBezTo>
                <a:cubicBezTo>
                  <a:pt x="264" y="72"/>
                  <a:pt x="264" y="69"/>
                  <a:pt x="263" y="68"/>
                </a:cubicBezTo>
                <a:close/>
                <a:moveTo>
                  <a:pt x="266" y="63"/>
                </a:moveTo>
                <a:cubicBezTo>
                  <a:pt x="264" y="62"/>
                  <a:pt x="265" y="61"/>
                  <a:pt x="266" y="63"/>
                </a:cubicBezTo>
                <a:close/>
                <a:moveTo>
                  <a:pt x="267" y="132"/>
                </a:moveTo>
                <a:cubicBezTo>
                  <a:pt x="269" y="132"/>
                  <a:pt x="271" y="137"/>
                  <a:pt x="268" y="137"/>
                </a:cubicBezTo>
                <a:cubicBezTo>
                  <a:pt x="266" y="138"/>
                  <a:pt x="263" y="132"/>
                  <a:pt x="267" y="132"/>
                </a:cubicBezTo>
                <a:close/>
                <a:moveTo>
                  <a:pt x="267" y="108"/>
                </a:moveTo>
                <a:cubicBezTo>
                  <a:pt x="268" y="108"/>
                  <a:pt x="268" y="109"/>
                  <a:pt x="268" y="109"/>
                </a:cubicBezTo>
                <a:cubicBezTo>
                  <a:pt x="267" y="110"/>
                  <a:pt x="265" y="108"/>
                  <a:pt x="267" y="108"/>
                </a:cubicBezTo>
                <a:close/>
                <a:moveTo>
                  <a:pt x="270" y="113"/>
                </a:moveTo>
                <a:cubicBezTo>
                  <a:pt x="268" y="113"/>
                  <a:pt x="271" y="114"/>
                  <a:pt x="270" y="113"/>
                </a:cubicBezTo>
                <a:close/>
                <a:moveTo>
                  <a:pt x="267" y="149"/>
                </a:moveTo>
                <a:cubicBezTo>
                  <a:pt x="266" y="150"/>
                  <a:pt x="266" y="149"/>
                  <a:pt x="265" y="148"/>
                </a:cubicBezTo>
                <a:cubicBezTo>
                  <a:pt x="264" y="146"/>
                  <a:pt x="269" y="148"/>
                  <a:pt x="267" y="149"/>
                </a:cubicBezTo>
                <a:close/>
                <a:moveTo>
                  <a:pt x="264" y="161"/>
                </a:moveTo>
                <a:cubicBezTo>
                  <a:pt x="265" y="161"/>
                  <a:pt x="265" y="162"/>
                  <a:pt x="265" y="162"/>
                </a:cubicBezTo>
                <a:cubicBezTo>
                  <a:pt x="265" y="162"/>
                  <a:pt x="263" y="158"/>
                  <a:pt x="264" y="161"/>
                </a:cubicBezTo>
                <a:close/>
                <a:moveTo>
                  <a:pt x="266" y="512"/>
                </a:moveTo>
                <a:cubicBezTo>
                  <a:pt x="264" y="513"/>
                  <a:pt x="264" y="510"/>
                  <a:pt x="266" y="512"/>
                </a:cubicBezTo>
                <a:close/>
                <a:moveTo>
                  <a:pt x="271" y="181"/>
                </a:moveTo>
                <a:cubicBezTo>
                  <a:pt x="272" y="180"/>
                  <a:pt x="273" y="183"/>
                  <a:pt x="272" y="182"/>
                </a:cubicBezTo>
                <a:cubicBezTo>
                  <a:pt x="271" y="182"/>
                  <a:pt x="271" y="182"/>
                  <a:pt x="271" y="181"/>
                </a:cubicBezTo>
                <a:close/>
                <a:moveTo>
                  <a:pt x="283" y="92"/>
                </a:moveTo>
                <a:cubicBezTo>
                  <a:pt x="280" y="90"/>
                  <a:pt x="285" y="92"/>
                  <a:pt x="284" y="93"/>
                </a:cubicBezTo>
                <a:cubicBezTo>
                  <a:pt x="284" y="94"/>
                  <a:pt x="281" y="91"/>
                  <a:pt x="280" y="91"/>
                </a:cubicBezTo>
                <a:cubicBezTo>
                  <a:pt x="279" y="90"/>
                  <a:pt x="275" y="89"/>
                  <a:pt x="274" y="87"/>
                </a:cubicBezTo>
                <a:cubicBezTo>
                  <a:pt x="272" y="83"/>
                  <a:pt x="282" y="91"/>
                  <a:pt x="283" y="92"/>
                </a:cubicBezTo>
                <a:close/>
                <a:moveTo>
                  <a:pt x="273" y="75"/>
                </a:moveTo>
                <a:cubicBezTo>
                  <a:pt x="275" y="75"/>
                  <a:pt x="274" y="77"/>
                  <a:pt x="273" y="75"/>
                </a:cubicBezTo>
                <a:close/>
                <a:moveTo>
                  <a:pt x="283" y="102"/>
                </a:moveTo>
                <a:cubicBezTo>
                  <a:pt x="283" y="102"/>
                  <a:pt x="283" y="102"/>
                  <a:pt x="284" y="103"/>
                </a:cubicBezTo>
                <a:cubicBezTo>
                  <a:pt x="284" y="103"/>
                  <a:pt x="284" y="103"/>
                  <a:pt x="284" y="103"/>
                </a:cubicBezTo>
                <a:cubicBezTo>
                  <a:pt x="284" y="102"/>
                  <a:pt x="283" y="102"/>
                  <a:pt x="283" y="102"/>
                </a:cubicBezTo>
                <a:close/>
                <a:moveTo>
                  <a:pt x="285" y="137"/>
                </a:moveTo>
                <a:cubicBezTo>
                  <a:pt x="285" y="138"/>
                  <a:pt x="284" y="137"/>
                  <a:pt x="283" y="137"/>
                </a:cubicBezTo>
                <a:cubicBezTo>
                  <a:pt x="282" y="134"/>
                  <a:pt x="287" y="136"/>
                  <a:pt x="285" y="137"/>
                </a:cubicBezTo>
                <a:close/>
                <a:moveTo>
                  <a:pt x="276" y="104"/>
                </a:moveTo>
                <a:cubicBezTo>
                  <a:pt x="276" y="104"/>
                  <a:pt x="280" y="107"/>
                  <a:pt x="280" y="109"/>
                </a:cubicBezTo>
                <a:cubicBezTo>
                  <a:pt x="279" y="108"/>
                  <a:pt x="276" y="105"/>
                  <a:pt x="276" y="104"/>
                </a:cubicBezTo>
                <a:close/>
                <a:moveTo>
                  <a:pt x="277" y="127"/>
                </a:moveTo>
                <a:cubicBezTo>
                  <a:pt x="276" y="126"/>
                  <a:pt x="276" y="126"/>
                  <a:pt x="275" y="125"/>
                </a:cubicBezTo>
                <a:cubicBezTo>
                  <a:pt x="276" y="125"/>
                  <a:pt x="277" y="126"/>
                  <a:pt x="277" y="127"/>
                </a:cubicBezTo>
                <a:close/>
                <a:moveTo>
                  <a:pt x="279" y="102"/>
                </a:moveTo>
                <a:cubicBezTo>
                  <a:pt x="278" y="102"/>
                  <a:pt x="281" y="102"/>
                  <a:pt x="281" y="102"/>
                </a:cubicBezTo>
                <a:cubicBezTo>
                  <a:pt x="280" y="103"/>
                  <a:pt x="279" y="102"/>
                  <a:pt x="279" y="102"/>
                </a:cubicBezTo>
                <a:close/>
                <a:moveTo>
                  <a:pt x="275" y="111"/>
                </a:moveTo>
                <a:cubicBezTo>
                  <a:pt x="275" y="111"/>
                  <a:pt x="275" y="111"/>
                  <a:pt x="274" y="110"/>
                </a:cubicBezTo>
                <a:cubicBezTo>
                  <a:pt x="275" y="111"/>
                  <a:pt x="275" y="111"/>
                  <a:pt x="275" y="111"/>
                </a:cubicBezTo>
                <a:cubicBezTo>
                  <a:pt x="275" y="111"/>
                  <a:pt x="275" y="111"/>
                  <a:pt x="275" y="111"/>
                </a:cubicBezTo>
                <a:close/>
                <a:moveTo>
                  <a:pt x="287" y="142"/>
                </a:moveTo>
                <a:cubicBezTo>
                  <a:pt x="286" y="143"/>
                  <a:pt x="284" y="140"/>
                  <a:pt x="286" y="140"/>
                </a:cubicBezTo>
                <a:cubicBezTo>
                  <a:pt x="287" y="139"/>
                  <a:pt x="288" y="141"/>
                  <a:pt x="287" y="142"/>
                </a:cubicBezTo>
                <a:close/>
                <a:moveTo>
                  <a:pt x="286" y="87"/>
                </a:moveTo>
                <a:cubicBezTo>
                  <a:pt x="287" y="87"/>
                  <a:pt x="287" y="88"/>
                  <a:pt x="286" y="89"/>
                </a:cubicBezTo>
                <a:cubicBezTo>
                  <a:pt x="286" y="89"/>
                  <a:pt x="285" y="88"/>
                  <a:pt x="286" y="87"/>
                </a:cubicBezTo>
                <a:close/>
                <a:moveTo>
                  <a:pt x="280" y="66"/>
                </a:moveTo>
                <a:cubicBezTo>
                  <a:pt x="282" y="65"/>
                  <a:pt x="285" y="69"/>
                  <a:pt x="286" y="70"/>
                </a:cubicBezTo>
                <a:cubicBezTo>
                  <a:pt x="284" y="71"/>
                  <a:pt x="279" y="68"/>
                  <a:pt x="280" y="66"/>
                </a:cubicBezTo>
                <a:close/>
                <a:moveTo>
                  <a:pt x="276" y="74"/>
                </a:moveTo>
                <a:cubicBezTo>
                  <a:pt x="278" y="76"/>
                  <a:pt x="275" y="73"/>
                  <a:pt x="276" y="74"/>
                </a:cubicBezTo>
                <a:close/>
                <a:moveTo>
                  <a:pt x="276" y="77"/>
                </a:moveTo>
                <a:cubicBezTo>
                  <a:pt x="276" y="77"/>
                  <a:pt x="276" y="77"/>
                  <a:pt x="276" y="77"/>
                </a:cubicBezTo>
                <a:cubicBezTo>
                  <a:pt x="276" y="77"/>
                  <a:pt x="276" y="77"/>
                  <a:pt x="275" y="77"/>
                </a:cubicBezTo>
                <a:cubicBezTo>
                  <a:pt x="276" y="77"/>
                  <a:pt x="276" y="77"/>
                  <a:pt x="276" y="77"/>
                </a:cubicBezTo>
                <a:close/>
                <a:moveTo>
                  <a:pt x="275" y="74"/>
                </a:moveTo>
                <a:cubicBezTo>
                  <a:pt x="274" y="74"/>
                  <a:pt x="273" y="72"/>
                  <a:pt x="271" y="72"/>
                </a:cubicBezTo>
                <a:cubicBezTo>
                  <a:pt x="272" y="71"/>
                  <a:pt x="274" y="73"/>
                  <a:pt x="275" y="74"/>
                </a:cubicBezTo>
                <a:close/>
                <a:moveTo>
                  <a:pt x="273" y="85"/>
                </a:moveTo>
                <a:cubicBezTo>
                  <a:pt x="273" y="86"/>
                  <a:pt x="271" y="85"/>
                  <a:pt x="270" y="85"/>
                </a:cubicBezTo>
                <a:cubicBezTo>
                  <a:pt x="268" y="83"/>
                  <a:pt x="274" y="82"/>
                  <a:pt x="273" y="85"/>
                </a:cubicBezTo>
                <a:close/>
                <a:moveTo>
                  <a:pt x="275" y="102"/>
                </a:moveTo>
                <a:cubicBezTo>
                  <a:pt x="272" y="100"/>
                  <a:pt x="270" y="98"/>
                  <a:pt x="268" y="95"/>
                </a:cubicBezTo>
                <a:cubicBezTo>
                  <a:pt x="271" y="97"/>
                  <a:pt x="273" y="99"/>
                  <a:pt x="275" y="102"/>
                </a:cubicBezTo>
                <a:close/>
                <a:moveTo>
                  <a:pt x="268" y="117"/>
                </a:moveTo>
                <a:cubicBezTo>
                  <a:pt x="268" y="118"/>
                  <a:pt x="267" y="117"/>
                  <a:pt x="267" y="116"/>
                </a:cubicBezTo>
                <a:cubicBezTo>
                  <a:pt x="265" y="115"/>
                  <a:pt x="269" y="116"/>
                  <a:pt x="268" y="117"/>
                </a:cubicBezTo>
                <a:close/>
                <a:moveTo>
                  <a:pt x="268" y="58"/>
                </a:moveTo>
                <a:cubicBezTo>
                  <a:pt x="269" y="59"/>
                  <a:pt x="266" y="57"/>
                  <a:pt x="268" y="58"/>
                </a:cubicBezTo>
                <a:close/>
                <a:moveTo>
                  <a:pt x="267" y="98"/>
                </a:moveTo>
                <a:cubicBezTo>
                  <a:pt x="267" y="98"/>
                  <a:pt x="265" y="98"/>
                  <a:pt x="265" y="97"/>
                </a:cubicBezTo>
                <a:cubicBezTo>
                  <a:pt x="265" y="97"/>
                  <a:pt x="267" y="98"/>
                  <a:pt x="267" y="98"/>
                </a:cubicBezTo>
                <a:close/>
                <a:moveTo>
                  <a:pt x="266" y="51"/>
                </a:moveTo>
                <a:cubicBezTo>
                  <a:pt x="265" y="52"/>
                  <a:pt x="262" y="52"/>
                  <a:pt x="260" y="51"/>
                </a:cubicBezTo>
                <a:cubicBezTo>
                  <a:pt x="262" y="50"/>
                  <a:pt x="264" y="51"/>
                  <a:pt x="266" y="51"/>
                </a:cubicBezTo>
                <a:close/>
                <a:moveTo>
                  <a:pt x="260" y="153"/>
                </a:moveTo>
                <a:cubicBezTo>
                  <a:pt x="260" y="153"/>
                  <a:pt x="260" y="153"/>
                  <a:pt x="260" y="153"/>
                </a:cubicBezTo>
                <a:cubicBezTo>
                  <a:pt x="260" y="153"/>
                  <a:pt x="260" y="153"/>
                  <a:pt x="260" y="153"/>
                </a:cubicBezTo>
                <a:cubicBezTo>
                  <a:pt x="260" y="153"/>
                  <a:pt x="260" y="153"/>
                  <a:pt x="260" y="153"/>
                </a:cubicBezTo>
                <a:close/>
                <a:moveTo>
                  <a:pt x="260" y="181"/>
                </a:moveTo>
                <a:cubicBezTo>
                  <a:pt x="261" y="181"/>
                  <a:pt x="262" y="183"/>
                  <a:pt x="261" y="183"/>
                </a:cubicBezTo>
                <a:cubicBezTo>
                  <a:pt x="261" y="184"/>
                  <a:pt x="259" y="182"/>
                  <a:pt x="260" y="181"/>
                </a:cubicBezTo>
                <a:close/>
                <a:moveTo>
                  <a:pt x="260" y="152"/>
                </a:moveTo>
                <a:cubicBezTo>
                  <a:pt x="259" y="152"/>
                  <a:pt x="259" y="152"/>
                  <a:pt x="260" y="152"/>
                </a:cubicBezTo>
                <a:close/>
                <a:moveTo>
                  <a:pt x="259" y="202"/>
                </a:moveTo>
                <a:cubicBezTo>
                  <a:pt x="261" y="201"/>
                  <a:pt x="259" y="205"/>
                  <a:pt x="259" y="202"/>
                </a:cubicBezTo>
                <a:close/>
                <a:moveTo>
                  <a:pt x="259" y="152"/>
                </a:moveTo>
                <a:cubicBezTo>
                  <a:pt x="258" y="151"/>
                  <a:pt x="257" y="150"/>
                  <a:pt x="257" y="148"/>
                </a:cubicBezTo>
                <a:cubicBezTo>
                  <a:pt x="258" y="149"/>
                  <a:pt x="259" y="150"/>
                  <a:pt x="259" y="152"/>
                </a:cubicBezTo>
                <a:close/>
                <a:moveTo>
                  <a:pt x="255" y="100"/>
                </a:moveTo>
                <a:cubicBezTo>
                  <a:pt x="256" y="100"/>
                  <a:pt x="257" y="102"/>
                  <a:pt x="255" y="103"/>
                </a:cubicBezTo>
                <a:cubicBezTo>
                  <a:pt x="254" y="103"/>
                  <a:pt x="252" y="100"/>
                  <a:pt x="255" y="100"/>
                </a:cubicBezTo>
                <a:close/>
                <a:moveTo>
                  <a:pt x="255" y="196"/>
                </a:moveTo>
                <a:cubicBezTo>
                  <a:pt x="256" y="196"/>
                  <a:pt x="255" y="198"/>
                  <a:pt x="255" y="198"/>
                </a:cubicBezTo>
                <a:cubicBezTo>
                  <a:pt x="254" y="198"/>
                  <a:pt x="254" y="196"/>
                  <a:pt x="255" y="196"/>
                </a:cubicBezTo>
                <a:close/>
                <a:moveTo>
                  <a:pt x="253" y="79"/>
                </a:moveTo>
                <a:cubicBezTo>
                  <a:pt x="252" y="82"/>
                  <a:pt x="243" y="80"/>
                  <a:pt x="246" y="76"/>
                </a:cubicBezTo>
                <a:cubicBezTo>
                  <a:pt x="245" y="77"/>
                  <a:pt x="242" y="76"/>
                  <a:pt x="242" y="75"/>
                </a:cubicBezTo>
                <a:cubicBezTo>
                  <a:pt x="243" y="73"/>
                  <a:pt x="247" y="74"/>
                  <a:pt x="246" y="76"/>
                </a:cubicBezTo>
                <a:cubicBezTo>
                  <a:pt x="247" y="74"/>
                  <a:pt x="253" y="76"/>
                  <a:pt x="253" y="79"/>
                </a:cubicBezTo>
                <a:close/>
                <a:moveTo>
                  <a:pt x="249" y="118"/>
                </a:moveTo>
                <a:cubicBezTo>
                  <a:pt x="248" y="119"/>
                  <a:pt x="247" y="117"/>
                  <a:pt x="248" y="116"/>
                </a:cubicBezTo>
                <a:cubicBezTo>
                  <a:pt x="249" y="116"/>
                  <a:pt x="250" y="118"/>
                  <a:pt x="249" y="118"/>
                </a:cubicBezTo>
                <a:close/>
                <a:moveTo>
                  <a:pt x="244" y="88"/>
                </a:moveTo>
                <a:cubicBezTo>
                  <a:pt x="244" y="88"/>
                  <a:pt x="243" y="87"/>
                  <a:pt x="244" y="87"/>
                </a:cubicBezTo>
                <a:cubicBezTo>
                  <a:pt x="245" y="85"/>
                  <a:pt x="247" y="90"/>
                  <a:pt x="244" y="88"/>
                </a:cubicBezTo>
                <a:close/>
                <a:moveTo>
                  <a:pt x="244" y="70"/>
                </a:moveTo>
                <a:cubicBezTo>
                  <a:pt x="246" y="70"/>
                  <a:pt x="244" y="73"/>
                  <a:pt x="244" y="70"/>
                </a:cubicBezTo>
                <a:close/>
                <a:moveTo>
                  <a:pt x="248" y="64"/>
                </a:moveTo>
                <a:cubicBezTo>
                  <a:pt x="249" y="65"/>
                  <a:pt x="246" y="64"/>
                  <a:pt x="248" y="64"/>
                </a:cubicBezTo>
                <a:close/>
                <a:moveTo>
                  <a:pt x="243" y="69"/>
                </a:moveTo>
                <a:cubicBezTo>
                  <a:pt x="246" y="69"/>
                  <a:pt x="249" y="70"/>
                  <a:pt x="251" y="71"/>
                </a:cubicBezTo>
                <a:cubicBezTo>
                  <a:pt x="250" y="71"/>
                  <a:pt x="248" y="70"/>
                  <a:pt x="246" y="70"/>
                </a:cubicBezTo>
                <a:cubicBezTo>
                  <a:pt x="246" y="70"/>
                  <a:pt x="246" y="70"/>
                  <a:pt x="246" y="70"/>
                </a:cubicBezTo>
                <a:cubicBezTo>
                  <a:pt x="246" y="70"/>
                  <a:pt x="246" y="70"/>
                  <a:pt x="246" y="70"/>
                </a:cubicBezTo>
                <a:cubicBezTo>
                  <a:pt x="245" y="69"/>
                  <a:pt x="244" y="69"/>
                  <a:pt x="243" y="69"/>
                </a:cubicBezTo>
                <a:cubicBezTo>
                  <a:pt x="243" y="69"/>
                  <a:pt x="243" y="70"/>
                  <a:pt x="242" y="69"/>
                </a:cubicBezTo>
                <a:cubicBezTo>
                  <a:pt x="242" y="69"/>
                  <a:pt x="242" y="69"/>
                  <a:pt x="242" y="69"/>
                </a:cubicBezTo>
                <a:cubicBezTo>
                  <a:pt x="242" y="69"/>
                  <a:pt x="242" y="69"/>
                  <a:pt x="242" y="69"/>
                </a:cubicBezTo>
                <a:cubicBezTo>
                  <a:pt x="242" y="68"/>
                  <a:pt x="242" y="68"/>
                  <a:pt x="242" y="68"/>
                </a:cubicBezTo>
                <a:cubicBezTo>
                  <a:pt x="242" y="68"/>
                  <a:pt x="243" y="68"/>
                  <a:pt x="243" y="69"/>
                </a:cubicBezTo>
                <a:close/>
                <a:moveTo>
                  <a:pt x="242" y="89"/>
                </a:moveTo>
                <a:cubicBezTo>
                  <a:pt x="241" y="88"/>
                  <a:pt x="243" y="90"/>
                  <a:pt x="242" y="89"/>
                </a:cubicBezTo>
                <a:close/>
                <a:moveTo>
                  <a:pt x="234" y="66"/>
                </a:moveTo>
                <a:cubicBezTo>
                  <a:pt x="234" y="64"/>
                  <a:pt x="234" y="63"/>
                  <a:pt x="235" y="62"/>
                </a:cubicBezTo>
                <a:cubicBezTo>
                  <a:pt x="238" y="60"/>
                  <a:pt x="242" y="65"/>
                  <a:pt x="241" y="67"/>
                </a:cubicBezTo>
                <a:cubicBezTo>
                  <a:pt x="240" y="69"/>
                  <a:pt x="235" y="67"/>
                  <a:pt x="234" y="66"/>
                </a:cubicBezTo>
                <a:close/>
                <a:moveTo>
                  <a:pt x="246" y="122"/>
                </a:moveTo>
                <a:cubicBezTo>
                  <a:pt x="245" y="123"/>
                  <a:pt x="241" y="118"/>
                  <a:pt x="241" y="117"/>
                </a:cubicBezTo>
                <a:cubicBezTo>
                  <a:pt x="239" y="112"/>
                  <a:pt x="247" y="121"/>
                  <a:pt x="246" y="122"/>
                </a:cubicBezTo>
                <a:close/>
                <a:moveTo>
                  <a:pt x="242" y="252"/>
                </a:moveTo>
                <a:cubicBezTo>
                  <a:pt x="242" y="252"/>
                  <a:pt x="245" y="257"/>
                  <a:pt x="243" y="256"/>
                </a:cubicBezTo>
                <a:cubicBezTo>
                  <a:pt x="242" y="256"/>
                  <a:pt x="242" y="251"/>
                  <a:pt x="242" y="251"/>
                </a:cubicBezTo>
                <a:cubicBezTo>
                  <a:pt x="240" y="247"/>
                  <a:pt x="237" y="245"/>
                  <a:pt x="237" y="241"/>
                </a:cubicBezTo>
                <a:cubicBezTo>
                  <a:pt x="240" y="242"/>
                  <a:pt x="242" y="250"/>
                  <a:pt x="242" y="252"/>
                </a:cubicBezTo>
                <a:close/>
                <a:moveTo>
                  <a:pt x="241" y="246"/>
                </a:moveTo>
                <a:cubicBezTo>
                  <a:pt x="242" y="246"/>
                  <a:pt x="243" y="248"/>
                  <a:pt x="242" y="248"/>
                </a:cubicBezTo>
                <a:cubicBezTo>
                  <a:pt x="242" y="248"/>
                  <a:pt x="241" y="247"/>
                  <a:pt x="241" y="246"/>
                </a:cubicBezTo>
                <a:close/>
                <a:moveTo>
                  <a:pt x="244" y="213"/>
                </a:moveTo>
                <a:cubicBezTo>
                  <a:pt x="243" y="213"/>
                  <a:pt x="243" y="213"/>
                  <a:pt x="243" y="213"/>
                </a:cubicBezTo>
                <a:cubicBezTo>
                  <a:pt x="241" y="212"/>
                  <a:pt x="244" y="211"/>
                  <a:pt x="244" y="213"/>
                </a:cubicBezTo>
                <a:close/>
                <a:moveTo>
                  <a:pt x="241" y="158"/>
                </a:moveTo>
                <a:cubicBezTo>
                  <a:pt x="240" y="157"/>
                  <a:pt x="243" y="158"/>
                  <a:pt x="242" y="159"/>
                </a:cubicBezTo>
                <a:cubicBezTo>
                  <a:pt x="242" y="159"/>
                  <a:pt x="242" y="158"/>
                  <a:pt x="241" y="158"/>
                </a:cubicBezTo>
                <a:close/>
                <a:moveTo>
                  <a:pt x="243" y="148"/>
                </a:moveTo>
                <a:cubicBezTo>
                  <a:pt x="244" y="147"/>
                  <a:pt x="245" y="149"/>
                  <a:pt x="244" y="149"/>
                </a:cubicBezTo>
                <a:cubicBezTo>
                  <a:pt x="244" y="149"/>
                  <a:pt x="243" y="148"/>
                  <a:pt x="243" y="148"/>
                </a:cubicBezTo>
                <a:close/>
                <a:moveTo>
                  <a:pt x="244" y="215"/>
                </a:moveTo>
                <a:cubicBezTo>
                  <a:pt x="244" y="215"/>
                  <a:pt x="246" y="216"/>
                  <a:pt x="245" y="216"/>
                </a:cubicBezTo>
                <a:cubicBezTo>
                  <a:pt x="244" y="216"/>
                  <a:pt x="244" y="216"/>
                  <a:pt x="244" y="215"/>
                </a:cubicBezTo>
                <a:close/>
                <a:moveTo>
                  <a:pt x="230" y="166"/>
                </a:moveTo>
                <a:cubicBezTo>
                  <a:pt x="228" y="160"/>
                  <a:pt x="236" y="159"/>
                  <a:pt x="238" y="164"/>
                </a:cubicBezTo>
                <a:cubicBezTo>
                  <a:pt x="242" y="171"/>
                  <a:pt x="232" y="172"/>
                  <a:pt x="230" y="166"/>
                </a:cubicBezTo>
                <a:close/>
                <a:moveTo>
                  <a:pt x="236" y="177"/>
                </a:moveTo>
                <a:cubicBezTo>
                  <a:pt x="236" y="178"/>
                  <a:pt x="235" y="177"/>
                  <a:pt x="234" y="177"/>
                </a:cubicBezTo>
                <a:cubicBezTo>
                  <a:pt x="235" y="176"/>
                  <a:pt x="236" y="177"/>
                  <a:pt x="236" y="177"/>
                </a:cubicBezTo>
                <a:close/>
                <a:moveTo>
                  <a:pt x="234" y="190"/>
                </a:moveTo>
                <a:cubicBezTo>
                  <a:pt x="233" y="190"/>
                  <a:pt x="234" y="188"/>
                  <a:pt x="234" y="190"/>
                </a:cubicBezTo>
                <a:close/>
                <a:moveTo>
                  <a:pt x="230" y="190"/>
                </a:moveTo>
                <a:cubicBezTo>
                  <a:pt x="231" y="189"/>
                  <a:pt x="233" y="191"/>
                  <a:pt x="233" y="191"/>
                </a:cubicBezTo>
                <a:cubicBezTo>
                  <a:pt x="232" y="192"/>
                  <a:pt x="230" y="190"/>
                  <a:pt x="230" y="190"/>
                </a:cubicBezTo>
                <a:close/>
                <a:moveTo>
                  <a:pt x="232" y="199"/>
                </a:moveTo>
                <a:cubicBezTo>
                  <a:pt x="232" y="200"/>
                  <a:pt x="231" y="198"/>
                  <a:pt x="232" y="198"/>
                </a:cubicBezTo>
                <a:cubicBezTo>
                  <a:pt x="232" y="199"/>
                  <a:pt x="232" y="199"/>
                  <a:pt x="232" y="199"/>
                </a:cubicBezTo>
                <a:close/>
                <a:moveTo>
                  <a:pt x="232" y="179"/>
                </a:moveTo>
                <a:cubicBezTo>
                  <a:pt x="232" y="179"/>
                  <a:pt x="233" y="179"/>
                  <a:pt x="233" y="180"/>
                </a:cubicBezTo>
                <a:cubicBezTo>
                  <a:pt x="233" y="180"/>
                  <a:pt x="231" y="180"/>
                  <a:pt x="232" y="179"/>
                </a:cubicBezTo>
                <a:close/>
                <a:moveTo>
                  <a:pt x="238" y="100"/>
                </a:moveTo>
                <a:cubicBezTo>
                  <a:pt x="238" y="100"/>
                  <a:pt x="238" y="100"/>
                  <a:pt x="238" y="100"/>
                </a:cubicBezTo>
                <a:cubicBezTo>
                  <a:pt x="238" y="100"/>
                  <a:pt x="239" y="101"/>
                  <a:pt x="238" y="100"/>
                </a:cubicBezTo>
                <a:close/>
                <a:moveTo>
                  <a:pt x="235" y="107"/>
                </a:moveTo>
                <a:cubicBezTo>
                  <a:pt x="235" y="107"/>
                  <a:pt x="234" y="109"/>
                  <a:pt x="234" y="107"/>
                </a:cubicBezTo>
                <a:cubicBezTo>
                  <a:pt x="234" y="108"/>
                  <a:pt x="233" y="106"/>
                  <a:pt x="235" y="107"/>
                </a:cubicBezTo>
                <a:close/>
                <a:moveTo>
                  <a:pt x="231" y="104"/>
                </a:moveTo>
                <a:cubicBezTo>
                  <a:pt x="233" y="103"/>
                  <a:pt x="233" y="107"/>
                  <a:pt x="231" y="107"/>
                </a:cubicBezTo>
                <a:cubicBezTo>
                  <a:pt x="230" y="107"/>
                  <a:pt x="229" y="104"/>
                  <a:pt x="231" y="104"/>
                </a:cubicBezTo>
                <a:close/>
                <a:moveTo>
                  <a:pt x="238" y="120"/>
                </a:moveTo>
                <a:cubicBezTo>
                  <a:pt x="238" y="124"/>
                  <a:pt x="230" y="122"/>
                  <a:pt x="229" y="120"/>
                </a:cubicBezTo>
                <a:cubicBezTo>
                  <a:pt x="223" y="112"/>
                  <a:pt x="239" y="113"/>
                  <a:pt x="238" y="120"/>
                </a:cubicBezTo>
                <a:close/>
                <a:moveTo>
                  <a:pt x="233" y="134"/>
                </a:moveTo>
                <a:cubicBezTo>
                  <a:pt x="233" y="133"/>
                  <a:pt x="234" y="135"/>
                  <a:pt x="234" y="135"/>
                </a:cubicBezTo>
                <a:cubicBezTo>
                  <a:pt x="232" y="136"/>
                  <a:pt x="232" y="133"/>
                  <a:pt x="231" y="132"/>
                </a:cubicBezTo>
                <a:cubicBezTo>
                  <a:pt x="230" y="130"/>
                  <a:pt x="226" y="126"/>
                  <a:pt x="225" y="122"/>
                </a:cubicBezTo>
                <a:cubicBezTo>
                  <a:pt x="228" y="124"/>
                  <a:pt x="232" y="131"/>
                  <a:pt x="233" y="134"/>
                </a:cubicBezTo>
                <a:close/>
                <a:moveTo>
                  <a:pt x="226" y="205"/>
                </a:moveTo>
                <a:cubicBezTo>
                  <a:pt x="227" y="204"/>
                  <a:pt x="227" y="206"/>
                  <a:pt x="227" y="206"/>
                </a:cubicBezTo>
                <a:cubicBezTo>
                  <a:pt x="226" y="206"/>
                  <a:pt x="226" y="205"/>
                  <a:pt x="226" y="205"/>
                </a:cubicBezTo>
                <a:close/>
                <a:moveTo>
                  <a:pt x="226" y="130"/>
                </a:moveTo>
                <a:cubicBezTo>
                  <a:pt x="226" y="130"/>
                  <a:pt x="225" y="129"/>
                  <a:pt x="226" y="129"/>
                </a:cubicBezTo>
                <a:cubicBezTo>
                  <a:pt x="226" y="129"/>
                  <a:pt x="226" y="130"/>
                  <a:pt x="226" y="130"/>
                </a:cubicBezTo>
                <a:close/>
                <a:moveTo>
                  <a:pt x="226" y="159"/>
                </a:moveTo>
                <a:cubicBezTo>
                  <a:pt x="224" y="159"/>
                  <a:pt x="226" y="158"/>
                  <a:pt x="226" y="159"/>
                </a:cubicBezTo>
                <a:close/>
                <a:moveTo>
                  <a:pt x="225" y="158"/>
                </a:moveTo>
                <a:cubicBezTo>
                  <a:pt x="224" y="159"/>
                  <a:pt x="222" y="157"/>
                  <a:pt x="221" y="157"/>
                </a:cubicBezTo>
                <a:cubicBezTo>
                  <a:pt x="222" y="156"/>
                  <a:pt x="224" y="158"/>
                  <a:pt x="225" y="158"/>
                </a:cubicBezTo>
                <a:close/>
                <a:moveTo>
                  <a:pt x="224" y="169"/>
                </a:moveTo>
                <a:cubicBezTo>
                  <a:pt x="225" y="170"/>
                  <a:pt x="224" y="174"/>
                  <a:pt x="225" y="175"/>
                </a:cubicBezTo>
                <a:cubicBezTo>
                  <a:pt x="226" y="178"/>
                  <a:pt x="226" y="177"/>
                  <a:pt x="223" y="179"/>
                </a:cubicBezTo>
                <a:cubicBezTo>
                  <a:pt x="221" y="182"/>
                  <a:pt x="216" y="182"/>
                  <a:pt x="217" y="178"/>
                </a:cubicBezTo>
                <a:cubicBezTo>
                  <a:pt x="222" y="179"/>
                  <a:pt x="215" y="177"/>
                  <a:pt x="214" y="175"/>
                </a:cubicBezTo>
                <a:cubicBezTo>
                  <a:pt x="213" y="175"/>
                  <a:pt x="213" y="169"/>
                  <a:pt x="214" y="168"/>
                </a:cubicBezTo>
                <a:cubicBezTo>
                  <a:pt x="217" y="164"/>
                  <a:pt x="222" y="166"/>
                  <a:pt x="224" y="169"/>
                </a:cubicBezTo>
                <a:close/>
                <a:moveTo>
                  <a:pt x="212" y="179"/>
                </a:moveTo>
                <a:cubicBezTo>
                  <a:pt x="213" y="179"/>
                  <a:pt x="213" y="182"/>
                  <a:pt x="212" y="181"/>
                </a:cubicBezTo>
                <a:cubicBezTo>
                  <a:pt x="211" y="181"/>
                  <a:pt x="211" y="180"/>
                  <a:pt x="212" y="179"/>
                </a:cubicBezTo>
                <a:close/>
                <a:moveTo>
                  <a:pt x="211" y="154"/>
                </a:moveTo>
                <a:cubicBezTo>
                  <a:pt x="212" y="153"/>
                  <a:pt x="213" y="154"/>
                  <a:pt x="213" y="155"/>
                </a:cubicBezTo>
                <a:cubicBezTo>
                  <a:pt x="213" y="155"/>
                  <a:pt x="212" y="154"/>
                  <a:pt x="211" y="154"/>
                </a:cubicBezTo>
                <a:close/>
                <a:moveTo>
                  <a:pt x="214" y="225"/>
                </a:moveTo>
                <a:cubicBezTo>
                  <a:pt x="213" y="224"/>
                  <a:pt x="212" y="223"/>
                  <a:pt x="212" y="221"/>
                </a:cubicBezTo>
                <a:cubicBezTo>
                  <a:pt x="212" y="223"/>
                  <a:pt x="214" y="223"/>
                  <a:pt x="214" y="225"/>
                </a:cubicBezTo>
                <a:close/>
                <a:moveTo>
                  <a:pt x="213" y="174"/>
                </a:moveTo>
                <a:cubicBezTo>
                  <a:pt x="212" y="176"/>
                  <a:pt x="218" y="182"/>
                  <a:pt x="216" y="182"/>
                </a:cubicBezTo>
                <a:cubicBezTo>
                  <a:pt x="215" y="182"/>
                  <a:pt x="211" y="176"/>
                  <a:pt x="213" y="174"/>
                </a:cubicBezTo>
                <a:close/>
                <a:moveTo>
                  <a:pt x="219" y="185"/>
                </a:moveTo>
                <a:cubicBezTo>
                  <a:pt x="218" y="186"/>
                  <a:pt x="216" y="185"/>
                  <a:pt x="216" y="184"/>
                </a:cubicBezTo>
                <a:cubicBezTo>
                  <a:pt x="214" y="182"/>
                  <a:pt x="220" y="182"/>
                  <a:pt x="219" y="185"/>
                </a:cubicBezTo>
                <a:close/>
                <a:moveTo>
                  <a:pt x="217" y="156"/>
                </a:moveTo>
                <a:cubicBezTo>
                  <a:pt x="217" y="156"/>
                  <a:pt x="217" y="156"/>
                  <a:pt x="217" y="156"/>
                </a:cubicBezTo>
                <a:cubicBezTo>
                  <a:pt x="215" y="155"/>
                  <a:pt x="219" y="156"/>
                  <a:pt x="217" y="156"/>
                </a:cubicBezTo>
                <a:close/>
                <a:moveTo>
                  <a:pt x="216" y="132"/>
                </a:moveTo>
                <a:cubicBezTo>
                  <a:pt x="216" y="133"/>
                  <a:pt x="215" y="133"/>
                  <a:pt x="214" y="132"/>
                </a:cubicBezTo>
                <a:cubicBezTo>
                  <a:pt x="213" y="131"/>
                  <a:pt x="216" y="130"/>
                  <a:pt x="216" y="132"/>
                </a:cubicBezTo>
                <a:close/>
                <a:moveTo>
                  <a:pt x="216" y="146"/>
                </a:moveTo>
                <a:cubicBezTo>
                  <a:pt x="216" y="147"/>
                  <a:pt x="215" y="146"/>
                  <a:pt x="215" y="146"/>
                </a:cubicBezTo>
                <a:cubicBezTo>
                  <a:pt x="213" y="145"/>
                  <a:pt x="216" y="145"/>
                  <a:pt x="216" y="146"/>
                </a:cubicBezTo>
                <a:close/>
                <a:moveTo>
                  <a:pt x="220" y="156"/>
                </a:moveTo>
                <a:cubicBezTo>
                  <a:pt x="217" y="155"/>
                  <a:pt x="214" y="154"/>
                  <a:pt x="211" y="152"/>
                </a:cubicBezTo>
                <a:cubicBezTo>
                  <a:pt x="214" y="152"/>
                  <a:pt x="218" y="154"/>
                  <a:pt x="220" y="156"/>
                </a:cubicBezTo>
                <a:close/>
                <a:moveTo>
                  <a:pt x="212" y="115"/>
                </a:moveTo>
                <a:cubicBezTo>
                  <a:pt x="212" y="117"/>
                  <a:pt x="209" y="116"/>
                  <a:pt x="209" y="115"/>
                </a:cubicBezTo>
                <a:cubicBezTo>
                  <a:pt x="207" y="112"/>
                  <a:pt x="212" y="112"/>
                  <a:pt x="212" y="115"/>
                </a:cubicBezTo>
                <a:close/>
                <a:moveTo>
                  <a:pt x="210" y="146"/>
                </a:moveTo>
                <a:cubicBezTo>
                  <a:pt x="209" y="146"/>
                  <a:pt x="209" y="145"/>
                  <a:pt x="209" y="144"/>
                </a:cubicBezTo>
                <a:cubicBezTo>
                  <a:pt x="209" y="144"/>
                  <a:pt x="210" y="146"/>
                  <a:pt x="210" y="146"/>
                </a:cubicBezTo>
                <a:close/>
                <a:moveTo>
                  <a:pt x="209" y="150"/>
                </a:moveTo>
                <a:cubicBezTo>
                  <a:pt x="207" y="148"/>
                  <a:pt x="210" y="149"/>
                  <a:pt x="209" y="150"/>
                </a:cubicBezTo>
                <a:close/>
                <a:moveTo>
                  <a:pt x="207" y="167"/>
                </a:moveTo>
                <a:cubicBezTo>
                  <a:pt x="207" y="167"/>
                  <a:pt x="207" y="167"/>
                  <a:pt x="207" y="167"/>
                </a:cubicBezTo>
                <a:cubicBezTo>
                  <a:pt x="209" y="166"/>
                  <a:pt x="206" y="169"/>
                  <a:pt x="207" y="167"/>
                </a:cubicBezTo>
                <a:close/>
                <a:moveTo>
                  <a:pt x="204" y="221"/>
                </a:moveTo>
                <a:cubicBezTo>
                  <a:pt x="205" y="220"/>
                  <a:pt x="206" y="222"/>
                  <a:pt x="205" y="222"/>
                </a:cubicBezTo>
                <a:cubicBezTo>
                  <a:pt x="204" y="222"/>
                  <a:pt x="204" y="221"/>
                  <a:pt x="204" y="221"/>
                </a:cubicBezTo>
                <a:close/>
                <a:moveTo>
                  <a:pt x="204" y="239"/>
                </a:moveTo>
                <a:cubicBezTo>
                  <a:pt x="205" y="239"/>
                  <a:pt x="206" y="241"/>
                  <a:pt x="205" y="242"/>
                </a:cubicBezTo>
                <a:cubicBezTo>
                  <a:pt x="204" y="242"/>
                  <a:pt x="202" y="240"/>
                  <a:pt x="204" y="239"/>
                </a:cubicBezTo>
                <a:close/>
                <a:moveTo>
                  <a:pt x="203" y="346"/>
                </a:moveTo>
                <a:cubicBezTo>
                  <a:pt x="205" y="346"/>
                  <a:pt x="205" y="348"/>
                  <a:pt x="203" y="346"/>
                </a:cubicBezTo>
                <a:close/>
                <a:moveTo>
                  <a:pt x="202" y="233"/>
                </a:moveTo>
                <a:cubicBezTo>
                  <a:pt x="202" y="233"/>
                  <a:pt x="203" y="235"/>
                  <a:pt x="202" y="235"/>
                </a:cubicBezTo>
                <a:cubicBezTo>
                  <a:pt x="202" y="235"/>
                  <a:pt x="201" y="233"/>
                  <a:pt x="202" y="233"/>
                </a:cubicBezTo>
                <a:close/>
                <a:moveTo>
                  <a:pt x="202" y="232"/>
                </a:moveTo>
                <a:cubicBezTo>
                  <a:pt x="200" y="232"/>
                  <a:pt x="202" y="231"/>
                  <a:pt x="202" y="232"/>
                </a:cubicBezTo>
                <a:close/>
                <a:moveTo>
                  <a:pt x="202" y="345"/>
                </a:moveTo>
                <a:cubicBezTo>
                  <a:pt x="204" y="347"/>
                  <a:pt x="201" y="343"/>
                  <a:pt x="202" y="345"/>
                </a:cubicBezTo>
                <a:close/>
                <a:moveTo>
                  <a:pt x="201" y="171"/>
                </a:moveTo>
                <a:cubicBezTo>
                  <a:pt x="201" y="172"/>
                  <a:pt x="203" y="172"/>
                  <a:pt x="202" y="173"/>
                </a:cubicBezTo>
                <a:cubicBezTo>
                  <a:pt x="202" y="174"/>
                  <a:pt x="200" y="171"/>
                  <a:pt x="201" y="171"/>
                </a:cubicBezTo>
                <a:close/>
                <a:moveTo>
                  <a:pt x="200" y="182"/>
                </a:moveTo>
                <a:cubicBezTo>
                  <a:pt x="201" y="181"/>
                  <a:pt x="202" y="184"/>
                  <a:pt x="201" y="184"/>
                </a:cubicBezTo>
                <a:cubicBezTo>
                  <a:pt x="199" y="185"/>
                  <a:pt x="200" y="182"/>
                  <a:pt x="200" y="182"/>
                </a:cubicBezTo>
                <a:close/>
                <a:moveTo>
                  <a:pt x="199" y="304"/>
                </a:moveTo>
                <a:cubicBezTo>
                  <a:pt x="198" y="304"/>
                  <a:pt x="198" y="302"/>
                  <a:pt x="199" y="302"/>
                </a:cubicBezTo>
                <a:cubicBezTo>
                  <a:pt x="200" y="302"/>
                  <a:pt x="200" y="304"/>
                  <a:pt x="199" y="304"/>
                </a:cubicBezTo>
                <a:close/>
                <a:moveTo>
                  <a:pt x="200" y="321"/>
                </a:moveTo>
                <a:cubicBezTo>
                  <a:pt x="200" y="321"/>
                  <a:pt x="200" y="321"/>
                  <a:pt x="200" y="321"/>
                </a:cubicBezTo>
                <a:cubicBezTo>
                  <a:pt x="200" y="321"/>
                  <a:pt x="200" y="321"/>
                  <a:pt x="200" y="321"/>
                </a:cubicBezTo>
                <a:cubicBezTo>
                  <a:pt x="200" y="321"/>
                  <a:pt x="200" y="321"/>
                  <a:pt x="200" y="321"/>
                </a:cubicBezTo>
                <a:close/>
                <a:moveTo>
                  <a:pt x="198" y="238"/>
                </a:moveTo>
                <a:cubicBezTo>
                  <a:pt x="199" y="239"/>
                  <a:pt x="200" y="240"/>
                  <a:pt x="201" y="242"/>
                </a:cubicBezTo>
                <a:cubicBezTo>
                  <a:pt x="199" y="241"/>
                  <a:pt x="198" y="240"/>
                  <a:pt x="198" y="238"/>
                </a:cubicBezTo>
                <a:close/>
                <a:moveTo>
                  <a:pt x="198" y="266"/>
                </a:moveTo>
                <a:cubicBezTo>
                  <a:pt x="197" y="267"/>
                  <a:pt x="197" y="265"/>
                  <a:pt x="197" y="265"/>
                </a:cubicBezTo>
                <a:cubicBezTo>
                  <a:pt x="197" y="265"/>
                  <a:pt x="199" y="266"/>
                  <a:pt x="198" y="266"/>
                </a:cubicBezTo>
                <a:close/>
                <a:moveTo>
                  <a:pt x="199" y="228"/>
                </a:moveTo>
                <a:cubicBezTo>
                  <a:pt x="197" y="229"/>
                  <a:pt x="195" y="222"/>
                  <a:pt x="198" y="222"/>
                </a:cubicBezTo>
                <a:cubicBezTo>
                  <a:pt x="201" y="222"/>
                  <a:pt x="201" y="228"/>
                  <a:pt x="199" y="228"/>
                </a:cubicBezTo>
                <a:close/>
                <a:moveTo>
                  <a:pt x="197" y="165"/>
                </a:moveTo>
                <a:cubicBezTo>
                  <a:pt x="198" y="165"/>
                  <a:pt x="201" y="171"/>
                  <a:pt x="198" y="172"/>
                </a:cubicBezTo>
                <a:cubicBezTo>
                  <a:pt x="194" y="173"/>
                  <a:pt x="192" y="164"/>
                  <a:pt x="197" y="165"/>
                </a:cubicBezTo>
                <a:close/>
                <a:moveTo>
                  <a:pt x="196" y="264"/>
                </a:moveTo>
                <a:cubicBezTo>
                  <a:pt x="195" y="263"/>
                  <a:pt x="195" y="262"/>
                  <a:pt x="194" y="261"/>
                </a:cubicBezTo>
                <a:cubicBezTo>
                  <a:pt x="195" y="261"/>
                  <a:pt x="196" y="263"/>
                  <a:pt x="196" y="264"/>
                </a:cubicBezTo>
                <a:close/>
                <a:moveTo>
                  <a:pt x="194" y="242"/>
                </a:moveTo>
                <a:cubicBezTo>
                  <a:pt x="194" y="242"/>
                  <a:pt x="194" y="242"/>
                  <a:pt x="194" y="242"/>
                </a:cubicBezTo>
                <a:cubicBezTo>
                  <a:pt x="196" y="241"/>
                  <a:pt x="192" y="244"/>
                  <a:pt x="194" y="242"/>
                </a:cubicBezTo>
                <a:close/>
                <a:moveTo>
                  <a:pt x="194" y="188"/>
                </a:moveTo>
                <a:cubicBezTo>
                  <a:pt x="195" y="188"/>
                  <a:pt x="195" y="191"/>
                  <a:pt x="194" y="191"/>
                </a:cubicBezTo>
                <a:cubicBezTo>
                  <a:pt x="193" y="191"/>
                  <a:pt x="192" y="188"/>
                  <a:pt x="194" y="188"/>
                </a:cubicBezTo>
                <a:close/>
                <a:moveTo>
                  <a:pt x="192" y="192"/>
                </a:moveTo>
                <a:cubicBezTo>
                  <a:pt x="190" y="193"/>
                  <a:pt x="193" y="192"/>
                  <a:pt x="192" y="192"/>
                </a:cubicBezTo>
                <a:close/>
                <a:moveTo>
                  <a:pt x="191" y="224"/>
                </a:moveTo>
                <a:cubicBezTo>
                  <a:pt x="191" y="225"/>
                  <a:pt x="190" y="223"/>
                  <a:pt x="190" y="223"/>
                </a:cubicBezTo>
                <a:cubicBezTo>
                  <a:pt x="191" y="222"/>
                  <a:pt x="192" y="224"/>
                  <a:pt x="191" y="224"/>
                </a:cubicBezTo>
                <a:close/>
                <a:moveTo>
                  <a:pt x="191" y="190"/>
                </a:moveTo>
                <a:cubicBezTo>
                  <a:pt x="191" y="189"/>
                  <a:pt x="191" y="189"/>
                  <a:pt x="190" y="188"/>
                </a:cubicBezTo>
                <a:cubicBezTo>
                  <a:pt x="191" y="188"/>
                  <a:pt x="191" y="189"/>
                  <a:pt x="191" y="190"/>
                </a:cubicBezTo>
                <a:close/>
                <a:moveTo>
                  <a:pt x="192" y="243"/>
                </a:moveTo>
                <a:cubicBezTo>
                  <a:pt x="192" y="241"/>
                  <a:pt x="191" y="242"/>
                  <a:pt x="190" y="243"/>
                </a:cubicBezTo>
                <a:cubicBezTo>
                  <a:pt x="188" y="243"/>
                  <a:pt x="184" y="239"/>
                  <a:pt x="186" y="235"/>
                </a:cubicBezTo>
                <a:cubicBezTo>
                  <a:pt x="189" y="230"/>
                  <a:pt x="196" y="237"/>
                  <a:pt x="192" y="243"/>
                </a:cubicBezTo>
                <a:close/>
                <a:moveTo>
                  <a:pt x="192" y="254"/>
                </a:moveTo>
                <a:cubicBezTo>
                  <a:pt x="191" y="255"/>
                  <a:pt x="191" y="253"/>
                  <a:pt x="191" y="253"/>
                </a:cubicBezTo>
                <a:cubicBezTo>
                  <a:pt x="192" y="252"/>
                  <a:pt x="192" y="254"/>
                  <a:pt x="192" y="254"/>
                </a:cubicBezTo>
                <a:close/>
                <a:moveTo>
                  <a:pt x="190" y="274"/>
                </a:moveTo>
                <a:cubicBezTo>
                  <a:pt x="190" y="274"/>
                  <a:pt x="189" y="272"/>
                  <a:pt x="190" y="272"/>
                </a:cubicBezTo>
                <a:cubicBezTo>
                  <a:pt x="191" y="271"/>
                  <a:pt x="191" y="274"/>
                  <a:pt x="190" y="274"/>
                </a:cubicBezTo>
                <a:close/>
                <a:moveTo>
                  <a:pt x="186" y="193"/>
                </a:moveTo>
                <a:cubicBezTo>
                  <a:pt x="189" y="193"/>
                  <a:pt x="188" y="197"/>
                  <a:pt x="187" y="197"/>
                </a:cubicBezTo>
                <a:cubicBezTo>
                  <a:pt x="185" y="197"/>
                  <a:pt x="185" y="193"/>
                  <a:pt x="186" y="193"/>
                </a:cubicBezTo>
                <a:close/>
                <a:moveTo>
                  <a:pt x="185" y="198"/>
                </a:moveTo>
                <a:cubicBezTo>
                  <a:pt x="187" y="198"/>
                  <a:pt x="186" y="200"/>
                  <a:pt x="185" y="198"/>
                </a:cubicBezTo>
                <a:close/>
                <a:moveTo>
                  <a:pt x="183" y="252"/>
                </a:moveTo>
                <a:cubicBezTo>
                  <a:pt x="184" y="252"/>
                  <a:pt x="184" y="254"/>
                  <a:pt x="183" y="253"/>
                </a:cubicBezTo>
                <a:cubicBezTo>
                  <a:pt x="183" y="253"/>
                  <a:pt x="183" y="253"/>
                  <a:pt x="183" y="252"/>
                </a:cubicBezTo>
                <a:close/>
                <a:moveTo>
                  <a:pt x="184" y="268"/>
                </a:moveTo>
                <a:cubicBezTo>
                  <a:pt x="184" y="268"/>
                  <a:pt x="185" y="269"/>
                  <a:pt x="184" y="269"/>
                </a:cubicBezTo>
                <a:cubicBezTo>
                  <a:pt x="184" y="270"/>
                  <a:pt x="182" y="268"/>
                  <a:pt x="184" y="268"/>
                </a:cubicBezTo>
                <a:close/>
                <a:moveTo>
                  <a:pt x="184" y="309"/>
                </a:moveTo>
                <a:cubicBezTo>
                  <a:pt x="183" y="309"/>
                  <a:pt x="182" y="307"/>
                  <a:pt x="183" y="306"/>
                </a:cubicBezTo>
                <a:cubicBezTo>
                  <a:pt x="185" y="305"/>
                  <a:pt x="185" y="309"/>
                  <a:pt x="184" y="309"/>
                </a:cubicBezTo>
                <a:close/>
                <a:moveTo>
                  <a:pt x="184" y="256"/>
                </a:moveTo>
                <a:cubicBezTo>
                  <a:pt x="183" y="256"/>
                  <a:pt x="182" y="254"/>
                  <a:pt x="184" y="254"/>
                </a:cubicBezTo>
                <a:cubicBezTo>
                  <a:pt x="185" y="254"/>
                  <a:pt x="185" y="256"/>
                  <a:pt x="184" y="256"/>
                </a:cubicBezTo>
                <a:close/>
                <a:moveTo>
                  <a:pt x="186" y="272"/>
                </a:moveTo>
                <a:cubicBezTo>
                  <a:pt x="190" y="271"/>
                  <a:pt x="189" y="278"/>
                  <a:pt x="187" y="278"/>
                </a:cubicBezTo>
                <a:cubicBezTo>
                  <a:pt x="185" y="278"/>
                  <a:pt x="184" y="273"/>
                  <a:pt x="186" y="272"/>
                </a:cubicBezTo>
                <a:close/>
                <a:moveTo>
                  <a:pt x="189" y="304"/>
                </a:moveTo>
                <a:cubicBezTo>
                  <a:pt x="193" y="304"/>
                  <a:pt x="193" y="312"/>
                  <a:pt x="190" y="312"/>
                </a:cubicBezTo>
                <a:cubicBezTo>
                  <a:pt x="187" y="312"/>
                  <a:pt x="185" y="305"/>
                  <a:pt x="189" y="304"/>
                </a:cubicBezTo>
                <a:close/>
                <a:moveTo>
                  <a:pt x="193" y="375"/>
                </a:moveTo>
                <a:cubicBezTo>
                  <a:pt x="193" y="375"/>
                  <a:pt x="192" y="374"/>
                  <a:pt x="193" y="374"/>
                </a:cubicBezTo>
                <a:cubicBezTo>
                  <a:pt x="193" y="374"/>
                  <a:pt x="194" y="375"/>
                  <a:pt x="193" y="375"/>
                </a:cubicBezTo>
                <a:close/>
                <a:moveTo>
                  <a:pt x="205" y="365"/>
                </a:moveTo>
                <a:cubicBezTo>
                  <a:pt x="205" y="366"/>
                  <a:pt x="203" y="362"/>
                  <a:pt x="204" y="364"/>
                </a:cubicBezTo>
                <a:cubicBezTo>
                  <a:pt x="199" y="355"/>
                  <a:pt x="192" y="344"/>
                  <a:pt x="189" y="335"/>
                </a:cubicBezTo>
                <a:cubicBezTo>
                  <a:pt x="195" y="343"/>
                  <a:pt x="199" y="352"/>
                  <a:pt x="204" y="362"/>
                </a:cubicBezTo>
                <a:cubicBezTo>
                  <a:pt x="204" y="362"/>
                  <a:pt x="206" y="364"/>
                  <a:pt x="205" y="365"/>
                </a:cubicBezTo>
                <a:close/>
                <a:moveTo>
                  <a:pt x="206" y="165"/>
                </a:moveTo>
                <a:cubicBezTo>
                  <a:pt x="204" y="165"/>
                  <a:pt x="205" y="163"/>
                  <a:pt x="206" y="165"/>
                </a:cubicBezTo>
                <a:close/>
                <a:moveTo>
                  <a:pt x="212" y="221"/>
                </a:moveTo>
                <a:cubicBezTo>
                  <a:pt x="210" y="220"/>
                  <a:pt x="208" y="217"/>
                  <a:pt x="206" y="215"/>
                </a:cubicBezTo>
                <a:cubicBezTo>
                  <a:pt x="209" y="216"/>
                  <a:pt x="210" y="219"/>
                  <a:pt x="212" y="221"/>
                </a:cubicBezTo>
                <a:close/>
                <a:moveTo>
                  <a:pt x="207" y="224"/>
                </a:moveTo>
                <a:cubicBezTo>
                  <a:pt x="205" y="222"/>
                  <a:pt x="211" y="223"/>
                  <a:pt x="209" y="225"/>
                </a:cubicBezTo>
                <a:cubicBezTo>
                  <a:pt x="209" y="226"/>
                  <a:pt x="208" y="225"/>
                  <a:pt x="207" y="224"/>
                </a:cubicBezTo>
                <a:close/>
                <a:moveTo>
                  <a:pt x="209" y="243"/>
                </a:moveTo>
                <a:cubicBezTo>
                  <a:pt x="210" y="243"/>
                  <a:pt x="211" y="244"/>
                  <a:pt x="211" y="244"/>
                </a:cubicBezTo>
                <a:cubicBezTo>
                  <a:pt x="211" y="247"/>
                  <a:pt x="208" y="245"/>
                  <a:pt x="209" y="243"/>
                </a:cubicBezTo>
                <a:close/>
                <a:moveTo>
                  <a:pt x="214" y="405"/>
                </a:moveTo>
                <a:cubicBezTo>
                  <a:pt x="214" y="405"/>
                  <a:pt x="215" y="405"/>
                  <a:pt x="215" y="405"/>
                </a:cubicBezTo>
                <a:cubicBezTo>
                  <a:pt x="216" y="406"/>
                  <a:pt x="213" y="406"/>
                  <a:pt x="214" y="405"/>
                </a:cubicBezTo>
                <a:close/>
                <a:moveTo>
                  <a:pt x="211" y="256"/>
                </a:moveTo>
                <a:cubicBezTo>
                  <a:pt x="211" y="256"/>
                  <a:pt x="210" y="254"/>
                  <a:pt x="211" y="254"/>
                </a:cubicBezTo>
                <a:cubicBezTo>
                  <a:pt x="214" y="256"/>
                  <a:pt x="216" y="261"/>
                  <a:pt x="217" y="264"/>
                </a:cubicBezTo>
                <a:cubicBezTo>
                  <a:pt x="215" y="261"/>
                  <a:pt x="212" y="258"/>
                  <a:pt x="211" y="256"/>
                </a:cubicBezTo>
                <a:close/>
                <a:moveTo>
                  <a:pt x="219" y="262"/>
                </a:moveTo>
                <a:cubicBezTo>
                  <a:pt x="218" y="262"/>
                  <a:pt x="217" y="260"/>
                  <a:pt x="219" y="260"/>
                </a:cubicBezTo>
                <a:cubicBezTo>
                  <a:pt x="219" y="260"/>
                  <a:pt x="220" y="261"/>
                  <a:pt x="219" y="262"/>
                </a:cubicBezTo>
                <a:close/>
                <a:moveTo>
                  <a:pt x="221" y="386"/>
                </a:moveTo>
                <a:cubicBezTo>
                  <a:pt x="221" y="385"/>
                  <a:pt x="222" y="386"/>
                  <a:pt x="222" y="386"/>
                </a:cubicBezTo>
                <a:cubicBezTo>
                  <a:pt x="221" y="387"/>
                  <a:pt x="220" y="387"/>
                  <a:pt x="221" y="386"/>
                </a:cubicBezTo>
                <a:close/>
                <a:moveTo>
                  <a:pt x="222" y="327"/>
                </a:moveTo>
                <a:cubicBezTo>
                  <a:pt x="220" y="326"/>
                  <a:pt x="222" y="326"/>
                  <a:pt x="222" y="327"/>
                </a:cubicBezTo>
                <a:close/>
                <a:moveTo>
                  <a:pt x="224" y="204"/>
                </a:moveTo>
                <a:cubicBezTo>
                  <a:pt x="223" y="205"/>
                  <a:pt x="222" y="205"/>
                  <a:pt x="222" y="205"/>
                </a:cubicBezTo>
                <a:cubicBezTo>
                  <a:pt x="221" y="204"/>
                  <a:pt x="221" y="203"/>
                  <a:pt x="222" y="203"/>
                </a:cubicBezTo>
                <a:cubicBezTo>
                  <a:pt x="222" y="202"/>
                  <a:pt x="222" y="201"/>
                  <a:pt x="222" y="201"/>
                </a:cubicBezTo>
                <a:cubicBezTo>
                  <a:pt x="221" y="200"/>
                  <a:pt x="215" y="194"/>
                  <a:pt x="216" y="194"/>
                </a:cubicBezTo>
                <a:cubicBezTo>
                  <a:pt x="218" y="192"/>
                  <a:pt x="222" y="201"/>
                  <a:pt x="223" y="202"/>
                </a:cubicBezTo>
                <a:cubicBezTo>
                  <a:pt x="224" y="203"/>
                  <a:pt x="225" y="204"/>
                  <a:pt x="224" y="204"/>
                </a:cubicBezTo>
                <a:cubicBezTo>
                  <a:pt x="224" y="204"/>
                  <a:pt x="224" y="204"/>
                  <a:pt x="224" y="204"/>
                </a:cubicBezTo>
                <a:cubicBezTo>
                  <a:pt x="224" y="204"/>
                  <a:pt x="224" y="204"/>
                  <a:pt x="224" y="204"/>
                </a:cubicBezTo>
                <a:close/>
                <a:moveTo>
                  <a:pt x="227" y="215"/>
                </a:moveTo>
                <a:cubicBezTo>
                  <a:pt x="224" y="216"/>
                  <a:pt x="222" y="210"/>
                  <a:pt x="225" y="210"/>
                </a:cubicBezTo>
                <a:cubicBezTo>
                  <a:pt x="227" y="210"/>
                  <a:pt x="228" y="214"/>
                  <a:pt x="227" y="215"/>
                </a:cubicBezTo>
                <a:close/>
                <a:moveTo>
                  <a:pt x="230" y="252"/>
                </a:moveTo>
                <a:cubicBezTo>
                  <a:pt x="230" y="251"/>
                  <a:pt x="231" y="252"/>
                  <a:pt x="231" y="252"/>
                </a:cubicBezTo>
                <a:cubicBezTo>
                  <a:pt x="231" y="252"/>
                  <a:pt x="230" y="252"/>
                  <a:pt x="230" y="252"/>
                </a:cubicBezTo>
                <a:close/>
                <a:moveTo>
                  <a:pt x="232" y="218"/>
                </a:moveTo>
                <a:cubicBezTo>
                  <a:pt x="232" y="218"/>
                  <a:pt x="232" y="218"/>
                  <a:pt x="232" y="218"/>
                </a:cubicBezTo>
                <a:cubicBezTo>
                  <a:pt x="231" y="217"/>
                  <a:pt x="230" y="216"/>
                  <a:pt x="229" y="216"/>
                </a:cubicBezTo>
                <a:cubicBezTo>
                  <a:pt x="229" y="216"/>
                  <a:pt x="230" y="215"/>
                  <a:pt x="230" y="215"/>
                </a:cubicBezTo>
                <a:cubicBezTo>
                  <a:pt x="230" y="214"/>
                  <a:pt x="232" y="217"/>
                  <a:pt x="234" y="218"/>
                </a:cubicBezTo>
                <a:cubicBezTo>
                  <a:pt x="235" y="219"/>
                  <a:pt x="242" y="224"/>
                  <a:pt x="243" y="226"/>
                </a:cubicBezTo>
                <a:cubicBezTo>
                  <a:pt x="244" y="228"/>
                  <a:pt x="241" y="224"/>
                  <a:pt x="240" y="224"/>
                </a:cubicBezTo>
                <a:cubicBezTo>
                  <a:pt x="239" y="222"/>
                  <a:pt x="235" y="220"/>
                  <a:pt x="232" y="218"/>
                </a:cubicBezTo>
                <a:cubicBezTo>
                  <a:pt x="233" y="219"/>
                  <a:pt x="233" y="219"/>
                  <a:pt x="232" y="219"/>
                </a:cubicBezTo>
                <a:cubicBezTo>
                  <a:pt x="232" y="219"/>
                  <a:pt x="232" y="218"/>
                  <a:pt x="232" y="218"/>
                </a:cubicBezTo>
                <a:close/>
                <a:moveTo>
                  <a:pt x="233" y="254"/>
                </a:moveTo>
                <a:cubicBezTo>
                  <a:pt x="233" y="254"/>
                  <a:pt x="232" y="253"/>
                  <a:pt x="232" y="253"/>
                </a:cubicBezTo>
                <a:cubicBezTo>
                  <a:pt x="232" y="253"/>
                  <a:pt x="234" y="253"/>
                  <a:pt x="233" y="254"/>
                </a:cubicBezTo>
                <a:close/>
                <a:moveTo>
                  <a:pt x="233" y="257"/>
                </a:moveTo>
                <a:cubicBezTo>
                  <a:pt x="232" y="257"/>
                  <a:pt x="232" y="255"/>
                  <a:pt x="233" y="255"/>
                </a:cubicBezTo>
                <a:cubicBezTo>
                  <a:pt x="234" y="254"/>
                  <a:pt x="234" y="257"/>
                  <a:pt x="233" y="257"/>
                </a:cubicBezTo>
                <a:close/>
                <a:moveTo>
                  <a:pt x="234" y="240"/>
                </a:moveTo>
                <a:cubicBezTo>
                  <a:pt x="234" y="240"/>
                  <a:pt x="234" y="240"/>
                  <a:pt x="234" y="239"/>
                </a:cubicBezTo>
                <a:cubicBezTo>
                  <a:pt x="235" y="237"/>
                  <a:pt x="237" y="243"/>
                  <a:pt x="234" y="240"/>
                </a:cubicBezTo>
                <a:close/>
                <a:moveTo>
                  <a:pt x="239" y="261"/>
                </a:moveTo>
                <a:cubicBezTo>
                  <a:pt x="240" y="261"/>
                  <a:pt x="242" y="263"/>
                  <a:pt x="240" y="264"/>
                </a:cubicBezTo>
                <a:cubicBezTo>
                  <a:pt x="238" y="266"/>
                  <a:pt x="235" y="260"/>
                  <a:pt x="239" y="261"/>
                </a:cubicBezTo>
                <a:close/>
                <a:moveTo>
                  <a:pt x="243" y="722"/>
                </a:moveTo>
                <a:cubicBezTo>
                  <a:pt x="243" y="722"/>
                  <a:pt x="243" y="722"/>
                  <a:pt x="243" y="722"/>
                </a:cubicBezTo>
                <a:cubicBezTo>
                  <a:pt x="244" y="724"/>
                  <a:pt x="241" y="719"/>
                  <a:pt x="243" y="722"/>
                </a:cubicBezTo>
                <a:close/>
                <a:moveTo>
                  <a:pt x="240" y="314"/>
                </a:moveTo>
                <a:cubicBezTo>
                  <a:pt x="242" y="315"/>
                  <a:pt x="242" y="318"/>
                  <a:pt x="244" y="319"/>
                </a:cubicBezTo>
                <a:cubicBezTo>
                  <a:pt x="242" y="318"/>
                  <a:pt x="241" y="316"/>
                  <a:pt x="240" y="314"/>
                </a:cubicBezTo>
                <a:close/>
                <a:moveTo>
                  <a:pt x="245" y="274"/>
                </a:moveTo>
                <a:cubicBezTo>
                  <a:pt x="247" y="273"/>
                  <a:pt x="246" y="276"/>
                  <a:pt x="245" y="276"/>
                </a:cubicBezTo>
                <a:cubicBezTo>
                  <a:pt x="244" y="277"/>
                  <a:pt x="243" y="274"/>
                  <a:pt x="245" y="274"/>
                </a:cubicBezTo>
                <a:close/>
                <a:moveTo>
                  <a:pt x="246" y="680"/>
                </a:moveTo>
                <a:cubicBezTo>
                  <a:pt x="244" y="679"/>
                  <a:pt x="247" y="680"/>
                  <a:pt x="246" y="680"/>
                </a:cubicBezTo>
                <a:close/>
                <a:moveTo>
                  <a:pt x="245" y="321"/>
                </a:moveTo>
                <a:cubicBezTo>
                  <a:pt x="248" y="323"/>
                  <a:pt x="245" y="324"/>
                  <a:pt x="245" y="321"/>
                </a:cubicBezTo>
                <a:close/>
                <a:moveTo>
                  <a:pt x="247" y="85"/>
                </a:moveTo>
                <a:cubicBezTo>
                  <a:pt x="246" y="86"/>
                  <a:pt x="245" y="85"/>
                  <a:pt x="245" y="84"/>
                </a:cubicBezTo>
                <a:cubicBezTo>
                  <a:pt x="244" y="83"/>
                  <a:pt x="247" y="83"/>
                  <a:pt x="247" y="85"/>
                </a:cubicBezTo>
                <a:close/>
                <a:moveTo>
                  <a:pt x="246" y="83"/>
                </a:moveTo>
                <a:cubicBezTo>
                  <a:pt x="246" y="82"/>
                  <a:pt x="246" y="83"/>
                  <a:pt x="246" y="83"/>
                </a:cubicBezTo>
                <a:cubicBezTo>
                  <a:pt x="248" y="82"/>
                  <a:pt x="245" y="84"/>
                  <a:pt x="246" y="83"/>
                </a:cubicBezTo>
                <a:close/>
                <a:moveTo>
                  <a:pt x="247" y="96"/>
                </a:moveTo>
                <a:cubicBezTo>
                  <a:pt x="248" y="97"/>
                  <a:pt x="247" y="97"/>
                  <a:pt x="247" y="96"/>
                </a:cubicBezTo>
                <a:close/>
                <a:moveTo>
                  <a:pt x="249" y="170"/>
                </a:moveTo>
                <a:cubicBezTo>
                  <a:pt x="247" y="168"/>
                  <a:pt x="250" y="172"/>
                  <a:pt x="249" y="170"/>
                </a:cubicBezTo>
                <a:close/>
                <a:moveTo>
                  <a:pt x="248" y="146"/>
                </a:moveTo>
                <a:cubicBezTo>
                  <a:pt x="248" y="146"/>
                  <a:pt x="247" y="145"/>
                  <a:pt x="248" y="144"/>
                </a:cubicBezTo>
                <a:cubicBezTo>
                  <a:pt x="250" y="141"/>
                  <a:pt x="251" y="149"/>
                  <a:pt x="248" y="146"/>
                </a:cubicBezTo>
                <a:close/>
                <a:moveTo>
                  <a:pt x="251" y="173"/>
                </a:moveTo>
                <a:cubicBezTo>
                  <a:pt x="249" y="171"/>
                  <a:pt x="252" y="175"/>
                  <a:pt x="251" y="173"/>
                </a:cubicBezTo>
                <a:close/>
                <a:moveTo>
                  <a:pt x="251" y="126"/>
                </a:moveTo>
                <a:cubicBezTo>
                  <a:pt x="251" y="125"/>
                  <a:pt x="252" y="126"/>
                  <a:pt x="252" y="126"/>
                </a:cubicBezTo>
                <a:cubicBezTo>
                  <a:pt x="252" y="126"/>
                  <a:pt x="251" y="126"/>
                  <a:pt x="251" y="126"/>
                </a:cubicBezTo>
                <a:close/>
                <a:moveTo>
                  <a:pt x="254" y="93"/>
                </a:moveTo>
                <a:cubicBezTo>
                  <a:pt x="254" y="93"/>
                  <a:pt x="253" y="93"/>
                  <a:pt x="252" y="93"/>
                </a:cubicBezTo>
                <a:cubicBezTo>
                  <a:pt x="250" y="91"/>
                  <a:pt x="255" y="90"/>
                  <a:pt x="254" y="93"/>
                </a:cubicBezTo>
                <a:close/>
                <a:moveTo>
                  <a:pt x="253" y="639"/>
                </a:moveTo>
                <a:cubicBezTo>
                  <a:pt x="253" y="638"/>
                  <a:pt x="255" y="639"/>
                  <a:pt x="255" y="639"/>
                </a:cubicBezTo>
                <a:cubicBezTo>
                  <a:pt x="256" y="641"/>
                  <a:pt x="252" y="640"/>
                  <a:pt x="253" y="639"/>
                </a:cubicBezTo>
                <a:close/>
                <a:moveTo>
                  <a:pt x="254" y="281"/>
                </a:moveTo>
                <a:cubicBezTo>
                  <a:pt x="256" y="282"/>
                  <a:pt x="255" y="284"/>
                  <a:pt x="254" y="281"/>
                </a:cubicBezTo>
                <a:close/>
                <a:moveTo>
                  <a:pt x="256" y="131"/>
                </a:moveTo>
                <a:cubicBezTo>
                  <a:pt x="258" y="131"/>
                  <a:pt x="257" y="133"/>
                  <a:pt x="256" y="133"/>
                </a:cubicBezTo>
                <a:cubicBezTo>
                  <a:pt x="255" y="133"/>
                  <a:pt x="254" y="131"/>
                  <a:pt x="256" y="131"/>
                </a:cubicBezTo>
                <a:close/>
                <a:moveTo>
                  <a:pt x="256" y="252"/>
                </a:moveTo>
                <a:cubicBezTo>
                  <a:pt x="256" y="252"/>
                  <a:pt x="258" y="254"/>
                  <a:pt x="258" y="254"/>
                </a:cubicBezTo>
                <a:cubicBezTo>
                  <a:pt x="258" y="254"/>
                  <a:pt x="256" y="253"/>
                  <a:pt x="256" y="252"/>
                </a:cubicBezTo>
                <a:close/>
                <a:moveTo>
                  <a:pt x="257" y="723"/>
                </a:moveTo>
                <a:cubicBezTo>
                  <a:pt x="257" y="723"/>
                  <a:pt x="258" y="723"/>
                  <a:pt x="258" y="723"/>
                </a:cubicBezTo>
                <a:cubicBezTo>
                  <a:pt x="260" y="724"/>
                  <a:pt x="256" y="723"/>
                  <a:pt x="257" y="723"/>
                </a:cubicBezTo>
                <a:close/>
                <a:moveTo>
                  <a:pt x="257" y="608"/>
                </a:moveTo>
                <a:cubicBezTo>
                  <a:pt x="258" y="607"/>
                  <a:pt x="261" y="610"/>
                  <a:pt x="260" y="610"/>
                </a:cubicBezTo>
                <a:cubicBezTo>
                  <a:pt x="265" y="613"/>
                  <a:pt x="273" y="615"/>
                  <a:pt x="279" y="618"/>
                </a:cubicBezTo>
                <a:cubicBezTo>
                  <a:pt x="279" y="618"/>
                  <a:pt x="281" y="619"/>
                  <a:pt x="281" y="619"/>
                </a:cubicBezTo>
                <a:cubicBezTo>
                  <a:pt x="282" y="621"/>
                  <a:pt x="264" y="613"/>
                  <a:pt x="261" y="611"/>
                </a:cubicBezTo>
                <a:cubicBezTo>
                  <a:pt x="261" y="611"/>
                  <a:pt x="256" y="609"/>
                  <a:pt x="257" y="608"/>
                </a:cubicBezTo>
                <a:close/>
                <a:moveTo>
                  <a:pt x="271" y="686"/>
                </a:moveTo>
                <a:cubicBezTo>
                  <a:pt x="271" y="688"/>
                  <a:pt x="269" y="684"/>
                  <a:pt x="270" y="686"/>
                </a:cubicBezTo>
                <a:cubicBezTo>
                  <a:pt x="270" y="686"/>
                  <a:pt x="271" y="686"/>
                  <a:pt x="271" y="686"/>
                </a:cubicBezTo>
                <a:close/>
                <a:moveTo>
                  <a:pt x="270" y="730"/>
                </a:moveTo>
                <a:cubicBezTo>
                  <a:pt x="270" y="731"/>
                  <a:pt x="268" y="729"/>
                  <a:pt x="270" y="730"/>
                </a:cubicBezTo>
                <a:close/>
                <a:moveTo>
                  <a:pt x="269" y="705"/>
                </a:moveTo>
                <a:cubicBezTo>
                  <a:pt x="269" y="705"/>
                  <a:pt x="271" y="705"/>
                  <a:pt x="271" y="705"/>
                </a:cubicBezTo>
                <a:cubicBezTo>
                  <a:pt x="272" y="707"/>
                  <a:pt x="268" y="706"/>
                  <a:pt x="269" y="705"/>
                </a:cubicBezTo>
                <a:close/>
                <a:moveTo>
                  <a:pt x="270" y="699"/>
                </a:moveTo>
                <a:cubicBezTo>
                  <a:pt x="272" y="697"/>
                  <a:pt x="273" y="701"/>
                  <a:pt x="270" y="699"/>
                </a:cubicBezTo>
                <a:close/>
                <a:moveTo>
                  <a:pt x="277" y="747"/>
                </a:moveTo>
                <a:cubicBezTo>
                  <a:pt x="275" y="746"/>
                  <a:pt x="279" y="748"/>
                  <a:pt x="277" y="747"/>
                </a:cubicBezTo>
                <a:close/>
                <a:moveTo>
                  <a:pt x="277" y="671"/>
                </a:moveTo>
                <a:cubicBezTo>
                  <a:pt x="279" y="670"/>
                  <a:pt x="279" y="671"/>
                  <a:pt x="279" y="671"/>
                </a:cubicBezTo>
                <a:cubicBezTo>
                  <a:pt x="281" y="673"/>
                  <a:pt x="276" y="671"/>
                  <a:pt x="277" y="671"/>
                </a:cubicBezTo>
                <a:close/>
                <a:moveTo>
                  <a:pt x="280" y="741"/>
                </a:moveTo>
                <a:cubicBezTo>
                  <a:pt x="280" y="740"/>
                  <a:pt x="284" y="740"/>
                  <a:pt x="285" y="741"/>
                </a:cubicBezTo>
                <a:cubicBezTo>
                  <a:pt x="285" y="743"/>
                  <a:pt x="280" y="742"/>
                  <a:pt x="280" y="741"/>
                </a:cubicBezTo>
                <a:close/>
                <a:moveTo>
                  <a:pt x="284" y="510"/>
                </a:moveTo>
                <a:cubicBezTo>
                  <a:pt x="284" y="510"/>
                  <a:pt x="285" y="510"/>
                  <a:pt x="286" y="510"/>
                </a:cubicBezTo>
                <a:cubicBezTo>
                  <a:pt x="287" y="512"/>
                  <a:pt x="283" y="512"/>
                  <a:pt x="284" y="510"/>
                </a:cubicBezTo>
                <a:close/>
                <a:moveTo>
                  <a:pt x="286" y="669"/>
                </a:moveTo>
                <a:cubicBezTo>
                  <a:pt x="286" y="667"/>
                  <a:pt x="289" y="668"/>
                  <a:pt x="289" y="669"/>
                </a:cubicBezTo>
                <a:cubicBezTo>
                  <a:pt x="290" y="671"/>
                  <a:pt x="286" y="670"/>
                  <a:pt x="286" y="669"/>
                </a:cubicBezTo>
                <a:close/>
                <a:moveTo>
                  <a:pt x="308" y="749"/>
                </a:moveTo>
                <a:cubicBezTo>
                  <a:pt x="302" y="750"/>
                  <a:pt x="295" y="748"/>
                  <a:pt x="288" y="746"/>
                </a:cubicBezTo>
                <a:cubicBezTo>
                  <a:pt x="294" y="747"/>
                  <a:pt x="301" y="748"/>
                  <a:pt x="308" y="749"/>
                </a:cubicBezTo>
                <a:close/>
              </a:path>
            </a:pathLst>
          </a:custGeom>
          <a:solidFill>
            <a:schemeClr val="accent4">
              <a:alpha val="40000"/>
            </a:schemeClr>
          </a:solidFill>
          <a:ln>
            <a:noFill/>
          </a:ln>
        </p:spPr>
        <p:txBody>
          <a:bodyPr vert="horz" wrap="square" lIns="91440" tIns="45720" rIns="91440" bIns="45720" numCol="1" anchor="t" anchorCtr="0" compatLnSpc="1">
            <a:prstTxWarp prst="textNoShape">
              <a:avLst/>
            </a:prstTxWarp>
          </a:bodyPr>
          <a:lstStyle/>
          <a:p>
            <a:endParaRPr lang="en-ID"/>
          </a:p>
        </p:txBody>
      </p:sp>
      <p:sp>
        <p:nvSpPr>
          <p:cNvPr id="136" name="Freeform 131">
            <a:extLst>
              <a:ext uri="{FF2B5EF4-FFF2-40B4-BE49-F238E27FC236}">
                <a16:creationId xmlns:a16="http://schemas.microsoft.com/office/drawing/2014/main" id="{EEB340F0-16BF-4ABF-969D-1FEB0C2FEBB3}"/>
              </a:ext>
            </a:extLst>
          </p:cNvPr>
          <p:cNvSpPr>
            <a:spLocks noEditPoints="1"/>
          </p:cNvSpPr>
          <p:nvPr/>
        </p:nvSpPr>
        <p:spPr bwMode="auto">
          <a:xfrm>
            <a:off x="0" y="-3705224"/>
            <a:ext cx="5716692" cy="6581774"/>
          </a:xfrm>
          <a:custGeom>
            <a:avLst/>
            <a:gdLst>
              <a:gd name="T0" fmla="*/ 472 w 680"/>
              <a:gd name="T1" fmla="*/ 703 h 784"/>
              <a:gd name="T2" fmla="*/ 510 w 680"/>
              <a:gd name="T3" fmla="*/ 633 h 784"/>
              <a:gd name="T4" fmla="*/ 527 w 680"/>
              <a:gd name="T5" fmla="*/ 618 h 784"/>
              <a:gd name="T6" fmla="*/ 559 w 680"/>
              <a:gd name="T7" fmla="*/ 657 h 784"/>
              <a:gd name="T8" fmla="*/ 551 w 680"/>
              <a:gd name="T9" fmla="*/ 603 h 784"/>
              <a:gd name="T10" fmla="*/ 581 w 680"/>
              <a:gd name="T11" fmla="*/ 564 h 784"/>
              <a:gd name="T12" fmla="*/ 625 w 680"/>
              <a:gd name="T13" fmla="*/ 572 h 784"/>
              <a:gd name="T14" fmla="*/ 679 w 680"/>
              <a:gd name="T15" fmla="*/ 423 h 784"/>
              <a:gd name="T16" fmla="*/ 245 w 680"/>
              <a:gd name="T17" fmla="*/ 55 h 784"/>
              <a:gd name="T18" fmla="*/ 197 w 680"/>
              <a:gd name="T19" fmla="*/ 116 h 784"/>
              <a:gd name="T20" fmla="*/ 139 w 680"/>
              <a:gd name="T21" fmla="*/ 176 h 784"/>
              <a:gd name="T22" fmla="*/ 91 w 680"/>
              <a:gd name="T23" fmla="*/ 199 h 784"/>
              <a:gd name="T24" fmla="*/ 61 w 680"/>
              <a:gd name="T25" fmla="*/ 218 h 784"/>
              <a:gd name="T26" fmla="*/ 38 w 680"/>
              <a:gd name="T27" fmla="*/ 290 h 784"/>
              <a:gd name="T28" fmla="*/ 55 w 680"/>
              <a:gd name="T29" fmla="*/ 350 h 784"/>
              <a:gd name="T30" fmla="*/ 6 w 680"/>
              <a:gd name="T31" fmla="*/ 262 h 784"/>
              <a:gd name="T32" fmla="*/ 492 w 680"/>
              <a:gd name="T33" fmla="*/ 624 h 784"/>
              <a:gd name="T34" fmla="*/ 552 w 680"/>
              <a:gd name="T35" fmla="*/ 574 h 784"/>
              <a:gd name="T36" fmla="*/ 633 w 680"/>
              <a:gd name="T37" fmla="*/ 545 h 784"/>
              <a:gd name="T38" fmla="*/ 641 w 680"/>
              <a:gd name="T39" fmla="*/ 482 h 784"/>
              <a:gd name="T40" fmla="*/ 625 w 680"/>
              <a:gd name="T41" fmla="*/ 439 h 784"/>
              <a:gd name="T42" fmla="*/ 595 w 680"/>
              <a:gd name="T43" fmla="*/ 520 h 784"/>
              <a:gd name="T44" fmla="*/ 561 w 680"/>
              <a:gd name="T45" fmla="*/ 516 h 784"/>
              <a:gd name="T46" fmla="*/ 539 w 680"/>
              <a:gd name="T47" fmla="*/ 439 h 784"/>
              <a:gd name="T48" fmla="*/ 26 w 680"/>
              <a:gd name="T49" fmla="*/ 245 h 784"/>
              <a:gd name="T50" fmla="*/ 44 w 680"/>
              <a:gd name="T51" fmla="*/ 264 h 784"/>
              <a:gd name="T52" fmla="*/ 68 w 680"/>
              <a:gd name="T53" fmla="*/ 289 h 784"/>
              <a:gd name="T54" fmla="*/ 46 w 680"/>
              <a:gd name="T55" fmla="*/ 337 h 784"/>
              <a:gd name="T56" fmla="*/ 75 w 680"/>
              <a:gd name="T57" fmla="*/ 351 h 784"/>
              <a:gd name="T58" fmla="*/ 149 w 680"/>
              <a:gd name="T59" fmla="*/ 200 h 784"/>
              <a:gd name="T60" fmla="*/ 124 w 680"/>
              <a:gd name="T61" fmla="*/ 222 h 784"/>
              <a:gd name="T62" fmla="*/ 95 w 680"/>
              <a:gd name="T63" fmla="*/ 257 h 784"/>
              <a:gd name="T64" fmla="*/ 117 w 680"/>
              <a:gd name="T65" fmla="*/ 400 h 784"/>
              <a:gd name="T66" fmla="*/ 177 w 680"/>
              <a:gd name="T67" fmla="*/ 200 h 784"/>
              <a:gd name="T68" fmla="*/ 181 w 680"/>
              <a:gd name="T69" fmla="*/ 290 h 784"/>
              <a:gd name="T70" fmla="*/ 306 w 680"/>
              <a:gd name="T71" fmla="*/ 205 h 784"/>
              <a:gd name="T72" fmla="*/ 350 w 680"/>
              <a:gd name="T73" fmla="*/ 136 h 784"/>
              <a:gd name="T74" fmla="*/ 366 w 680"/>
              <a:gd name="T75" fmla="*/ 677 h 784"/>
              <a:gd name="T76" fmla="*/ 346 w 680"/>
              <a:gd name="T77" fmla="*/ 657 h 784"/>
              <a:gd name="T78" fmla="*/ 328 w 680"/>
              <a:gd name="T79" fmla="*/ 658 h 784"/>
              <a:gd name="T80" fmla="*/ 368 w 680"/>
              <a:gd name="T81" fmla="*/ 740 h 784"/>
              <a:gd name="T82" fmla="*/ 421 w 680"/>
              <a:gd name="T83" fmla="*/ 663 h 784"/>
              <a:gd name="T84" fmla="*/ 446 w 680"/>
              <a:gd name="T85" fmla="*/ 640 h 784"/>
              <a:gd name="T86" fmla="*/ 451 w 680"/>
              <a:gd name="T87" fmla="*/ 566 h 784"/>
              <a:gd name="T88" fmla="*/ 426 w 680"/>
              <a:gd name="T89" fmla="*/ 681 h 784"/>
              <a:gd name="T90" fmla="*/ 399 w 680"/>
              <a:gd name="T91" fmla="*/ 697 h 784"/>
              <a:gd name="T92" fmla="*/ 437 w 680"/>
              <a:gd name="T93" fmla="*/ 693 h 784"/>
              <a:gd name="T94" fmla="*/ 467 w 680"/>
              <a:gd name="T95" fmla="*/ 683 h 784"/>
              <a:gd name="T96" fmla="*/ 482 w 680"/>
              <a:gd name="T97" fmla="*/ 621 h 784"/>
              <a:gd name="T98" fmla="*/ 499 w 680"/>
              <a:gd name="T99" fmla="*/ 528 h 784"/>
              <a:gd name="T100" fmla="*/ 523 w 680"/>
              <a:gd name="T101" fmla="*/ 458 h 784"/>
              <a:gd name="T102" fmla="*/ 495 w 680"/>
              <a:gd name="T103" fmla="*/ 148 h 784"/>
              <a:gd name="T104" fmla="*/ 461 w 680"/>
              <a:gd name="T105" fmla="*/ 536 h 784"/>
              <a:gd name="T106" fmla="*/ 401 w 680"/>
              <a:gd name="T107" fmla="*/ 117 h 784"/>
              <a:gd name="T108" fmla="*/ 364 w 680"/>
              <a:gd name="T109" fmla="*/ 54 h 784"/>
              <a:gd name="T110" fmla="*/ 314 w 680"/>
              <a:gd name="T111" fmla="*/ 88 h 784"/>
              <a:gd name="T112" fmla="*/ 267 w 680"/>
              <a:gd name="T113" fmla="*/ 262 h 784"/>
              <a:gd name="T114" fmla="*/ 280 w 680"/>
              <a:gd name="T115" fmla="*/ 66 h 784"/>
              <a:gd name="T116" fmla="*/ 241 w 680"/>
              <a:gd name="T117" fmla="*/ 67 h 784"/>
              <a:gd name="T118" fmla="*/ 212 w 680"/>
              <a:gd name="T119" fmla="*/ 179 h 784"/>
              <a:gd name="T120" fmla="*/ 194 w 680"/>
              <a:gd name="T121" fmla="*/ 242 h 784"/>
              <a:gd name="T122" fmla="*/ 222 w 680"/>
              <a:gd name="T123" fmla="*/ 327 h 784"/>
              <a:gd name="T124" fmla="*/ 256 w 680"/>
              <a:gd name="T125" fmla="*/ 133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0" h="784">
                <a:moveTo>
                  <a:pt x="298" y="758"/>
                </a:moveTo>
                <a:cubicBezTo>
                  <a:pt x="300" y="757"/>
                  <a:pt x="304" y="758"/>
                  <a:pt x="305" y="756"/>
                </a:cubicBezTo>
                <a:cubicBezTo>
                  <a:pt x="305" y="756"/>
                  <a:pt x="304" y="755"/>
                  <a:pt x="305" y="755"/>
                </a:cubicBezTo>
                <a:cubicBezTo>
                  <a:pt x="307" y="753"/>
                  <a:pt x="311" y="754"/>
                  <a:pt x="312" y="754"/>
                </a:cubicBezTo>
                <a:cubicBezTo>
                  <a:pt x="324" y="757"/>
                  <a:pt x="318" y="767"/>
                  <a:pt x="306" y="764"/>
                </a:cubicBezTo>
                <a:cubicBezTo>
                  <a:pt x="304" y="763"/>
                  <a:pt x="305" y="762"/>
                  <a:pt x="302" y="762"/>
                </a:cubicBezTo>
                <a:cubicBezTo>
                  <a:pt x="340" y="784"/>
                  <a:pt x="340" y="784"/>
                  <a:pt x="340" y="784"/>
                </a:cubicBezTo>
                <a:cubicBezTo>
                  <a:pt x="340" y="783"/>
                  <a:pt x="341" y="783"/>
                  <a:pt x="341" y="783"/>
                </a:cubicBezTo>
                <a:cubicBezTo>
                  <a:pt x="344" y="782"/>
                  <a:pt x="344" y="782"/>
                  <a:pt x="344" y="782"/>
                </a:cubicBezTo>
                <a:cubicBezTo>
                  <a:pt x="344" y="782"/>
                  <a:pt x="343" y="782"/>
                  <a:pt x="343" y="781"/>
                </a:cubicBezTo>
                <a:cubicBezTo>
                  <a:pt x="344" y="781"/>
                  <a:pt x="344" y="781"/>
                  <a:pt x="344" y="782"/>
                </a:cubicBezTo>
                <a:cubicBezTo>
                  <a:pt x="346" y="781"/>
                  <a:pt x="346" y="781"/>
                  <a:pt x="346" y="781"/>
                </a:cubicBezTo>
                <a:cubicBezTo>
                  <a:pt x="346" y="780"/>
                  <a:pt x="345" y="780"/>
                  <a:pt x="345" y="779"/>
                </a:cubicBezTo>
                <a:cubicBezTo>
                  <a:pt x="345" y="777"/>
                  <a:pt x="351" y="775"/>
                  <a:pt x="354" y="776"/>
                </a:cubicBezTo>
                <a:cubicBezTo>
                  <a:pt x="363" y="770"/>
                  <a:pt x="363" y="770"/>
                  <a:pt x="363" y="770"/>
                </a:cubicBezTo>
                <a:cubicBezTo>
                  <a:pt x="363" y="770"/>
                  <a:pt x="363" y="770"/>
                  <a:pt x="363" y="770"/>
                </a:cubicBezTo>
                <a:cubicBezTo>
                  <a:pt x="363" y="770"/>
                  <a:pt x="360" y="768"/>
                  <a:pt x="361" y="766"/>
                </a:cubicBezTo>
                <a:cubicBezTo>
                  <a:pt x="361" y="765"/>
                  <a:pt x="364" y="765"/>
                  <a:pt x="364" y="765"/>
                </a:cubicBezTo>
                <a:cubicBezTo>
                  <a:pt x="366" y="762"/>
                  <a:pt x="364" y="765"/>
                  <a:pt x="366" y="764"/>
                </a:cubicBezTo>
                <a:cubicBezTo>
                  <a:pt x="366" y="764"/>
                  <a:pt x="367" y="763"/>
                  <a:pt x="367" y="763"/>
                </a:cubicBezTo>
                <a:cubicBezTo>
                  <a:pt x="369" y="763"/>
                  <a:pt x="371" y="764"/>
                  <a:pt x="372" y="766"/>
                </a:cubicBezTo>
                <a:cubicBezTo>
                  <a:pt x="420" y="738"/>
                  <a:pt x="420" y="738"/>
                  <a:pt x="420" y="738"/>
                </a:cubicBezTo>
                <a:cubicBezTo>
                  <a:pt x="420" y="737"/>
                  <a:pt x="419" y="737"/>
                  <a:pt x="419" y="737"/>
                </a:cubicBezTo>
                <a:cubicBezTo>
                  <a:pt x="419" y="735"/>
                  <a:pt x="420" y="737"/>
                  <a:pt x="421" y="737"/>
                </a:cubicBezTo>
                <a:cubicBezTo>
                  <a:pt x="419" y="734"/>
                  <a:pt x="424" y="734"/>
                  <a:pt x="423" y="732"/>
                </a:cubicBezTo>
                <a:cubicBezTo>
                  <a:pt x="425" y="733"/>
                  <a:pt x="426" y="733"/>
                  <a:pt x="428" y="733"/>
                </a:cubicBezTo>
                <a:cubicBezTo>
                  <a:pt x="444" y="724"/>
                  <a:pt x="444" y="724"/>
                  <a:pt x="444" y="724"/>
                </a:cubicBezTo>
                <a:cubicBezTo>
                  <a:pt x="442" y="723"/>
                  <a:pt x="441" y="723"/>
                  <a:pt x="440" y="723"/>
                </a:cubicBezTo>
                <a:cubicBezTo>
                  <a:pt x="439" y="723"/>
                  <a:pt x="439" y="724"/>
                  <a:pt x="438" y="724"/>
                </a:cubicBezTo>
                <a:cubicBezTo>
                  <a:pt x="438" y="724"/>
                  <a:pt x="431" y="722"/>
                  <a:pt x="431" y="721"/>
                </a:cubicBezTo>
                <a:cubicBezTo>
                  <a:pt x="430" y="721"/>
                  <a:pt x="429" y="718"/>
                  <a:pt x="429" y="718"/>
                </a:cubicBezTo>
                <a:cubicBezTo>
                  <a:pt x="429" y="718"/>
                  <a:pt x="428" y="718"/>
                  <a:pt x="428" y="717"/>
                </a:cubicBezTo>
                <a:cubicBezTo>
                  <a:pt x="428" y="716"/>
                  <a:pt x="432" y="715"/>
                  <a:pt x="436" y="715"/>
                </a:cubicBezTo>
                <a:cubicBezTo>
                  <a:pt x="436" y="715"/>
                  <a:pt x="436" y="715"/>
                  <a:pt x="436" y="715"/>
                </a:cubicBezTo>
                <a:cubicBezTo>
                  <a:pt x="436" y="715"/>
                  <a:pt x="436" y="715"/>
                  <a:pt x="436" y="715"/>
                </a:cubicBezTo>
                <a:cubicBezTo>
                  <a:pt x="437" y="715"/>
                  <a:pt x="437" y="715"/>
                  <a:pt x="438" y="715"/>
                </a:cubicBezTo>
                <a:cubicBezTo>
                  <a:pt x="440" y="714"/>
                  <a:pt x="442" y="713"/>
                  <a:pt x="440" y="711"/>
                </a:cubicBezTo>
                <a:cubicBezTo>
                  <a:pt x="441" y="712"/>
                  <a:pt x="437" y="712"/>
                  <a:pt x="437" y="711"/>
                </a:cubicBezTo>
                <a:cubicBezTo>
                  <a:pt x="437" y="711"/>
                  <a:pt x="444" y="710"/>
                  <a:pt x="443" y="708"/>
                </a:cubicBezTo>
                <a:cubicBezTo>
                  <a:pt x="443" y="709"/>
                  <a:pt x="440" y="706"/>
                  <a:pt x="441" y="706"/>
                </a:cubicBezTo>
                <a:cubicBezTo>
                  <a:pt x="441" y="705"/>
                  <a:pt x="444" y="705"/>
                  <a:pt x="446" y="705"/>
                </a:cubicBezTo>
                <a:cubicBezTo>
                  <a:pt x="446" y="705"/>
                  <a:pt x="446" y="704"/>
                  <a:pt x="446" y="704"/>
                </a:cubicBezTo>
                <a:cubicBezTo>
                  <a:pt x="446" y="704"/>
                  <a:pt x="446" y="703"/>
                  <a:pt x="446" y="703"/>
                </a:cubicBezTo>
                <a:cubicBezTo>
                  <a:pt x="445" y="702"/>
                  <a:pt x="444" y="703"/>
                  <a:pt x="445" y="701"/>
                </a:cubicBezTo>
                <a:cubicBezTo>
                  <a:pt x="443" y="702"/>
                  <a:pt x="442" y="702"/>
                  <a:pt x="440" y="703"/>
                </a:cubicBezTo>
                <a:cubicBezTo>
                  <a:pt x="442" y="703"/>
                  <a:pt x="442" y="700"/>
                  <a:pt x="443" y="700"/>
                </a:cubicBezTo>
                <a:cubicBezTo>
                  <a:pt x="446" y="700"/>
                  <a:pt x="443" y="700"/>
                  <a:pt x="442" y="698"/>
                </a:cubicBezTo>
                <a:cubicBezTo>
                  <a:pt x="441" y="699"/>
                  <a:pt x="442" y="699"/>
                  <a:pt x="442" y="700"/>
                </a:cubicBezTo>
                <a:cubicBezTo>
                  <a:pt x="440" y="705"/>
                  <a:pt x="434" y="698"/>
                  <a:pt x="437" y="696"/>
                </a:cubicBezTo>
                <a:cubicBezTo>
                  <a:pt x="438" y="696"/>
                  <a:pt x="441" y="698"/>
                  <a:pt x="441" y="697"/>
                </a:cubicBezTo>
                <a:cubicBezTo>
                  <a:pt x="443" y="697"/>
                  <a:pt x="443" y="696"/>
                  <a:pt x="443" y="694"/>
                </a:cubicBezTo>
                <a:cubicBezTo>
                  <a:pt x="444" y="694"/>
                  <a:pt x="445" y="695"/>
                  <a:pt x="447" y="695"/>
                </a:cubicBezTo>
                <a:cubicBezTo>
                  <a:pt x="447" y="695"/>
                  <a:pt x="446" y="694"/>
                  <a:pt x="447" y="694"/>
                </a:cubicBezTo>
                <a:cubicBezTo>
                  <a:pt x="448" y="692"/>
                  <a:pt x="454" y="695"/>
                  <a:pt x="453" y="693"/>
                </a:cubicBezTo>
                <a:cubicBezTo>
                  <a:pt x="454" y="693"/>
                  <a:pt x="454" y="693"/>
                  <a:pt x="454" y="693"/>
                </a:cubicBezTo>
                <a:cubicBezTo>
                  <a:pt x="454" y="693"/>
                  <a:pt x="454" y="693"/>
                  <a:pt x="454" y="693"/>
                </a:cubicBezTo>
                <a:cubicBezTo>
                  <a:pt x="455" y="693"/>
                  <a:pt x="455" y="693"/>
                  <a:pt x="455" y="693"/>
                </a:cubicBezTo>
                <a:cubicBezTo>
                  <a:pt x="454" y="693"/>
                  <a:pt x="454" y="693"/>
                  <a:pt x="454" y="693"/>
                </a:cubicBezTo>
                <a:cubicBezTo>
                  <a:pt x="455" y="694"/>
                  <a:pt x="456" y="697"/>
                  <a:pt x="457" y="699"/>
                </a:cubicBezTo>
                <a:cubicBezTo>
                  <a:pt x="457" y="700"/>
                  <a:pt x="458" y="700"/>
                  <a:pt x="458" y="701"/>
                </a:cubicBezTo>
                <a:cubicBezTo>
                  <a:pt x="457" y="702"/>
                  <a:pt x="455" y="700"/>
                  <a:pt x="455" y="702"/>
                </a:cubicBezTo>
                <a:cubicBezTo>
                  <a:pt x="455" y="706"/>
                  <a:pt x="463" y="704"/>
                  <a:pt x="461" y="698"/>
                </a:cubicBezTo>
                <a:cubicBezTo>
                  <a:pt x="463" y="700"/>
                  <a:pt x="465" y="701"/>
                  <a:pt x="466" y="703"/>
                </a:cubicBezTo>
                <a:cubicBezTo>
                  <a:pt x="466" y="702"/>
                  <a:pt x="468" y="702"/>
                  <a:pt x="468" y="703"/>
                </a:cubicBezTo>
                <a:cubicBezTo>
                  <a:pt x="469" y="704"/>
                  <a:pt x="467" y="704"/>
                  <a:pt x="466" y="703"/>
                </a:cubicBezTo>
                <a:cubicBezTo>
                  <a:pt x="467" y="704"/>
                  <a:pt x="467" y="704"/>
                  <a:pt x="467" y="705"/>
                </a:cubicBezTo>
                <a:cubicBezTo>
                  <a:pt x="467" y="705"/>
                  <a:pt x="468" y="704"/>
                  <a:pt x="468" y="705"/>
                </a:cubicBezTo>
                <a:cubicBezTo>
                  <a:pt x="468" y="706"/>
                  <a:pt x="467" y="706"/>
                  <a:pt x="467" y="705"/>
                </a:cubicBezTo>
                <a:cubicBezTo>
                  <a:pt x="467" y="706"/>
                  <a:pt x="467" y="706"/>
                  <a:pt x="467" y="707"/>
                </a:cubicBezTo>
                <a:cubicBezTo>
                  <a:pt x="467" y="706"/>
                  <a:pt x="469" y="707"/>
                  <a:pt x="471" y="706"/>
                </a:cubicBezTo>
                <a:cubicBezTo>
                  <a:pt x="471" y="706"/>
                  <a:pt x="471" y="706"/>
                  <a:pt x="471" y="706"/>
                </a:cubicBezTo>
                <a:cubicBezTo>
                  <a:pt x="472" y="706"/>
                  <a:pt x="472" y="706"/>
                  <a:pt x="472" y="706"/>
                </a:cubicBezTo>
                <a:cubicBezTo>
                  <a:pt x="472" y="706"/>
                  <a:pt x="472" y="706"/>
                  <a:pt x="472" y="706"/>
                </a:cubicBezTo>
                <a:cubicBezTo>
                  <a:pt x="472" y="706"/>
                  <a:pt x="473" y="706"/>
                  <a:pt x="474" y="706"/>
                </a:cubicBezTo>
                <a:cubicBezTo>
                  <a:pt x="474" y="706"/>
                  <a:pt x="474" y="705"/>
                  <a:pt x="472" y="705"/>
                </a:cubicBezTo>
                <a:cubicBezTo>
                  <a:pt x="472" y="704"/>
                  <a:pt x="475" y="705"/>
                  <a:pt x="476" y="705"/>
                </a:cubicBezTo>
                <a:cubicBezTo>
                  <a:pt x="476" y="705"/>
                  <a:pt x="476" y="705"/>
                  <a:pt x="476" y="705"/>
                </a:cubicBezTo>
                <a:cubicBezTo>
                  <a:pt x="476" y="705"/>
                  <a:pt x="475" y="704"/>
                  <a:pt x="475" y="704"/>
                </a:cubicBezTo>
                <a:cubicBezTo>
                  <a:pt x="474" y="705"/>
                  <a:pt x="471" y="704"/>
                  <a:pt x="472" y="703"/>
                </a:cubicBezTo>
                <a:cubicBezTo>
                  <a:pt x="473" y="703"/>
                  <a:pt x="473" y="703"/>
                  <a:pt x="473" y="703"/>
                </a:cubicBezTo>
                <a:cubicBezTo>
                  <a:pt x="473" y="703"/>
                  <a:pt x="473" y="703"/>
                  <a:pt x="473" y="702"/>
                </a:cubicBezTo>
                <a:cubicBezTo>
                  <a:pt x="473" y="703"/>
                  <a:pt x="475" y="702"/>
                  <a:pt x="475" y="703"/>
                </a:cubicBezTo>
                <a:cubicBezTo>
                  <a:pt x="474" y="701"/>
                  <a:pt x="472" y="701"/>
                  <a:pt x="472" y="700"/>
                </a:cubicBezTo>
                <a:cubicBezTo>
                  <a:pt x="474" y="698"/>
                  <a:pt x="477" y="703"/>
                  <a:pt x="479" y="702"/>
                </a:cubicBezTo>
                <a:cubicBezTo>
                  <a:pt x="479" y="702"/>
                  <a:pt x="479" y="702"/>
                  <a:pt x="479" y="702"/>
                </a:cubicBezTo>
                <a:cubicBezTo>
                  <a:pt x="479" y="702"/>
                  <a:pt x="479" y="702"/>
                  <a:pt x="479" y="702"/>
                </a:cubicBezTo>
                <a:cubicBezTo>
                  <a:pt x="477" y="700"/>
                  <a:pt x="473" y="698"/>
                  <a:pt x="476" y="697"/>
                </a:cubicBezTo>
                <a:cubicBezTo>
                  <a:pt x="475" y="697"/>
                  <a:pt x="475" y="697"/>
                  <a:pt x="474" y="696"/>
                </a:cubicBezTo>
                <a:cubicBezTo>
                  <a:pt x="474" y="696"/>
                  <a:pt x="474" y="695"/>
                  <a:pt x="474" y="695"/>
                </a:cubicBezTo>
                <a:cubicBezTo>
                  <a:pt x="474" y="695"/>
                  <a:pt x="474" y="695"/>
                  <a:pt x="474" y="695"/>
                </a:cubicBezTo>
                <a:cubicBezTo>
                  <a:pt x="474" y="694"/>
                  <a:pt x="476" y="693"/>
                  <a:pt x="476" y="694"/>
                </a:cubicBezTo>
                <a:cubicBezTo>
                  <a:pt x="479" y="694"/>
                  <a:pt x="485" y="695"/>
                  <a:pt x="481" y="692"/>
                </a:cubicBezTo>
                <a:cubicBezTo>
                  <a:pt x="482" y="693"/>
                  <a:pt x="485" y="690"/>
                  <a:pt x="487" y="693"/>
                </a:cubicBezTo>
                <a:cubicBezTo>
                  <a:pt x="487" y="693"/>
                  <a:pt x="486" y="694"/>
                  <a:pt x="486" y="694"/>
                </a:cubicBezTo>
                <a:cubicBezTo>
                  <a:pt x="487" y="694"/>
                  <a:pt x="494" y="692"/>
                  <a:pt x="494" y="691"/>
                </a:cubicBezTo>
                <a:cubicBezTo>
                  <a:pt x="494" y="691"/>
                  <a:pt x="488" y="688"/>
                  <a:pt x="492" y="687"/>
                </a:cubicBezTo>
                <a:cubicBezTo>
                  <a:pt x="494" y="687"/>
                  <a:pt x="496" y="689"/>
                  <a:pt x="496" y="690"/>
                </a:cubicBezTo>
                <a:cubicBezTo>
                  <a:pt x="496" y="693"/>
                  <a:pt x="499" y="688"/>
                  <a:pt x="499" y="688"/>
                </a:cubicBezTo>
                <a:cubicBezTo>
                  <a:pt x="498" y="686"/>
                  <a:pt x="497" y="688"/>
                  <a:pt x="497" y="686"/>
                </a:cubicBezTo>
                <a:cubicBezTo>
                  <a:pt x="497" y="687"/>
                  <a:pt x="500" y="684"/>
                  <a:pt x="500" y="684"/>
                </a:cubicBezTo>
                <a:cubicBezTo>
                  <a:pt x="501" y="683"/>
                  <a:pt x="500" y="682"/>
                  <a:pt x="503" y="683"/>
                </a:cubicBezTo>
                <a:cubicBezTo>
                  <a:pt x="502" y="683"/>
                  <a:pt x="501" y="682"/>
                  <a:pt x="501" y="681"/>
                </a:cubicBezTo>
                <a:cubicBezTo>
                  <a:pt x="500" y="680"/>
                  <a:pt x="499" y="679"/>
                  <a:pt x="500" y="679"/>
                </a:cubicBezTo>
                <a:cubicBezTo>
                  <a:pt x="500" y="678"/>
                  <a:pt x="500" y="678"/>
                  <a:pt x="501" y="678"/>
                </a:cubicBezTo>
                <a:cubicBezTo>
                  <a:pt x="501" y="678"/>
                  <a:pt x="501" y="678"/>
                  <a:pt x="501" y="678"/>
                </a:cubicBezTo>
                <a:cubicBezTo>
                  <a:pt x="502" y="679"/>
                  <a:pt x="503" y="679"/>
                  <a:pt x="503" y="680"/>
                </a:cubicBezTo>
                <a:cubicBezTo>
                  <a:pt x="503" y="680"/>
                  <a:pt x="503" y="680"/>
                  <a:pt x="504" y="680"/>
                </a:cubicBezTo>
                <a:cubicBezTo>
                  <a:pt x="504" y="680"/>
                  <a:pt x="504" y="680"/>
                  <a:pt x="505" y="679"/>
                </a:cubicBezTo>
                <a:cubicBezTo>
                  <a:pt x="504" y="679"/>
                  <a:pt x="504" y="678"/>
                  <a:pt x="504" y="678"/>
                </a:cubicBezTo>
                <a:cubicBezTo>
                  <a:pt x="505" y="676"/>
                  <a:pt x="508" y="676"/>
                  <a:pt x="509" y="678"/>
                </a:cubicBezTo>
                <a:cubicBezTo>
                  <a:pt x="509" y="677"/>
                  <a:pt x="510" y="677"/>
                  <a:pt x="510" y="677"/>
                </a:cubicBezTo>
                <a:cubicBezTo>
                  <a:pt x="510" y="678"/>
                  <a:pt x="512" y="680"/>
                  <a:pt x="513" y="680"/>
                </a:cubicBezTo>
                <a:cubicBezTo>
                  <a:pt x="513" y="680"/>
                  <a:pt x="513" y="681"/>
                  <a:pt x="513" y="681"/>
                </a:cubicBezTo>
                <a:cubicBezTo>
                  <a:pt x="513" y="681"/>
                  <a:pt x="513" y="681"/>
                  <a:pt x="513" y="682"/>
                </a:cubicBezTo>
                <a:cubicBezTo>
                  <a:pt x="513" y="682"/>
                  <a:pt x="513" y="682"/>
                  <a:pt x="513" y="682"/>
                </a:cubicBezTo>
                <a:cubicBezTo>
                  <a:pt x="516" y="683"/>
                  <a:pt x="514" y="677"/>
                  <a:pt x="517" y="678"/>
                </a:cubicBezTo>
                <a:cubicBezTo>
                  <a:pt x="515" y="678"/>
                  <a:pt x="514" y="677"/>
                  <a:pt x="514" y="676"/>
                </a:cubicBezTo>
                <a:cubicBezTo>
                  <a:pt x="512" y="676"/>
                  <a:pt x="510" y="674"/>
                  <a:pt x="511" y="673"/>
                </a:cubicBezTo>
                <a:cubicBezTo>
                  <a:pt x="509" y="673"/>
                  <a:pt x="506" y="673"/>
                  <a:pt x="507" y="670"/>
                </a:cubicBezTo>
                <a:cubicBezTo>
                  <a:pt x="507" y="670"/>
                  <a:pt x="506" y="670"/>
                  <a:pt x="506" y="670"/>
                </a:cubicBezTo>
                <a:cubicBezTo>
                  <a:pt x="508" y="672"/>
                  <a:pt x="505" y="672"/>
                  <a:pt x="504" y="671"/>
                </a:cubicBezTo>
                <a:cubicBezTo>
                  <a:pt x="504" y="670"/>
                  <a:pt x="505" y="670"/>
                  <a:pt x="505" y="670"/>
                </a:cubicBezTo>
                <a:cubicBezTo>
                  <a:pt x="505" y="669"/>
                  <a:pt x="503" y="669"/>
                  <a:pt x="503" y="668"/>
                </a:cubicBezTo>
                <a:cubicBezTo>
                  <a:pt x="501" y="666"/>
                  <a:pt x="502" y="664"/>
                  <a:pt x="499" y="664"/>
                </a:cubicBezTo>
                <a:cubicBezTo>
                  <a:pt x="496" y="664"/>
                  <a:pt x="496" y="661"/>
                  <a:pt x="494" y="661"/>
                </a:cubicBezTo>
                <a:cubicBezTo>
                  <a:pt x="493" y="662"/>
                  <a:pt x="493" y="669"/>
                  <a:pt x="489" y="666"/>
                </a:cubicBezTo>
                <a:cubicBezTo>
                  <a:pt x="488" y="665"/>
                  <a:pt x="489" y="665"/>
                  <a:pt x="488" y="665"/>
                </a:cubicBezTo>
                <a:cubicBezTo>
                  <a:pt x="486" y="665"/>
                  <a:pt x="480" y="661"/>
                  <a:pt x="486" y="661"/>
                </a:cubicBezTo>
                <a:cubicBezTo>
                  <a:pt x="487" y="661"/>
                  <a:pt x="488" y="662"/>
                  <a:pt x="488" y="662"/>
                </a:cubicBezTo>
                <a:cubicBezTo>
                  <a:pt x="490" y="663"/>
                  <a:pt x="490" y="661"/>
                  <a:pt x="492" y="660"/>
                </a:cubicBezTo>
                <a:cubicBezTo>
                  <a:pt x="493" y="660"/>
                  <a:pt x="493" y="662"/>
                  <a:pt x="494" y="661"/>
                </a:cubicBezTo>
                <a:cubicBezTo>
                  <a:pt x="495" y="659"/>
                  <a:pt x="491" y="658"/>
                  <a:pt x="491" y="658"/>
                </a:cubicBezTo>
                <a:cubicBezTo>
                  <a:pt x="490" y="658"/>
                  <a:pt x="490" y="661"/>
                  <a:pt x="489" y="659"/>
                </a:cubicBezTo>
                <a:cubicBezTo>
                  <a:pt x="489" y="658"/>
                  <a:pt x="491" y="655"/>
                  <a:pt x="491" y="655"/>
                </a:cubicBezTo>
                <a:cubicBezTo>
                  <a:pt x="492" y="652"/>
                  <a:pt x="491" y="653"/>
                  <a:pt x="494" y="652"/>
                </a:cubicBezTo>
                <a:cubicBezTo>
                  <a:pt x="496" y="652"/>
                  <a:pt x="499" y="654"/>
                  <a:pt x="499" y="655"/>
                </a:cubicBezTo>
                <a:cubicBezTo>
                  <a:pt x="501" y="658"/>
                  <a:pt x="500" y="655"/>
                  <a:pt x="501" y="654"/>
                </a:cubicBezTo>
                <a:cubicBezTo>
                  <a:pt x="502" y="653"/>
                  <a:pt x="504" y="653"/>
                  <a:pt x="506" y="654"/>
                </a:cubicBezTo>
                <a:cubicBezTo>
                  <a:pt x="506" y="652"/>
                  <a:pt x="506" y="651"/>
                  <a:pt x="507" y="651"/>
                </a:cubicBezTo>
                <a:cubicBezTo>
                  <a:pt x="507" y="651"/>
                  <a:pt x="507" y="651"/>
                  <a:pt x="506" y="650"/>
                </a:cubicBezTo>
                <a:cubicBezTo>
                  <a:pt x="507" y="650"/>
                  <a:pt x="507" y="651"/>
                  <a:pt x="507" y="651"/>
                </a:cubicBezTo>
                <a:cubicBezTo>
                  <a:pt x="507" y="651"/>
                  <a:pt x="508" y="651"/>
                  <a:pt x="508" y="651"/>
                </a:cubicBezTo>
                <a:cubicBezTo>
                  <a:pt x="505" y="650"/>
                  <a:pt x="516" y="648"/>
                  <a:pt x="513" y="646"/>
                </a:cubicBezTo>
                <a:cubicBezTo>
                  <a:pt x="513" y="645"/>
                  <a:pt x="513" y="645"/>
                  <a:pt x="512" y="645"/>
                </a:cubicBezTo>
                <a:cubicBezTo>
                  <a:pt x="512" y="645"/>
                  <a:pt x="513" y="645"/>
                  <a:pt x="513" y="644"/>
                </a:cubicBezTo>
                <a:cubicBezTo>
                  <a:pt x="513" y="644"/>
                  <a:pt x="513" y="644"/>
                  <a:pt x="513" y="644"/>
                </a:cubicBezTo>
                <a:cubicBezTo>
                  <a:pt x="513" y="643"/>
                  <a:pt x="512" y="642"/>
                  <a:pt x="512" y="641"/>
                </a:cubicBezTo>
                <a:cubicBezTo>
                  <a:pt x="512" y="640"/>
                  <a:pt x="511" y="640"/>
                  <a:pt x="512" y="639"/>
                </a:cubicBezTo>
                <a:cubicBezTo>
                  <a:pt x="512" y="638"/>
                  <a:pt x="513" y="637"/>
                  <a:pt x="515" y="637"/>
                </a:cubicBezTo>
                <a:cubicBezTo>
                  <a:pt x="518" y="636"/>
                  <a:pt x="513" y="635"/>
                  <a:pt x="512" y="636"/>
                </a:cubicBezTo>
                <a:cubicBezTo>
                  <a:pt x="512" y="637"/>
                  <a:pt x="512" y="637"/>
                  <a:pt x="511" y="637"/>
                </a:cubicBezTo>
                <a:cubicBezTo>
                  <a:pt x="511" y="637"/>
                  <a:pt x="510" y="637"/>
                  <a:pt x="510" y="636"/>
                </a:cubicBezTo>
                <a:cubicBezTo>
                  <a:pt x="508" y="636"/>
                  <a:pt x="506" y="635"/>
                  <a:pt x="505" y="635"/>
                </a:cubicBezTo>
                <a:cubicBezTo>
                  <a:pt x="507" y="635"/>
                  <a:pt x="508" y="635"/>
                  <a:pt x="510" y="635"/>
                </a:cubicBezTo>
                <a:cubicBezTo>
                  <a:pt x="510" y="634"/>
                  <a:pt x="510" y="634"/>
                  <a:pt x="510" y="634"/>
                </a:cubicBezTo>
                <a:cubicBezTo>
                  <a:pt x="510" y="634"/>
                  <a:pt x="511" y="634"/>
                  <a:pt x="511" y="635"/>
                </a:cubicBezTo>
                <a:cubicBezTo>
                  <a:pt x="511" y="635"/>
                  <a:pt x="512" y="635"/>
                  <a:pt x="512" y="635"/>
                </a:cubicBezTo>
                <a:cubicBezTo>
                  <a:pt x="512" y="634"/>
                  <a:pt x="510" y="634"/>
                  <a:pt x="510" y="633"/>
                </a:cubicBezTo>
                <a:cubicBezTo>
                  <a:pt x="511" y="634"/>
                  <a:pt x="512" y="634"/>
                  <a:pt x="513" y="633"/>
                </a:cubicBezTo>
                <a:cubicBezTo>
                  <a:pt x="513" y="633"/>
                  <a:pt x="513" y="633"/>
                  <a:pt x="514" y="633"/>
                </a:cubicBezTo>
                <a:cubicBezTo>
                  <a:pt x="514" y="633"/>
                  <a:pt x="514" y="633"/>
                  <a:pt x="514" y="633"/>
                </a:cubicBezTo>
                <a:cubicBezTo>
                  <a:pt x="514" y="632"/>
                  <a:pt x="514" y="632"/>
                  <a:pt x="513" y="631"/>
                </a:cubicBezTo>
                <a:cubicBezTo>
                  <a:pt x="513" y="631"/>
                  <a:pt x="513" y="631"/>
                  <a:pt x="513" y="631"/>
                </a:cubicBezTo>
                <a:cubicBezTo>
                  <a:pt x="513" y="631"/>
                  <a:pt x="513" y="632"/>
                  <a:pt x="513" y="632"/>
                </a:cubicBezTo>
                <a:cubicBezTo>
                  <a:pt x="513" y="632"/>
                  <a:pt x="513" y="632"/>
                  <a:pt x="513" y="632"/>
                </a:cubicBezTo>
                <a:cubicBezTo>
                  <a:pt x="513" y="632"/>
                  <a:pt x="513" y="632"/>
                  <a:pt x="513" y="633"/>
                </a:cubicBezTo>
                <a:cubicBezTo>
                  <a:pt x="513" y="633"/>
                  <a:pt x="513" y="632"/>
                  <a:pt x="512" y="632"/>
                </a:cubicBezTo>
                <a:cubicBezTo>
                  <a:pt x="512" y="632"/>
                  <a:pt x="512" y="632"/>
                  <a:pt x="512" y="632"/>
                </a:cubicBezTo>
                <a:cubicBezTo>
                  <a:pt x="512" y="631"/>
                  <a:pt x="512" y="631"/>
                  <a:pt x="512" y="631"/>
                </a:cubicBezTo>
                <a:cubicBezTo>
                  <a:pt x="511" y="631"/>
                  <a:pt x="510" y="630"/>
                  <a:pt x="510" y="630"/>
                </a:cubicBezTo>
                <a:cubicBezTo>
                  <a:pt x="510" y="630"/>
                  <a:pt x="509" y="631"/>
                  <a:pt x="509" y="632"/>
                </a:cubicBezTo>
                <a:cubicBezTo>
                  <a:pt x="509" y="633"/>
                  <a:pt x="510" y="634"/>
                  <a:pt x="509" y="634"/>
                </a:cubicBezTo>
                <a:cubicBezTo>
                  <a:pt x="509" y="634"/>
                  <a:pt x="509" y="634"/>
                  <a:pt x="508" y="633"/>
                </a:cubicBezTo>
                <a:cubicBezTo>
                  <a:pt x="508" y="634"/>
                  <a:pt x="508" y="634"/>
                  <a:pt x="508" y="634"/>
                </a:cubicBezTo>
                <a:cubicBezTo>
                  <a:pt x="507" y="634"/>
                  <a:pt x="505" y="633"/>
                  <a:pt x="504" y="632"/>
                </a:cubicBezTo>
                <a:cubicBezTo>
                  <a:pt x="504" y="634"/>
                  <a:pt x="503" y="634"/>
                  <a:pt x="500" y="634"/>
                </a:cubicBezTo>
                <a:cubicBezTo>
                  <a:pt x="500" y="634"/>
                  <a:pt x="500" y="634"/>
                  <a:pt x="500" y="634"/>
                </a:cubicBezTo>
                <a:cubicBezTo>
                  <a:pt x="501" y="635"/>
                  <a:pt x="504" y="638"/>
                  <a:pt x="506" y="638"/>
                </a:cubicBezTo>
                <a:cubicBezTo>
                  <a:pt x="506" y="638"/>
                  <a:pt x="511" y="638"/>
                  <a:pt x="508" y="640"/>
                </a:cubicBezTo>
                <a:cubicBezTo>
                  <a:pt x="506" y="640"/>
                  <a:pt x="503" y="636"/>
                  <a:pt x="499" y="635"/>
                </a:cubicBezTo>
                <a:cubicBezTo>
                  <a:pt x="499" y="635"/>
                  <a:pt x="498" y="636"/>
                  <a:pt x="498" y="636"/>
                </a:cubicBezTo>
                <a:cubicBezTo>
                  <a:pt x="497" y="635"/>
                  <a:pt x="497" y="635"/>
                  <a:pt x="497" y="634"/>
                </a:cubicBezTo>
                <a:cubicBezTo>
                  <a:pt x="496" y="634"/>
                  <a:pt x="496" y="634"/>
                  <a:pt x="495" y="633"/>
                </a:cubicBezTo>
                <a:cubicBezTo>
                  <a:pt x="494" y="633"/>
                  <a:pt x="494" y="635"/>
                  <a:pt x="494" y="635"/>
                </a:cubicBezTo>
                <a:cubicBezTo>
                  <a:pt x="494" y="635"/>
                  <a:pt x="491" y="636"/>
                  <a:pt x="491" y="636"/>
                </a:cubicBezTo>
                <a:cubicBezTo>
                  <a:pt x="489" y="635"/>
                  <a:pt x="491" y="632"/>
                  <a:pt x="493" y="632"/>
                </a:cubicBezTo>
                <a:cubicBezTo>
                  <a:pt x="491" y="632"/>
                  <a:pt x="493" y="631"/>
                  <a:pt x="492" y="629"/>
                </a:cubicBezTo>
                <a:cubicBezTo>
                  <a:pt x="492" y="630"/>
                  <a:pt x="487" y="627"/>
                  <a:pt x="488" y="626"/>
                </a:cubicBezTo>
                <a:cubicBezTo>
                  <a:pt x="489" y="625"/>
                  <a:pt x="491" y="627"/>
                  <a:pt x="492" y="628"/>
                </a:cubicBezTo>
                <a:cubicBezTo>
                  <a:pt x="492" y="628"/>
                  <a:pt x="492" y="628"/>
                  <a:pt x="493" y="627"/>
                </a:cubicBezTo>
                <a:cubicBezTo>
                  <a:pt x="492" y="627"/>
                  <a:pt x="492" y="627"/>
                  <a:pt x="492" y="626"/>
                </a:cubicBezTo>
                <a:cubicBezTo>
                  <a:pt x="493" y="626"/>
                  <a:pt x="494" y="626"/>
                  <a:pt x="494" y="626"/>
                </a:cubicBezTo>
                <a:cubicBezTo>
                  <a:pt x="494" y="626"/>
                  <a:pt x="494" y="626"/>
                  <a:pt x="494" y="626"/>
                </a:cubicBezTo>
                <a:cubicBezTo>
                  <a:pt x="495" y="626"/>
                  <a:pt x="495" y="627"/>
                  <a:pt x="495" y="628"/>
                </a:cubicBezTo>
                <a:cubicBezTo>
                  <a:pt x="495" y="630"/>
                  <a:pt x="496" y="629"/>
                  <a:pt x="497" y="628"/>
                </a:cubicBezTo>
                <a:cubicBezTo>
                  <a:pt x="497" y="627"/>
                  <a:pt x="497" y="627"/>
                  <a:pt x="497" y="627"/>
                </a:cubicBezTo>
                <a:cubicBezTo>
                  <a:pt x="498" y="627"/>
                  <a:pt x="498" y="627"/>
                  <a:pt x="498" y="627"/>
                </a:cubicBezTo>
                <a:cubicBezTo>
                  <a:pt x="499" y="627"/>
                  <a:pt x="499" y="627"/>
                  <a:pt x="500" y="627"/>
                </a:cubicBezTo>
                <a:cubicBezTo>
                  <a:pt x="501" y="627"/>
                  <a:pt x="500" y="626"/>
                  <a:pt x="500" y="625"/>
                </a:cubicBezTo>
                <a:cubicBezTo>
                  <a:pt x="501" y="624"/>
                  <a:pt x="502" y="625"/>
                  <a:pt x="503" y="624"/>
                </a:cubicBezTo>
                <a:cubicBezTo>
                  <a:pt x="503" y="624"/>
                  <a:pt x="503" y="624"/>
                  <a:pt x="503" y="624"/>
                </a:cubicBezTo>
                <a:cubicBezTo>
                  <a:pt x="501" y="621"/>
                  <a:pt x="497" y="616"/>
                  <a:pt x="496" y="621"/>
                </a:cubicBezTo>
                <a:cubicBezTo>
                  <a:pt x="496" y="617"/>
                  <a:pt x="492" y="620"/>
                  <a:pt x="491" y="621"/>
                </a:cubicBezTo>
                <a:cubicBezTo>
                  <a:pt x="489" y="621"/>
                  <a:pt x="492" y="620"/>
                  <a:pt x="492" y="620"/>
                </a:cubicBezTo>
                <a:cubicBezTo>
                  <a:pt x="491" y="618"/>
                  <a:pt x="488" y="620"/>
                  <a:pt x="486" y="618"/>
                </a:cubicBezTo>
                <a:cubicBezTo>
                  <a:pt x="486" y="618"/>
                  <a:pt x="485" y="615"/>
                  <a:pt x="485" y="616"/>
                </a:cubicBezTo>
                <a:cubicBezTo>
                  <a:pt x="483" y="615"/>
                  <a:pt x="482" y="617"/>
                  <a:pt x="483" y="615"/>
                </a:cubicBezTo>
                <a:cubicBezTo>
                  <a:pt x="483" y="612"/>
                  <a:pt x="480" y="610"/>
                  <a:pt x="479" y="609"/>
                </a:cubicBezTo>
                <a:cubicBezTo>
                  <a:pt x="479" y="609"/>
                  <a:pt x="480" y="605"/>
                  <a:pt x="478" y="604"/>
                </a:cubicBezTo>
                <a:cubicBezTo>
                  <a:pt x="480" y="609"/>
                  <a:pt x="474" y="610"/>
                  <a:pt x="474" y="608"/>
                </a:cubicBezTo>
                <a:cubicBezTo>
                  <a:pt x="474" y="608"/>
                  <a:pt x="471" y="608"/>
                  <a:pt x="471" y="605"/>
                </a:cubicBezTo>
                <a:cubicBezTo>
                  <a:pt x="472" y="603"/>
                  <a:pt x="472" y="604"/>
                  <a:pt x="471" y="601"/>
                </a:cubicBezTo>
                <a:cubicBezTo>
                  <a:pt x="470" y="599"/>
                  <a:pt x="478" y="604"/>
                  <a:pt x="479" y="603"/>
                </a:cubicBezTo>
                <a:cubicBezTo>
                  <a:pt x="481" y="603"/>
                  <a:pt x="478" y="601"/>
                  <a:pt x="481" y="602"/>
                </a:cubicBezTo>
                <a:cubicBezTo>
                  <a:pt x="487" y="603"/>
                  <a:pt x="499" y="603"/>
                  <a:pt x="499" y="612"/>
                </a:cubicBezTo>
                <a:cubicBezTo>
                  <a:pt x="499" y="614"/>
                  <a:pt x="497" y="615"/>
                  <a:pt x="498" y="617"/>
                </a:cubicBezTo>
                <a:cubicBezTo>
                  <a:pt x="499" y="619"/>
                  <a:pt x="501" y="621"/>
                  <a:pt x="503" y="622"/>
                </a:cubicBezTo>
                <a:cubicBezTo>
                  <a:pt x="503" y="622"/>
                  <a:pt x="503" y="622"/>
                  <a:pt x="503" y="622"/>
                </a:cubicBezTo>
                <a:cubicBezTo>
                  <a:pt x="504" y="622"/>
                  <a:pt x="505" y="623"/>
                  <a:pt x="505" y="622"/>
                </a:cubicBezTo>
                <a:cubicBezTo>
                  <a:pt x="506" y="622"/>
                  <a:pt x="506" y="621"/>
                  <a:pt x="506" y="621"/>
                </a:cubicBezTo>
                <a:cubicBezTo>
                  <a:pt x="506" y="620"/>
                  <a:pt x="505" y="619"/>
                  <a:pt x="506" y="619"/>
                </a:cubicBezTo>
                <a:cubicBezTo>
                  <a:pt x="506" y="619"/>
                  <a:pt x="506" y="619"/>
                  <a:pt x="506" y="619"/>
                </a:cubicBezTo>
                <a:cubicBezTo>
                  <a:pt x="507" y="619"/>
                  <a:pt x="507" y="619"/>
                  <a:pt x="507" y="619"/>
                </a:cubicBezTo>
                <a:cubicBezTo>
                  <a:pt x="508" y="618"/>
                  <a:pt x="510" y="620"/>
                  <a:pt x="510" y="618"/>
                </a:cubicBezTo>
                <a:cubicBezTo>
                  <a:pt x="510" y="619"/>
                  <a:pt x="512" y="620"/>
                  <a:pt x="513" y="620"/>
                </a:cubicBezTo>
                <a:cubicBezTo>
                  <a:pt x="513" y="620"/>
                  <a:pt x="514" y="620"/>
                  <a:pt x="514" y="620"/>
                </a:cubicBezTo>
                <a:cubicBezTo>
                  <a:pt x="514" y="619"/>
                  <a:pt x="513" y="617"/>
                  <a:pt x="513" y="617"/>
                </a:cubicBezTo>
                <a:cubicBezTo>
                  <a:pt x="514" y="616"/>
                  <a:pt x="516" y="618"/>
                  <a:pt x="517" y="620"/>
                </a:cubicBezTo>
                <a:cubicBezTo>
                  <a:pt x="517" y="620"/>
                  <a:pt x="518" y="621"/>
                  <a:pt x="518" y="620"/>
                </a:cubicBezTo>
                <a:cubicBezTo>
                  <a:pt x="518" y="620"/>
                  <a:pt x="514" y="615"/>
                  <a:pt x="517" y="615"/>
                </a:cubicBezTo>
                <a:cubicBezTo>
                  <a:pt x="517" y="615"/>
                  <a:pt x="517" y="615"/>
                  <a:pt x="517" y="614"/>
                </a:cubicBezTo>
                <a:cubicBezTo>
                  <a:pt x="517" y="615"/>
                  <a:pt x="516" y="612"/>
                  <a:pt x="516" y="612"/>
                </a:cubicBezTo>
                <a:cubicBezTo>
                  <a:pt x="518" y="610"/>
                  <a:pt x="520" y="614"/>
                  <a:pt x="522" y="615"/>
                </a:cubicBezTo>
                <a:cubicBezTo>
                  <a:pt x="523" y="614"/>
                  <a:pt x="524" y="613"/>
                  <a:pt x="525" y="614"/>
                </a:cubicBezTo>
                <a:cubicBezTo>
                  <a:pt x="525" y="614"/>
                  <a:pt x="526" y="615"/>
                  <a:pt x="526" y="615"/>
                </a:cubicBezTo>
                <a:cubicBezTo>
                  <a:pt x="526" y="615"/>
                  <a:pt x="526" y="615"/>
                  <a:pt x="527" y="616"/>
                </a:cubicBezTo>
                <a:cubicBezTo>
                  <a:pt x="527" y="616"/>
                  <a:pt x="527" y="617"/>
                  <a:pt x="527" y="618"/>
                </a:cubicBezTo>
                <a:cubicBezTo>
                  <a:pt x="526" y="618"/>
                  <a:pt x="526" y="618"/>
                  <a:pt x="525" y="618"/>
                </a:cubicBezTo>
                <a:cubicBezTo>
                  <a:pt x="525" y="618"/>
                  <a:pt x="525" y="618"/>
                  <a:pt x="525" y="618"/>
                </a:cubicBezTo>
                <a:cubicBezTo>
                  <a:pt x="527" y="619"/>
                  <a:pt x="529" y="619"/>
                  <a:pt x="530" y="621"/>
                </a:cubicBezTo>
                <a:cubicBezTo>
                  <a:pt x="531" y="622"/>
                  <a:pt x="531" y="622"/>
                  <a:pt x="531" y="622"/>
                </a:cubicBezTo>
                <a:cubicBezTo>
                  <a:pt x="532" y="622"/>
                  <a:pt x="532" y="622"/>
                  <a:pt x="532" y="621"/>
                </a:cubicBezTo>
                <a:cubicBezTo>
                  <a:pt x="531" y="620"/>
                  <a:pt x="531" y="619"/>
                  <a:pt x="530" y="617"/>
                </a:cubicBezTo>
                <a:cubicBezTo>
                  <a:pt x="531" y="618"/>
                  <a:pt x="532" y="620"/>
                  <a:pt x="533" y="621"/>
                </a:cubicBezTo>
                <a:cubicBezTo>
                  <a:pt x="533" y="621"/>
                  <a:pt x="533" y="621"/>
                  <a:pt x="533" y="621"/>
                </a:cubicBezTo>
                <a:cubicBezTo>
                  <a:pt x="533" y="621"/>
                  <a:pt x="533" y="620"/>
                  <a:pt x="533" y="620"/>
                </a:cubicBezTo>
                <a:cubicBezTo>
                  <a:pt x="534" y="620"/>
                  <a:pt x="534" y="622"/>
                  <a:pt x="534" y="622"/>
                </a:cubicBezTo>
                <a:cubicBezTo>
                  <a:pt x="535" y="623"/>
                  <a:pt x="536" y="627"/>
                  <a:pt x="537" y="628"/>
                </a:cubicBezTo>
                <a:cubicBezTo>
                  <a:pt x="537" y="628"/>
                  <a:pt x="537" y="627"/>
                  <a:pt x="537" y="627"/>
                </a:cubicBezTo>
                <a:cubicBezTo>
                  <a:pt x="538" y="626"/>
                  <a:pt x="539" y="627"/>
                  <a:pt x="540" y="627"/>
                </a:cubicBezTo>
                <a:cubicBezTo>
                  <a:pt x="540" y="627"/>
                  <a:pt x="540" y="627"/>
                  <a:pt x="541" y="627"/>
                </a:cubicBezTo>
                <a:cubicBezTo>
                  <a:pt x="542" y="628"/>
                  <a:pt x="543" y="630"/>
                  <a:pt x="543" y="631"/>
                </a:cubicBezTo>
                <a:cubicBezTo>
                  <a:pt x="543" y="631"/>
                  <a:pt x="542" y="631"/>
                  <a:pt x="542" y="631"/>
                </a:cubicBezTo>
                <a:cubicBezTo>
                  <a:pt x="542" y="631"/>
                  <a:pt x="542" y="631"/>
                  <a:pt x="542" y="631"/>
                </a:cubicBezTo>
                <a:cubicBezTo>
                  <a:pt x="542" y="631"/>
                  <a:pt x="542" y="632"/>
                  <a:pt x="542" y="632"/>
                </a:cubicBezTo>
                <a:cubicBezTo>
                  <a:pt x="540" y="633"/>
                  <a:pt x="541" y="631"/>
                  <a:pt x="541" y="630"/>
                </a:cubicBezTo>
                <a:cubicBezTo>
                  <a:pt x="541" y="630"/>
                  <a:pt x="540" y="630"/>
                  <a:pt x="540" y="630"/>
                </a:cubicBezTo>
                <a:cubicBezTo>
                  <a:pt x="540" y="631"/>
                  <a:pt x="540" y="631"/>
                  <a:pt x="540" y="632"/>
                </a:cubicBezTo>
                <a:cubicBezTo>
                  <a:pt x="541" y="633"/>
                  <a:pt x="540" y="633"/>
                  <a:pt x="539" y="632"/>
                </a:cubicBezTo>
                <a:cubicBezTo>
                  <a:pt x="538" y="635"/>
                  <a:pt x="537" y="640"/>
                  <a:pt x="537" y="640"/>
                </a:cubicBezTo>
                <a:cubicBezTo>
                  <a:pt x="537" y="641"/>
                  <a:pt x="544" y="646"/>
                  <a:pt x="539" y="644"/>
                </a:cubicBezTo>
                <a:cubicBezTo>
                  <a:pt x="539" y="644"/>
                  <a:pt x="539" y="645"/>
                  <a:pt x="539" y="645"/>
                </a:cubicBezTo>
                <a:cubicBezTo>
                  <a:pt x="539" y="645"/>
                  <a:pt x="539" y="645"/>
                  <a:pt x="539" y="645"/>
                </a:cubicBezTo>
                <a:cubicBezTo>
                  <a:pt x="540" y="645"/>
                  <a:pt x="540" y="646"/>
                  <a:pt x="539" y="646"/>
                </a:cubicBezTo>
                <a:cubicBezTo>
                  <a:pt x="539" y="646"/>
                  <a:pt x="540" y="646"/>
                  <a:pt x="540" y="646"/>
                </a:cubicBezTo>
                <a:cubicBezTo>
                  <a:pt x="540" y="647"/>
                  <a:pt x="539" y="648"/>
                  <a:pt x="538" y="647"/>
                </a:cubicBezTo>
                <a:cubicBezTo>
                  <a:pt x="537" y="648"/>
                  <a:pt x="537" y="648"/>
                  <a:pt x="536" y="649"/>
                </a:cubicBezTo>
                <a:cubicBezTo>
                  <a:pt x="536" y="648"/>
                  <a:pt x="535" y="651"/>
                  <a:pt x="535" y="650"/>
                </a:cubicBezTo>
                <a:cubicBezTo>
                  <a:pt x="534" y="651"/>
                  <a:pt x="532" y="649"/>
                  <a:pt x="532" y="649"/>
                </a:cubicBezTo>
                <a:cubicBezTo>
                  <a:pt x="532" y="648"/>
                  <a:pt x="531" y="648"/>
                  <a:pt x="530" y="648"/>
                </a:cubicBezTo>
                <a:cubicBezTo>
                  <a:pt x="532" y="649"/>
                  <a:pt x="532" y="649"/>
                  <a:pt x="531" y="651"/>
                </a:cubicBezTo>
                <a:cubicBezTo>
                  <a:pt x="531" y="651"/>
                  <a:pt x="531" y="651"/>
                  <a:pt x="530" y="651"/>
                </a:cubicBezTo>
                <a:cubicBezTo>
                  <a:pt x="530" y="653"/>
                  <a:pt x="529" y="653"/>
                  <a:pt x="527" y="652"/>
                </a:cubicBezTo>
                <a:cubicBezTo>
                  <a:pt x="527" y="652"/>
                  <a:pt x="527" y="651"/>
                  <a:pt x="527" y="650"/>
                </a:cubicBezTo>
                <a:cubicBezTo>
                  <a:pt x="527" y="650"/>
                  <a:pt x="525" y="649"/>
                  <a:pt x="525" y="648"/>
                </a:cubicBezTo>
                <a:cubicBezTo>
                  <a:pt x="526" y="648"/>
                  <a:pt x="527" y="647"/>
                  <a:pt x="527" y="647"/>
                </a:cubicBezTo>
                <a:cubicBezTo>
                  <a:pt x="527" y="645"/>
                  <a:pt x="524" y="647"/>
                  <a:pt x="525" y="644"/>
                </a:cubicBezTo>
                <a:cubicBezTo>
                  <a:pt x="524" y="646"/>
                  <a:pt x="521" y="646"/>
                  <a:pt x="520" y="649"/>
                </a:cubicBezTo>
                <a:cubicBezTo>
                  <a:pt x="520" y="649"/>
                  <a:pt x="520" y="654"/>
                  <a:pt x="521" y="655"/>
                </a:cubicBezTo>
                <a:cubicBezTo>
                  <a:pt x="522" y="655"/>
                  <a:pt x="522" y="654"/>
                  <a:pt x="523" y="655"/>
                </a:cubicBezTo>
                <a:cubicBezTo>
                  <a:pt x="523" y="655"/>
                  <a:pt x="523" y="655"/>
                  <a:pt x="523" y="655"/>
                </a:cubicBezTo>
                <a:cubicBezTo>
                  <a:pt x="523" y="655"/>
                  <a:pt x="523" y="655"/>
                  <a:pt x="523" y="655"/>
                </a:cubicBezTo>
                <a:cubicBezTo>
                  <a:pt x="523" y="655"/>
                  <a:pt x="523" y="655"/>
                  <a:pt x="523" y="655"/>
                </a:cubicBezTo>
                <a:cubicBezTo>
                  <a:pt x="523" y="655"/>
                  <a:pt x="523" y="655"/>
                  <a:pt x="523" y="655"/>
                </a:cubicBezTo>
                <a:cubicBezTo>
                  <a:pt x="523" y="656"/>
                  <a:pt x="521" y="658"/>
                  <a:pt x="522" y="660"/>
                </a:cubicBezTo>
                <a:cubicBezTo>
                  <a:pt x="522" y="659"/>
                  <a:pt x="523" y="661"/>
                  <a:pt x="523" y="661"/>
                </a:cubicBezTo>
                <a:cubicBezTo>
                  <a:pt x="524" y="661"/>
                  <a:pt x="524" y="660"/>
                  <a:pt x="523" y="660"/>
                </a:cubicBezTo>
                <a:cubicBezTo>
                  <a:pt x="523" y="659"/>
                  <a:pt x="522" y="659"/>
                  <a:pt x="522" y="658"/>
                </a:cubicBezTo>
                <a:cubicBezTo>
                  <a:pt x="523" y="658"/>
                  <a:pt x="523" y="658"/>
                  <a:pt x="524" y="659"/>
                </a:cubicBezTo>
                <a:cubicBezTo>
                  <a:pt x="525" y="658"/>
                  <a:pt x="526" y="660"/>
                  <a:pt x="527" y="660"/>
                </a:cubicBezTo>
                <a:cubicBezTo>
                  <a:pt x="529" y="660"/>
                  <a:pt x="528" y="659"/>
                  <a:pt x="530" y="659"/>
                </a:cubicBezTo>
                <a:cubicBezTo>
                  <a:pt x="528" y="661"/>
                  <a:pt x="529" y="660"/>
                  <a:pt x="531" y="661"/>
                </a:cubicBezTo>
                <a:cubicBezTo>
                  <a:pt x="531" y="660"/>
                  <a:pt x="531" y="660"/>
                  <a:pt x="531" y="661"/>
                </a:cubicBezTo>
                <a:cubicBezTo>
                  <a:pt x="531" y="661"/>
                  <a:pt x="532" y="661"/>
                  <a:pt x="532" y="661"/>
                </a:cubicBezTo>
                <a:cubicBezTo>
                  <a:pt x="532" y="661"/>
                  <a:pt x="532" y="661"/>
                  <a:pt x="532" y="661"/>
                </a:cubicBezTo>
                <a:cubicBezTo>
                  <a:pt x="532" y="661"/>
                  <a:pt x="532" y="661"/>
                  <a:pt x="532" y="661"/>
                </a:cubicBezTo>
                <a:cubicBezTo>
                  <a:pt x="534" y="662"/>
                  <a:pt x="535" y="664"/>
                  <a:pt x="536" y="664"/>
                </a:cubicBezTo>
                <a:cubicBezTo>
                  <a:pt x="537" y="664"/>
                  <a:pt x="537" y="664"/>
                  <a:pt x="537" y="664"/>
                </a:cubicBezTo>
                <a:cubicBezTo>
                  <a:pt x="537" y="664"/>
                  <a:pt x="537" y="664"/>
                  <a:pt x="538" y="665"/>
                </a:cubicBezTo>
                <a:cubicBezTo>
                  <a:pt x="538" y="665"/>
                  <a:pt x="538" y="665"/>
                  <a:pt x="539" y="666"/>
                </a:cubicBezTo>
                <a:cubicBezTo>
                  <a:pt x="538" y="665"/>
                  <a:pt x="538" y="663"/>
                  <a:pt x="539" y="662"/>
                </a:cubicBezTo>
                <a:cubicBezTo>
                  <a:pt x="541" y="661"/>
                  <a:pt x="542" y="663"/>
                  <a:pt x="544" y="663"/>
                </a:cubicBezTo>
                <a:cubicBezTo>
                  <a:pt x="544" y="663"/>
                  <a:pt x="545" y="661"/>
                  <a:pt x="546" y="661"/>
                </a:cubicBezTo>
                <a:cubicBezTo>
                  <a:pt x="546" y="660"/>
                  <a:pt x="545" y="658"/>
                  <a:pt x="545" y="656"/>
                </a:cubicBezTo>
                <a:cubicBezTo>
                  <a:pt x="546" y="656"/>
                  <a:pt x="546" y="659"/>
                  <a:pt x="547" y="659"/>
                </a:cubicBezTo>
                <a:cubicBezTo>
                  <a:pt x="547" y="659"/>
                  <a:pt x="547" y="658"/>
                  <a:pt x="547" y="658"/>
                </a:cubicBezTo>
                <a:cubicBezTo>
                  <a:pt x="547" y="658"/>
                  <a:pt x="547" y="658"/>
                  <a:pt x="547" y="658"/>
                </a:cubicBezTo>
                <a:cubicBezTo>
                  <a:pt x="547" y="658"/>
                  <a:pt x="546" y="657"/>
                  <a:pt x="546" y="656"/>
                </a:cubicBezTo>
                <a:cubicBezTo>
                  <a:pt x="547" y="655"/>
                  <a:pt x="548" y="655"/>
                  <a:pt x="548" y="656"/>
                </a:cubicBezTo>
                <a:cubicBezTo>
                  <a:pt x="549" y="655"/>
                  <a:pt x="550" y="655"/>
                  <a:pt x="551" y="656"/>
                </a:cubicBezTo>
                <a:cubicBezTo>
                  <a:pt x="552" y="656"/>
                  <a:pt x="552" y="656"/>
                  <a:pt x="552" y="657"/>
                </a:cubicBezTo>
                <a:cubicBezTo>
                  <a:pt x="552" y="658"/>
                  <a:pt x="552" y="659"/>
                  <a:pt x="552" y="660"/>
                </a:cubicBezTo>
                <a:cubicBezTo>
                  <a:pt x="552" y="660"/>
                  <a:pt x="552" y="661"/>
                  <a:pt x="552" y="661"/>
                </a:cubicBezTo>
                <a:cubicBezTo>
                  <a:pt x="556" y="659"/>
                  <a:pt x="556" y="659"/>
                  <a:pt x="556" y="659"/>
                </a:cubicBezTo>
                <a:cubicBezTo>
                  <a:pt x="556" y="659"/>
                  <a:pt x="556" y="659"/>
                  <a:pt x="557" y="659"/>
                </a:cubicBezTo>
                <a:cubicBezTo>
                  <a:pt x="559" y="657"/>
                  <a:pt x="559" y="657"/>
                  <a:pt x="559" y="657"/>
                </a:cubicBezTo>
                <a:cubicBezTo>
                  <a:pt x="559" y="657"/>
                  <a:pt x="559" y="656"/>
                  <a:pt x="558" y="656"/>
                </a:cubicBezTo>
                <a:cubicBezTo>
                  <a:pt x="558" y="656"/>
                  <a:pt x="557" y="656"/>
                  <a:pt x="556" y="655"/>
                </a:cubicBezTo>
                <a:cubicBezTo>
                  <a:pt x="556" y="655"/>
                  <a:pt x="556" y="655"/>
                  <a:pt x="555" y="656"/>
                </a:cubicBezTo>
                <a:cubicBezTo>
                  <a:pt x="556" y="656"/>
                  <a:pt x="556" y="655"/>
                  <a:pt x="556" y="655"/>
                </a:cubicBezTo>
                <a:cubicBezTo>
                  <a:pt x="556" y="655"/>
                  <a:pt x="555" y="655"/>
                  <a:pt x="555" y="654"/>
                </a:cubicBezTo>
                <a:cubicBezTo>
                  <a:pt x="555" y="654"/>
                  <a:pt x="557" y="653"/>
                  <a:pt x="557" y="653"/>
                </a:cubicBezTo>
                <a:cubicBezTo>
                  <a:pt x="557" y="652"/>
                  <a:pt x="556" y="651"/>
                  <a:pt x="556" y="650"/>
                </a:cubicBezTo>
                <a:cubicBezTo>
                  <a:pt x="555" y="651"/>
                  <a:pt x="554" y="652"/>
                  <a:pt x="553" y="652"/>
                </a:cubicBezTo>
                <a:cubicBezTo>
                  <a:pt x="553" y="652"/>
                  <a:pt x="553" y="653"/>
                  <a:pt x="553" y="653"/>
                </a:cubicBezTo>
                <a:cubicBezTo>
                  <a:pt x="552" y="653"/>
                  <a:pt x="552" y="652"/>
                  <a:pt x="552" y="652"/>
                </a:cubicBezTo>
                <a:cubicBezTo>
                  <a:pt x="552" y="652"/>
                  <a:pt x="551" y="652"/>
                  <a:pt x="551" y="652"/>
                </a:cubicBezTo>
                <a:cubicBezTo>
                  <a:pt x="551" y="652"/>
                  <a:pt x="551" y="652"/>
                  <a:pt x="551" y="652"/>
                </a:cubicBezTo>
                <a:cubicBezTo>
                  <a:pt x="551" y="653"/>
                  <a:pt x="550" y="653"/>
                  <a:pt x="550" y="653"/>
                </a:cubicBezTo>
                <a:cubicBezTo>
                  <a:pt x="550" y="653"/>
                  <a:pt x="550" y="652"/>
                  <a:pt x="550" y="652"/>
                </a:cubicBezTo>
                <a:cubicBezTo>
                  <a:pt x="548" y="652"/>
                  <a:pt x="546" y="651"/>
                  <a:pt x="545" y="649"/>
                </a:cubicBezTo>
                <a:cubicBezTo>
                  <a:pt x="544" y="648"/>
                  <a:pt x="544" y="647"/>
                  <a:pt x="544" y="646"/>
                </a:cubicBezTo>
                <a:cubicBezTo>
                  <a:pt x="543" y="646"/>
                  <a:pt x="541" y="644"/>
                  <a:pt x="542" y="643"/>
                </a:cubicBezTo>
                <a:cubicBezTo>
                  <a:pt x="543" y="643"/>
                  <a:pt x="544" y="643"/>
                  <a:pt x="544" y="644"/>
                </a:cubicBezTo>
                <a:cubicBezTo>
                  <a:pt x="544" y="644"/>
                  <a:pt x="544" y="644"/>
                  <a:pt x="544" y="643"/>
                </a:cubicBezTo>
                <a:cubicBezTo>
                  <a:pt x="544" y="643"/>
                  <a:pt x="544" y="643"/>
                  <a:pt x="544" y="643"/>
                </a:cubicBezTo>
                <a:cubicBezTo>
                  <a:pt x="545" y="641"/>
                  <a:pt x="546" y="640"/>
                  <a:pt x="548" y="638"/>
                </a:cubicBezTo>
                <a:cubicBezTo>
                  <a:pt x="548" y="638"/>
                  <a:pt x="548" y="638"/>
                  <a:pt x="548" y="638"/>
                </a:cubicBezTo>
                <a:cubicBezTo>
                  <a:pt x="548" y="638"/>
                  <a:pt x="548" y="638"/>
                  <a:pt x="548" y="638"/>
                </a:cubicBezTo>
                <a:cubicBezTo>
                  <a:pt x="549" y="637"/>
                  <a:pt x="549" y="637"/>
                  <a:pt x="549" y="638"/>
                </a:cubicBezTo>
                <a:cubicBezTo>
                  <a:pt x="551" y="637"/>
                  <a:pt x="554" y="636"/>
                  <a:pt x="556" y="638"/>
                </a:cubicBezTo>
                <a:cubicBezTo>
                  <a:pt x="556" y="638"/>
                  <a:pt x="558" y="640"/>
                  <a:pt x="558" y="640"/>
                </a:cubicBezTo>
                <a:cubicBezTo>
                  <a:pt x="558" y="640"/>
                  <a:pt x="557" y="642"/>
                  <a:pt x="557" y="642"/>
                </a:cubicBezTo>
                <a:cubicBezTo>
                  <a:pt x="557" y="642"/>
                  <a:pt x="557" y="642"/>
                  <a:pt x="557" y="642"/>
                </a:cubicBezTo>
                <a:cubicBezTo>
                  <a:pt x="558" y="642"/>
                  <a:pt x="558" y="643"/>
                  <a:pt x="559" y="644"/>
                </a:cubicBezTo>
                <a:cubicBezTo>
                  <a:pt x="559" y="643"/>
                  <a:pt x="559" y="643"/>
                  <a:pt x="559" y="643"/>
                </a:cubicBezTo>
                <a:cubicBezTo>
                  <a:pt x="560" y="642"/>
                  <a:pt x="561" y="644"/>
                  <a:pt x="560" y="644"/>
                </a:cubicBezTo>
                <a:cubicBezTo>
                  <a:pt x="559" y="644"/>
                  <a:pt x="559" y="644"/>
                  <a:pt x="559" y="644"/>
                </a:cubicBezTo>
                <a:cubicBezTo>
                  <a:pt x="560" y="645"/>
                  <a:pt x="561" y="646"/>
                  <a:pt x="562" y="645"/>
                </a:cubicBezTo>
                <a:cubicBezTo>
                  <a:pt x="563" y="645"/>
                  <a:pt x="561" y="642"/>
                  <a:pt x="564" y="642"/>
                </a:cubicBezTo>
                <a:cubicBezTo>
                  <a:pt x="562" y="645"/>
                  <a:pt x="564" y="643"/>
                  <a:pt x="567" y="645"/>
                </a:cubicBezTo>
                <a:cubicBezTo>
                  <a:pt x="570" y="646"/>
                  <a:pt x="569" y="646"/>
                  <a:pt x="567" y="643"/>
                </a:cubicBezTo>
                <a:cubicBezTo>
                  <a:pt x="566" y="641"/>
                  <a:pt x="568" y="642"/>
                  <a:pt x="566" y="640"/>
                </a:cubicBezTo>
                <a:cubicBezTo>
                  <a:pt x="566" y="639"/>
                  <a:pt x="564" y="638"/>
                  <a:pt x="562" y="638"/>
                </a:cubicBezTo>
                <a:cubicBezTo>
                  <a:pt x="562" y="638"/>
                  <a:pt x="562" y="638"/>
                  <a:pt x="562" y="638"/>
                </a:cubicBezTo>
                <a:cubicBezTo>
                  <a:pt x="561" y="638"/>
                  <a:pt x="560" y="638"/>
                  <a:pt x="560" y="638"/>
                </a:cubicBezTo>
                <a:cubicBezTo>
                  <a:pt x="562" y="637"/>
                  <a:pt x="558" y="640"/>
                  <a:pt x="558" y="639"/>
                </a:cubicBezTo>
                <a:cubicBezTo>
                  <a:pt x="558" y="638"/>
                  <a:pt x="558" y="638"/>
                  <a:pt x="558" y="637"/>
                </a:cubicBezTo>
                <a:cubicBezTo>
                  <a:pt x="557" y="637"/>
                  <a:pt x="554" y="634"/>
                  <a:pt x="554" y="634"/>
                </a:cubicBezTo>
                <a:cubicBezTo>
                  <a:pt x="551" y="632"/>
                  <a:pt x="551" y="631"/>
                  <a:pt x="554" y="633"/>
                </a:cubicBezTo>
                <a:cubicBezTo>
                  <a:pt x="555" y="634"/>
                  <a:pt x="557" y="635"/>
                  <a:pt x="558" y="636"/>
                </a:cubicBezTo>
                <a:cubicBezTo>
                  <a:pt x="558" y="634"/>
                  <a:pt x="556" y="635"/>
                  <a:pt x="555" y="634"/>
                </a:cubicBezTo>
                <a:cubicBezTo>
                  <a:pt x="555" y="633"/>
                  <a:pt x="554" y="632"/>
                  <a:pt x="554" y="630"/>
                </a:cubicBezTo>
                <a:cubicBezTo>
                  <a:pt x="554" y="630"/>
                  <a:pt x="553" y="629"/>
                  <a:pt x="553" y="629"/>
                </a:cubicBezTo>
                <a:cubicBezTo>
                  <a:pt x="553" y="629"/>
                  <a:pt x="553" y="629"/>
                  <a:pt x="553" y="628"/>
                </a:cubicBezTo>
                <a:cubicBezTo>
                  <a:pt x="553" y="628"/>
                  <a:pt x="553" y="628"/>
                  <a:pt x="553" y="628"/>
                </a:cubicBezTo>
                <a:cubicBezTo>
                  <a:pt x="551" y="629"/>
                  <a:pt x="552" y="625"/>
                  <a:pt x="553" y="626"/>
                </a:cubicBezTo>
                <a:cubicBezTo>
                  <a:pt x="553" y="626"/>
                  <a:pt x="553" y="625"/>
                  <a:pt x="553" y="625"/>
                </a:cubicBezTo>
                <a:cubicBezTo>
                  <a:pt x="554" y="625"/>
                  <a:pt x="554" y="625"/>
                  <a:pt x="554" y="625"/>
                </a:cubicBezTo>
                <a:cubicBezTo>
                  <a:pt x="554" y="625"/>
                  <a:pt x="554" y="625"/>
                  <a:pt x="554" y="625"/>
                </a:cubicBezTo>
                <a:cubicBezTo>
                  <a:pt x="554" y="625"/>
                  <a:pt x="557" y="625"/>
                  <a:pt x="559" y="624"/>
                </a:cubicBezTo>
                <a:cubicBezTo>
                  <a:pt x="558" y="624"/>
                  <a:pt x="559" y="623"/>
                  <a:pt x="559" y="623"/>
                </a:cubicBezTo>
                <a:cubicBezTo>
                  <a:pt x="559" y="623"/>
                  <a:pt x="560" y="623"/>
                  <a:pt x="560" y="623"/>
                </a:cubicBezTo>
                <a:cubicBezTo>
                  <a:pt x="560" y="623"/>
                  <a:pt x="560" y="622"/>
                  <a:pt x="559" y="621"/>
                </a:cubicBezTo>
                <a:cubicBezTo>
                  <a:pt x="559" y="621"/>
                  <a:pt x="559" y="621"/>
                  <a:pt x="558" y="621"/>
                </a:cubicBezTo>
                <a:cubicBezTo>
                  <a:pt x="559" y="620"/>
                  <a:pt x="561" y="613"/>
                  <a:pt x="557" y="616"/>
                </a:cubicBezTo>
                <a:cubicBezTo>
                  <a:pt x="557" y="616"/>
                  <a:pt x="558" y="617"/>
                  <a:pt x="558" y="617"/>
                </a:cubicBezTo>
                <a:cubicBezTo>
                  <a:pt x="558" y="617"/>
                  <a:pt x="557" y="617"/>
                  <a:pt x="557" y="617"/>
                </a:cubicBezTo>
                <a:cubicBezTo>
                  <a:pt x="556" y="618"/>
                  <a:pt x="558" y="620"/>
                  <a:pt x="557" y="621"/>
                </a:cubicBezTo>
                <a:cubicBezTo>
                  <a:pt x="557" y="619"/>
                  <a:pt x="553" y="620"/>
                  <a:pt x="553" y="618"/>
                </a:cubicBezTo>
                <a:cubicBezTo>
                  <a:pt x="553" y="616"/>
                  <a:pt x="557" y="615"/>
                  <a:pt x="558" y="613"/>
                </a:cubicBezTo>
                <a:cubicBezTo>
                  <a:pt x="559" y="611"/>
                  <a:pt x="557" y="609"/>
                  <a:pt x="555" y="607"/>
                </a:cubicBezTo>
                <a:cubicBezTo>
                  <a:pt x="555" y="608"/>
                  <a:pt x="555" y="610"/>
                  <a:pt x="554" y="611"/>
                </a:cubicBezTo>
                <a:cubicBezTo>
                  <a:pt x="554" y="612"/>
                  <a:pt x="555" y="613"/>
                  <a:pt x="552" y="614"/>
                </a:cubicBezTo>
                <a:cubicBezTo>
                  <a:pt x="550" y="614"/>
                  <a:pt x="546" y="617"/>
                  <a:pt x="545" y="614"/>
                </a:cubicBezTo>
                <a:cubicBezTo>
                  <a:pt x="543" y="610"/>
                  <a:pt x="541" y="602"/>
                  <a:pt x="536" y="600"/>
                </a:cubicBezTo>
                <a:cubicBezTo>
                  <a:pt x="539" y="606"/>
                  <a:pt x="533" y="604"/>
                  <a:pt x="534" y="599"/>
                </a:cubicBezTo>
                <a:cubicBezTo>
                  <a:pt x="535" y="601"/>
                  <a:pt x="535" y="598"/>
                  <a:pt x="536" y="597"/>
                </a:cubicBezTo>
                <a:cubicBezTo>
                  <a:pt x="537" y="597"/>
                  <a:pt x="537" y="598"/>
                  <a:pt x="537" y="598"/>
                </a:cubicBezTo>
                <a:cubicBezTo>
                  <a:pt x="537" y="598"/>
                  <a:pt x="537" y="598"/>
                  <a:pt x="537" y="598"/>
                </a:cubicBezTo>
                <a:cubicBezTo>
                  <a:pt x="539" y="596"/>
                  <a:pt x="541" y="601"/>
                  <a:pt x="538" y="599"/>
                </a:cubicBezTo>
                <a:cubicBezTo>
                  <a:pt x="538" y="599"/>
                  <a:pt x="538" y="599"/>
                  <a:pt x="538" y="599"/>
                </a:cubicBezTo>
                <a:cubicBezTo>
                  <a:pt x="539" y="600"/>
                  <a:pt x="539" y="600"/>
                  <a:pt x="540" y="601"/>
                </a:cubicBezTo>
                <a:cubicBezTo>
                  <a:pt x="542" y="603"/>
                  <a:pt x="546" y="604"/>
                  <a:pt x="549" y="604"/>
                </a:cubicBezTo>
                <a:cubicBezTo>
                  <a:pt x="550" y="603"/>
                  <a:pt x="550" y="603"/>
                  <a:pt x="551" y="603"/>
                </a:cubicBezTo>
                <a:cubicBezTo>
                  <a:pt x="551" y="603"/>
                  <a:pt x="552" y="603"/>
                  <a:pt x="552" y="603"/>
                </a:cubicBezTo>
                <a:cubicBezTo>
                  <a:pt x="553" y="602"/>
                  <a:pt x="553" y="601"/>
                  <a:pt x="550" y="598"/>
                </a:cubicBezTo>
                <a:cubicBezTo>
                  <a:pt x="557" y="600"/>
                  <a:pt x="550" y="591"/>
                  <a:pt x="548" y="592"/>
                </a:cubicBezTo>
                <a:cubicBezTo>
                  <a:pt x="548" y="592"/>
                  <a:pt x="547" y="594"/>
                  <a:pt x="546" y="594"/>
                </a:cubicBezTo>
                <a:cubicBezTo>
                  <a:pt x="545" y="594"/>
                  <a:pt x="543" y="592"/>
                  <a:pt x="542" y="591"/>
                </a:cubicBezTo>
                <a:cubicBezTo>
                  <a:pt x="541" y="590"/>
                  <a:pt x="536" y="584"/>
                  <a:pt x="540" y="587"/>
                </a:cubicBezTo>
                <a:cubicBezTo>
                  <a:pt x="542" y="588"/>
                  <a:pt x="543" y="589"/>
                  <a:pt x="545" y="589"/>
                </a:cubicBezTo>
                <a:cubicBezTo>
                  <a:pt x="545" y="589"/>
                  <a:pt x="544" y="588"/>
                  <a:pt x="545" y="589"/>
                </a:cubicBezTo>
                <a:cubicBezTo>
                  <a:pt x="545" y="589"/>
                  <a:pt x="545" y="589"/>
                  <a:pt x="545" y="589"/>
                </a:cubicBezTo>
                <a:cubicBezTo>
                  <a:pt x="546" y="590"/>
                  <a:pt x="547" y="590"/>
                  <a:pt x="549" y="591"/>
                </a:cubicBezTo>
                <a:cubicBezTo>
                  <a:pt x="551" y="592"/>
                  <a:pt x="552" y="594"/>
                  <a:pt x="553" y="594"/>
                </a:cubicBezTo>
                <a:cubicBezTo>
                  <a:pt x="553" y="594"/>
                  <a:pt x="553" y="594"/>
                  <a:pt x="554" y="593"/>
                </a:cubicBezTo>
                <a:cubicBezTo>
                  <a:pt x="554" y="593"/>
                  <a:pt x="555" y="593"/>
                  <a:pt x="555" y="593"/>
                </a:cubicBezTo>
                <a:cubicBezTo>
                  <a:pt x="555" y="594"/>
                  <a:pt x="555" y="594"/>
                  <a:pt x="556" y="594"/>
                </a:cubicBezTo>
                <a:cubicBezTo>
                  <a:pt x="556" y="594"/>
                  <a:pt x="556" y="594"/>
                  <a:pt x="556" y="594"/>
                </a:cubicBezTo>
                <a:cubicBezTo>
                  <a:pt x="557" y="591"/>
                  <a:pt x="549" y="589"/>
                  <a:pt x="546" y="588"/>
                </a:cubicBezTo>
                <a:cubicBezTo>
                  <a:pt x="547" y="588"/>
                  <a:pt x="547" y="588"/>
                  <a:pt x="546" y="588"/>
                </a:cubicBezTo>
                <a:cubicBezTo>
                  <a:pt x="546" y="589"/>
                  <a:pt x="545" y="588"/>
                  <a:pt x="546" y="587"/>
                </a:cubicBezTo>
                <a:cubicBezTo>
                  <a:pt x="546" y="587"/>
                  <a:pt x="546" y="587"/>
                  <a:pt x="545" y="587"/>
                </a:cubicBezTo>
                <a:cubicBezTo>
                  <a:pt x="545" y="587"/>
                  <a:pt x="545" y="587"/>
                  <a:pt x="544" y="586"/>
                </a:cubicBezTo>
                <a:cubicBezTo>
                  <a:pt x="544" y="586"/>
                  <a:pt x="544" y="586"/>
                  <a:pt x="544" y="586"/>
                </a:cubicBezTo>
                <a:cubicBezTo>
                  <a:pt x="543" y="586"/>
                  <a:pt x="543" y="586"/>
                  <a:pt x="543" y="586"/>
                </a:cubicBezTo>
                <a:cubicBezTo>
                  <a:pt x="541" y="585"/>
                  <a:pt x="539" y="583"/>
                  <a:pt x="539" y="583"/>
                </a:cubicBezTo>
                <a:cubicBezTo>
                  <a:pt x="538" y="579"/>
                  <a:pt x="551" y="590"/>
                  <a:pt x="548" y="583"/>
                </a:cubicBezTo>
                <a:cubicBezTo>
                  <a:pt x="548" y="582"/>
                  <a:pt x="546" y="576"/>
                  <a:pt x="545" y="576"/>
                </a:cubicBezTo>
                <a:cubicBezTo>
                  <a:pt x="544" y="576"/>
                  <a:pt x="545" y="579"/>
                  <a:pt x="544" y="579"/>
                </a:cubicBezTo>
                <a:cubicBezTo>
                  <a:pt x="543" y="580"/>
                  <a:pt x="540" y="578"/>
                  <a:pt x="540" y="577"/>
                </a:cubicBezTo>
                <a:cubicBezTo>
                  <a:pt x="540" y="575"/>
                  <a:pt x="542" y="576"/>
                  <a:pt x="542" y="575"/>
                </a:cubicBezTo>
                <a:cubicBezTo>
                  <a:pt x="542" y="573"/>
                  <a:pt x="541" y="572"/>
                  <a:pt x="539" y="570"/>
                </a:cubicBezTo>
                <a:cubicBezTo>
                  <a:pt x="539" y="571"/>
                  <a:pt x="539" y="571"/>
                  <a:pt x="539" y="571"/>
                </a:cubicBezTo>
                <a:cubicBezTo>
                  <a:pt x="539" y="571"/>
                  <a:pt x="539" y="570"/>
                  <a:pt x="539" y="570"/>
                </a:cubicBezTo>
                <a:cubicBezTo>
                  <a:pt x="537" y="569"/>
                  <a:pt x="536" y="568"/>
                  <a:pt x="535" y="566"/>
                </a:cubicBezTo>
                <a:cubicBezTo>
                  <a:pt x="533" y="563"/>
                  <a:pt x="530" y="561"/>
                  <a:pt x="530" y="561"/>
                </a:cubicBezTo>
                <a:cubicBezTo>
                  <a:pt x="530" y="560"/>
                  <a:pt x="533" y="559"/>
                  <a:pt x="534" y="558"/>
                </a:cubicBezTo>
                <a:cubicBezTo>
                  <a:pt x="534" y="556"/>
                  <a:pt x="532" y="555"/>
                  <a:pt x="535" y="556"/>
                </a:cubicBezTo>
                <a:cubicBezTo>
                  <a:pt x="537" y="556"/>
                  <a:pt x="535" y="554"/>
                  <a:pt x="537" y="556"/>
                </a:cubicBezTo>
                <a:cubicBezTo>
                  <a:pt x="539" y="556"/>
                  <a:pt x="543" y="561"/>
                  <a:pt x="540" y="563"/>
                </a:cubicBezTo>
                <a:cubicBezTo>
                  <a:pt x="539" y="564"/>
                  <a:pt x="536" y="564"/>
                  <a:pt x="538" y="566"/>
                </a:cubicBezTo>
                <a:cubicBezTo>
                  <a:pt x="539" y="567"/>
                  <a:pt x="541" y="567"/>
                  <a:pt x="542" y="568"/>
                </a:cubicBezTo>
                <a:cubicBezTo>
                  <a:pt x="544" y="570"/>
                  <a:pt x="546" y="575"/>
                  <a:pt x="548" y="577"/>
                </a:cubicBezTo>
                <a:cubicBezTo>
                  <a:pt x="550" y="579"/>
                  <a:pt x="553" y="580"/>
                  <a:pt x="555" y="582"/>
                </a:cubicBezTo>
                <a:cubicBezTo>
                  <a:pt x="556" y="584"/>
                  <a:pt x="557" y="590"/>
                  <a:pt x="559" y="591"/>
                </a:cubicBezTo>
                <a:cubicBezTo>
                  <a:pt x="560" y="591"/>
                  <a:pt x="561" y="591"/>
                  <a:pt x="561" y="590"/>
                </a:cubicBezTo>
                <a:cubicBezTo>
                  <a:pt x="562" y="590"/>
                  <a:pt x="562" y="590"/>
                  <a:pt x="562" y="590"/>
                </a:cubicBezTo>
                <a:cubicBezTo>
                  <a:pt x="562" y="590"/>
                  <a:pt x="562" y="590"/>
                  <a:pt x="562" y="590"/>
                </a:cubicBezTo>
                <a:cubicBezTo>
                  <a:pt x="565" y="589"/>
                  <a:pt x="567" y="585"/>
                  <a:pt x="567" y="582"/>
                </a:cubicBezTo>
                <a:cubicBezTo>
                  <a:pt x="567" y="582"/>
                  <a:pt x="567" y="582"/>
                  <a:pt x="567" y="582"/>
                </a:cubicBezTo>
                <a:cubicBezTo>
                  <a:pt x="566" y="582"/>
                  <a:pt x="565" y="581"/>
                  <a:pt x="565" y="581"/>
                </a:cubicBezTo>
                <a:cubicBezTo>
                  <a:pt x="561" y="578"/>
                  <a:pt x="560" y="569"/>
                  <a:pt x="565" y="567"/>
                </a:cubicBezTo>
                <a:cubicBezTo>
                  <a:pt x="565" y="567"/>
                  <a:pt x="565" y="567"/>
                  <a:pt x="565" y="567"/>
                </a:cubicBezTo>
                <a:cubicBezTo>
                  <a:pt x="565" y="566"/>
                  <a:pt x="565" y="566"/>
                  <a:pt x="565" y="566"/>
                </a:cubicBezTo>
                <a:cubicBezTo>
                  <a:pt x="564" y="565"/>
                  <a:pt x="565" y="566"/>
                  <a:pt x="565" y="567"/>
                </a:cubicBezTo>
                <a:cubicBezTo>
                  <a:pt x="566" y="566"/>
                  <a:pt x="566" y="566"/>
                  <a:pt x="566" y="566"/>
                </a:cubicBezTo>
                <a:cubicBezTo>
                  <a:pt x="566" y="565"/>
                  <a:pt x="566" y="564"/>
                  <a:pt x="565" y="564"/>
                </a:cubicBezTo>
                <a:cubicBezTo>
                  <a:pt x="567" y="563"/>
                  <a:pt x="565" y="561"/>
                  <a:pt x="565" y="559"/>
                </a:cubicBezTo>
                <a:cubicBezTo>
                  <a:pt x="565" y="558"/>
                  <a:pt x="568" y="557"/>
                  <a:pt x="566" y="556"/>
                </a:cubicBezTo>
                <a:cubicBezTo>
                  <a:pt x="570" y="558"/>
                  <a:pt x="566" y="547"/>
                  <a:pt x="564" y="546"/>
                </a:cubicBezTo>
                <a:cubicBezTo>
                  <a:pt x="565" y="547"/>
                  <a:pt x="561" y="552"/>
                  <a:pt x="562" y="552"/>
                </a:cubicBezTo>
                <a:cubicBezTo>
                  <a:pt x="562" y="552"/>
                  <a:pt x="562" y="552"/>
                  <a:pt x="562" y="552"/>
                </a:cubicBezTo>
                <a:cubicBezTo>
                  <a:pt x="562" y="552"/>
                  <a:pt x="562" y="552"/>
                  <a:pt x="562" y="553"/>
                </a:cubicBezTo>
                <a:cubicBezTo>
                  <a:pt x="562" y="553"/>
                  <a:pt x="563" y="554"/>
                  <a:pt x="562" y="554"/>
                </a:cubicBezTo>
                <a:cubicBezTo>
                  <a:pt x="560" y="555"/>
                  <a:pt x="561" y="553"/>
                  <a:pt x="560" y="552"/>
                </a:cubicBezTo>
                <a:cubicBezTo>
                  <a:pt x="560" y="552"/>
                  <a:pt x="560" y="552"/>
                  <a:pt x="559" y="552"/>
                </a:cubicBezTo>
                <a:cubicBezTo>
                  <a:pt x="559" y="553"/>
                  <a:pt x="558" y="553"/>
                  <a:pt x="557" y="552"/>
                </a:cubicBezTo>
                <a:cubicBezTo>
                  <a:pt x="557" y="552"/>
                  <a:pt x="557" y="552"/>
                  <a:pt x="557" y="552"/>
                </a:cubicBezTo>
                <a:cubicBezTo>
                  <a:pt x="556" y="552"/>
                  <a:pt x="555" y="552"/>
                  <a:pt x="555" y="552"/>
                </a:cubicBezTo>
                <a:cubicBezTo>
                  <a:pt x="555" y="552"/>
                  <a:pt x="553" y="548"/>
                  <a:pt x="553" y="547"/>
                </a:cubicBezTo>
                <a:cubicBezTo>
                  <a:pt x="552" y="547"/>
                  <a:pt x="548" y="543"/>
                  <a:pt x="549" y="542"/>
                </a:cubicBezTo>
                <a:cubicBezTo>
                  <a:pt x="551" y="540"/>
                  <a:pt x="551" y="543"/>
                  <a:pt x="552" y="543"/>
                </a:cubicBezTo>
                <a:cubicBezTo>
                  <a:pt x="553" y="543"/>
                  <a:pt x="553" y="540"/>
                  <a:pt x="554" y="540"/>
                </a:cubicBezTo>
                <a:cubicBezTo>
                  <a:pt x="554" y="539"/>
                  <a:pt x="556" y="541"/>
                  <a:pt x="557" y="540"/>
                </a:cubicBezTo>
                <a:cubicBezTo>
                  <a:pt x="556" y="540"/>
                  <a:pt x="556" y="537"/>
                  <a:pt x="558" y="537"/>
                </a:cubicBezTo>
                <a:cubicBezTo>
                  <a:pt x="560" y="537"/>
                  <a:pt x="558" y="539"/>
                  <a:pt x="559" y="540"/>
                </a:cubicBezTo>
                <a:cubicBezTo>
                  <a:pt x="559" y="541"/>
                  <a:pt x="561" y="540"/>
                  <a:pt x="561" y="540"/>
                </a:cubicBezTo>
                <a:cubicBezTo>
                  <a:pt x="562" y="540"/>
                  <a:pt x="561" y="542"/>
                  <a:pt x="563" y="543"/>
                </a:cubicBezTo>
                <a:cubicBezTo>
                  <a:pt x="563" y="543"/>
                  <a:pt x="565" y="543"/>
                  <a:pt x="565" y="543"/>
                </a:cubicBezTo>
                <a:cubicBezTo>
                  <a:pt x="567" y="546"/>
                  <a:pt x="567" y="553"/>
                  <a:pt x="572" y="553"/>
                </a:cubicBezTo>
                <a:cubicBezTo>
                  <a:pt x="573" y="554"/>
                  <a:pt x="573" y="552"/>
                  <a:pt x="573" y="551"/>
                </a:cubicBezTo>
                <a:cubicBezTo>
                  <a:pt x="575" y="553"/>
                  <a:pt x="582" y="559"/>
                  <a:pt x="581" y="564"/>
                </a:cubicBezTo>
                <a:cubicBezTo>
                  <a:pt x="581" y="564"/>
                  <a:pt x="579" y="567"/>
                  <a:pt x="579" y="567"/>
                </a:cubicBezTo>
                <a:cubicBezTo>
                  <a:pt x="578" y="568"/>
                  <a:pt x="577" y="568"/>
                  <a:pt x="576" y="568"/>
                </a:cubicBezTo>
                <a:cubicBezTo>
                  <a:pt x="576" y="569"/>
                  <a:pt x="575" y="569"/>
                  <a:pt x="575" y="569"/>
                </a:cubicBezTo>
                <a:cubicBezTo>
                  <a:pt x="575" y="569"/>
                  <a:pt x="575" y="569"/>
                  <a:pt x="575" y="569"/>
                </a:cubicBezTo>
                <a:cubicBezTo>
                  <a:pt x="574" y="569"/>
                  <a:pt x="574" y="569"/>
                  <a:pt x="573" y="569"/>
                </a:cubicBezTo>
                <a:cubicBezTo>
                  <a:pt x="574" y="571"/>
                  <a:pt x="575" y="573"/>
                  <a:pt x="575" y="574"/>
                </a:cubicBezTo>
                <a:cubicBezTo>
                  <a:pt x="577" y="574"/>
                  <a:pt x="576" y="572"/>
                  <a:pt x="576" y="571"/>
                </a:cubicBezTo>
                <a:cubicBezTo>
                  <a:pt x="577" y="572"/>
                  <a:pt x="577" y="572"/>
                  <a:pt x="577" y="572"/>
                </a:cubicBezTo>
                <a:cubicBezTo>
                  <a:pt x="578" y="571"/>
                  <a:pt x="578" y="570"/>
                  <a:pt x="579" y="570"/>
                </a:cubicBezTo>
                <a:cubicBezTo>
                  <a:pt x="580" y="570"/>
                  <a:pt x="579" y="572"/>
                  <a:pt x="580" y="572"/>
                </a:cubicBezTo>
                <a:cubicBezTo>
                  <a:pt x="581" y="573"/>
                  <a:pt x="580" y="571"/>
                  <a:pt x="582" y="573"/>
                </a:cubicBezTo>
                <a:cubicBezTo>
                  <a:pt x="583" y="575"/>
                  <a:pt x="581" y="577"/>
                  <a:pt x="582" y="579"/>
                </a:cubicBezTo>
                <a:cubicBezTo>
                  <a:pt x="582" y="579"/>
                  <a:pt x="582" y="579"/>
                  <a:pt x="582" y="579"/>
                </a:cubicBezTo>
                <a:cubicBezTo>
                  <a:pt x="583" y="579"/>
                  <a:pt x="584" y="578"/>
                  <a:pt x="584" y="578"/>
                </a:cubicBezTo>
                <a:cubicBezTo>
                  <a:pt x="584" y="578"/>
                  <a:pt x="585" y="580"/>
                  <a:pt x="587" y="580"/>
                </a:cubicBezTo>
                <a:cubicBezTo>
                  <a:pt x="588" y="580"/>
                  <a:pt x="587" y="579"/>
                  <a:pt x="587" y="579"/>
                </a:cubicBezTo>
                <a:cubicBezTo>
                  <a:pt x="588" y="579"/>
                  <a:pt x="592" y="580"/>
                  <a:pt x="592" y="579"/>
                </a:cubicBezTo>
                <a:cubicBezTo>
                  <a:pt x="593" y="581"/>
                  <a:pt x="591" y="582"/>
                  <a:pt x="591" y="584"/>
                </a:cubicBezTo>
                <a:cubicBezTo>
                  <a:pt x="591" y="584"/>
                  <a:pt x="592" y="588"/>
                  <a:pt x="592" y="588"/>
                </a:cubicBezTo>
                <a:cubicBezTo>
                  <a:pt x="592" y="588"/>
                  <a:pt x="594" y="587"/>
                  <a:pt x="595" y="588"/>
                </a:cubicBezTo>
                <a:cubicBezTo>
                  <a:pt x="596" y="589"/>
                  <a:pt x="596" y="591"/>
                  <a:pt x="598" y="592"/>
                </a:cubicBezTo>
                <a:cubicBezTo>
                  <a:pt x="599" y="592"/>
                  <a:pt x="601" y="596"/>
                  <a:pt x="601" y="598"/>
                </a:cubicBezTo>
                <a:cubicBezTo>
                  <a:pt x="599" y="602"/>
                  <a:pt x="593" y="597"/>
                  <a:pt x="592" y="604"/>
                </a:cubicBezTo>
                <a:cubicBezTo>
                  <a:pt x="587" y="602"/>
                  <a:pt x="595" y="611"/>
                  <a:pt x="594" y="612"/>
                </a:cubicBezTo>
                <a:cubicBezTo>
                  <a:pt x="594" y="612"/>
                  <a:pt x="594" y="612"/>
                  <a:pt x="594" y="612"/>
                </a:cubicBezTo>
                <a:cubicBezTo>
                  <a:pt x="595" y="612"/>
                  <a:pt x="595" y="613"/>
                  <a:pt x="594" y="613"/>
                </a:cubicBezTo>
                <a:cubicBezTo>
                  <a:pt x="594" y="613"/>
                  <a:pt x="594" y="613"/>
                  <a:pt x="594" y="613"/>
                </a:cubicBezTo>
                <a:cubicBezTo>
                  <a:pt x="592" y="613"/>
                  <a:pt x="593" y="612"/>
                  <a:pt x="594" y="612"/>
                </a:cubicBezTo>
                <a:cubicBezTo>
                  <a:pt x="592" y="612"/>
                  <a:pt x="589" y="606"/>
                  <a:pt x="589" y="611"/>
                </a:cubicBezTo>
                <a:cubicBezTo>
                  <a:pt x="589" y="613"/>
                  <a:pt x="592" y="612"/>
                  <a:pt x="593" y="613"/>
                </a:cubicBezTo>
                <a:cubicBezTo>
                  <a:pt x="593" y="615"/>
                  <a:pt x="591" y="617"/>
                  <a:pt x="591" y="619"/>
                </a:cubicBezTo>
                <a:cubicBezTo>
                  <a:pt x="591" y="619"/>
                  <a:pt x="593" y="622"/>
                  <a:pt x="594" y="622"/>
                </a:cubicBezTo>
                <a:cubicBezTo>
                  <a:pt x="596" y="622"/>
                  <a:pt x="596" y="620"/>
                  <a:pt x="598" y="622"/>
                </a:cubicBezTo>
                <a:cubicBezTo>
                  <a:pt x="599" y="622"/>
                  <a:pt x="597" y="621"/>
                  <a:pt x="598" y="621"/>
                </a:cubicBezTo>
                <a:cubicBezTo>
                  <a:pt x="598" y="623"/>
                  <a:pt x="600" y="622"/>
                  <a:pt x="599" y="620"/>
                </a:cubicBezTo>
                <a:cubicBezTo>
                  <a:pt x="601" y="623"/>
                  <a:pt x="600" y="626"/>
                  <a:pt x="603" y="625"/>
                </a:cubicBezTo>
                <a:cubicBezTo>
                  <a:pt x="603" y="625"/>
                  <a:pt x="608" y="621"/>
                  <a:pt x="608" y="621"/>
                </a:cubicBezTo>
                <a:cubicBezTo>
                  <a:pt x="608" y="617"/>
                  <a:pt x="604" y="622"/>
                  <a:pt x="601" y="620"/>
                </a:cubicBezTo>
                <a:cubicBezTo>
                  <a:pt x="599" y="618"/>
                  <a:pt x="606" y="619"/>
                  <a:pt x="607" y="618"/>
                </a:cubicBezTo>
                <a:cubicBezTo>
                  <a:pt x="608" y="617"/>
                  <a:pt x="606" y="617"/>
                  <a:pt x="607" y="616"/>
                </a:cubicBezTo>
                <a:cubicBezTo>
                  <a:pt x="607" y="615"/>
                  <a:pt x="610" y="614"/>
                  <a:pt x="609" y="613"/>
                </a:cubicBezTo>
                <a:cubicBezTo>
                  <a:pt x="608" y="613"/>
                  <a:pt x="607" y="616"/>
                  <a:pt x="606" y="614"/>
                </a:cubicBezTo>
                <a:cubicBezTo>
                  <a:pt x="605" y="613"/>
                  <a:pt x="608" y="611"/>
                  <a:pt x="608" y="612"/>
                </a:cubicBezTo>
                <a:cubicBezTo>
                  <a:pt x="609" y="610"/>
                  <a:pt x="609" y="610"/>
                  <a:pt x="610" y="609"/>
                </a:cubicBezTo>
                <a:cubicBezTo>
                  <a:pt x="610" y="609"/>
                  <a:pt x="609" y="608"/>
                  <a:pt x="609" y="608"/>
                </a:cubicBezTo>
                <a:cubicBezTo>
                  <a:pt x="610" y="608"/>
                  <a:pt x="611" y="609"/>
                  <a:pt x="611" y="609"/>
                </a:cubicBezTo>
                <a:cubicBezTo>
                  <a:pt x="613" y="610"/>
                  <a:pt x="615" y="611"/>
                  <a:pt x="616" y="612"/>
                </a:cubicBezTo>
                <a:cubicBezTo>
                  <a:pt x="616" y="612"/>
                  <a:pt x="616" y="612"/>
                  <a:pt x="616" y="612"/>
                </a:cubicBezTo>
                <a:cubicBezTo>
                  <a:pt x="617" y="611"/>
                  <a:pt x="616" y="611"/>
                  <a:pt x="616" y="610"/>
                </a:cubicBezTo>
                <a:cubicBezTo>
                  <a:pt x="616" y="610"/>
                  <a:pt x="617" y="609"/>
                  <a:pt x="617" y="609"/>
                </a:cubicBezTo>
                <a:cubicBezTo>
                  <a:pt x="615" y="608"/>
                  <a:pt x="613" y="606"/>
                  <a:pt x="613" y="605"/>
                </a:cubicBezTo>
                <a:cubicBezTo>
                  <a:pt x="613" y="603"/>
                  <a:pt x="616" y="603"/>
                  <a:pt x="614" y="601"/>
                </a:cubicBezTo>
                <a:cubicBezTo>
                  <a:pt x="613" y="601"/>
                  <a:pt x="610" y="602"/>
                  <a:pt x="610" y="602"/>
                </a:cubicBezTo>
                <a:cubicBezTo>
                  <a:pt x="610" y="602"/>
                  <a:pt x="608" y="602"/>
                  <a:pt x="608" y="602"/>
                </a:cubicBezTo>
                <a:cubicBezTo>
                  <a:pt x="607" y="603"/>
                  <a:pt x="608" y="605"/>
                  <a:pt x="608" y="606"/>
                </a:cubicBezTo>
                <a:cubicBezTo>
                  <a:pt x="606" y="607"/>
                  <a:pt x="605" y="604"/>
                  <a:pt x="604" y="603"/>
                </a:cubicBezTo>
                <a:cubicBezTo>
                  <a:pt x="608" y="604"/>
                  <a:pt x="605" y="600"/>
                  <a:pt x="605" y="598"/>
                </a:cubicBezTo>
                <a:cubicBezTo>
                  <a:pt x="604" y="597"/>
                  <a:pt x="605" y="595"/>
                  <a:pt x="605" y="594"/>
                </a:cubicBezTo>
                <a:cubicBezTo>
                  <a:pt x="604" y="593"/>
                  <a:pt x="602" y="594"/>
                  <a:pt x="602" y="592"/>
                </a:cubicBezTo>
                <a:cubicBezTo>
                  <a:pt x="603" y="591"/>
                  <a:pt x="604" y="592"/>
                  <a:pt x="604" y="592"/>
                </a:cubicBezTo>
                <a:cubicBezTo>
                  <a:pt x="605" y="592"/>
                  <a:pt x="603" y="589"/>
                  <a:pt x="605" y="588"/>
                </a:cubicBezTo>
                <a:cubicBezTo>
                  <a:pt x="605" y="588"/>
                  <a:pt x="607" y="589"/>
                  <a:pt x="608" y="590"/>
                </a:cubicBezTo>
                <a:cubicBezTo>
                  <a:pt x="609" y="590"/>
                  <a:pt x="610" y="590"/>
                  <a:pt x="611" y="591"/>
                </a:cubicBezTo>
                <a:cubicBezTo>
                  <a:pt x="611" y="588"/>
                  <a:pt x="613" y="584"/>
                  <a:pt x="614" y="584"/>
                </a:cubicBezTo>
                <a:cubicBezTo>
                  <a:pt x="615" y="582"/>
                  <a:pt x="617" y="585"/>
                  <a:pt x="617" y="582"/>
                </a:cubicBezTo>
                <a:cubicBezTo>
                  <a:pt x="618" y="585"/>
                  <a:pt x="621" y="582"/>
                  <a:pt x="622" y="582"/>
                </a:cubicBezTo>
                <a:cubicBezTo>
                  <a:pt x="623" y="582"/>
                  <a:pt x="622" y="584"/>
                  <a:pt x="623" y="584"/>
                </a:cubicBezTo>
                <a:cubicBezTo>
                  <a:pt x="623" y="585"/>
                  <a:pt x="624" y="584"/>
                  <a:pt x="625" y="585"/>
                </a:cubicBezTo>
                <a:cubicBezTo>
                  <a:pt x="625" y="585"/>
                  <a:pt x="625" y="585"/>
                  <a:pt x="625" y="585"/>
                </a:cubicBezTo>
                <a:cubicBezTo>
                  <a:pt x="626" y="585"/>
                  <a:pt x="628" y="585"/>
                  <a:pt x="629" y="585"/>
                </a:cubicBezTo>
                <a:cubicBezTo>
                  <a:pt x="629" y="585"/>
                  <a:pt x="629" y="584"/>
                  <a:pt x="630" y="584"/>
                </a:cubicBezTo>
                <a:cubicBezTo>
                  <a:pt x="629" y="584"/>
                  <a:pt x="628" y="584"/>
                  <a:pt x="628" y="584"/>
                </a:cubicBezTo>
                <a:cubicBezTo>
                  <a:pt x="627" y="583"/>
                  <a:pt x="626" y="583"/>
                  <a:pt x="626" y="582"/>
                </a:cubicBezTo>
                <a:cubicBezTo>
                  <a:pt x="626" y="581"/>
                  <a:pt x="625" y="581"/>
                  <a:pt x="625" y="580"/>
                </a:cubicBezTo>
                <a:cubicBezTo>
                  <a:pt x="625" y="580"/>
                  <a:pt x="625" y="580"/>
                  <a:pt x="624" y="580"/>
                </a:cubicBezTo>
                <a:cubicBezTo>
                  <a:pt x="624" y="580"/>
                  <a:pt x="624" y="579"/>
                  <a:pt x="624" y="579"/>
                </a:cubicBezTo>
                <a:cubicBezTo>
                  <a:pt x="624" y="577"/>
                  <a:pt x="624" y="575"/>
                  <a:pt x="622" y="574"/>
                </a:cubicBezTo>
                <a:cubicBezTo>
                  <a:pt x="624" y="576"/>
                  <a:pt x="625" y="573"/>
                  <a:pt x="625" y="573"/>
                </a:cubicBezTo>
                <a:cubicBezTo>
                  <a:pt x="625" y="573"/>
                  <a:pt x="625" y="573"/>
                  <a:pt x="625" y="572"/>
                </a:cubicBezTo>
                <a:cubicBezTo>
                  <a:pt x="625" y="572"/>
                  <a:pt x="625" y="572"/>
                  <a:pt x="625" y="572"/>
                </a:cubicBezTo>
                <a:cubicBezTo>
                  <a:pt x="625" y="572"/>
                  <a:pt x="625" y="573"/>
                  <a:pt x="625" y="573"/>
                </a:cubicBezTo>
                <a:cubicBezTo>
                  <a:pt x="623" y="574"/>
                  <a:pt x="619" y="571"/>
                  <a:pt x="619" y="570"/>
                </a:cubicBezTo>
                <a:cubicBezTo>
                  <a:pt x="619" y="569"/>
                  <a:pt x="619" y="570"/>
                  <a:pt x="620" y="569"/>
                </a:cubicBezTo>
                <a:cubicBezTo>
                  <a:pt x="620" y="567"/>
                  <a:pt x="618" y="565"/>
                  <a:pt x="620" y="562"/>
                </a:cubicBezTo>
                <a:cubicBezTo>
                  <a:pt x="621" y="563"/>
                  <a:pt x="620" y="565"/>
                  <a:pt x="621" y="566"/>
                </a:cubicBezTo>
                <a:cubicBezTo>
                  <a:pt x="621" y="567"/>
                  <a:pt x="622" y="565"/>
                  <a:pt x="622" y="565"/>
                </a:cubicBezTo>
                <a:cubicBezTo>
                  <a:pt x="624" y="565"/>
                  <a:pt x="627" y="568"/>
                  <a:pt x="626" y="571"/>
                </a:cubicBezTo>
                <a:cubicBezTo>
                  <a:pt x="627" y="572"/>
                  <a:pt x="628" y="572"/>
                  <a:pt x="628" y="573"/>
                </a:cubicBezTo>
                <a:cubicBezTo>
                  <a:pt x="629" y="573"/>
                  <a:pt x="629" y="572"/>
                  <a:pt x="629" y="572"/>
                </a:cubicBezTo>
                <a:cubicBezTo>
                  <a:pt x="628" y="570"/>
                  <a:pt x="628" y="568"/>
                  <a:pt x="627" y="566"/>
                </a:cubicBezTo>
                <a:cubicBezTo>
                  <a:pt x="626" y="565"/>
                  <a:pt x="625" y="565"/>
                  <a:pt x="624" y="565"/>
                </a:cubicBezTo>
                <a:cubicBezTo>
                  <a:pt x="624" y="564"/>
                  <a:pt x="624" y="563"/>
                  <a:pt x="623" y="563"/>
                </a:cubicBezTo>
                <a:cubicBezTo>
                  <a:pt x="622" y="562"/>
                  <a:pt x="622" y="564"/>
                  <a:pt x="621" y="563"/>
                </a:cubicBezTo>
                <a:cubicBezTo>
                  <a:pt x="620" y="562"/>
                  <a:pt x="621" y="561"/>
                  <a:pt x="621" y="561"/>
                </a:cubicBezTo>
                <a:cubicBezTo>
                  <a:pt x="622" y="560"/>
                  <a:pt x="624" y="562"/>
                  <a:pt x="625" y="562"/>
                </a:cubicBezTo>
                <a:cubicBezTo>
                  <a:pt x="626" y="561"/>
                  <a:pt x="626" y="560"/>
                  <a:pt x="627" y="559"/>
                </a:cubicBezTo>
                <a:cubicBezTo>
                  <a:pt x="628" y="558"/>
                  <a:pt x="630" y="559"/>
                  <a:pt x="629" y="555"/>
                </a:cubicBezTo>
                <a:cubicBezTo>
                  <a:pt x="631" y="560"/>
                  <a:pt x="631" y="555"/>
                  <a:pt x="632" y="554"/>
                </a:cubicBezTo>
                <a:cubicBezTo>
                  <a:pt x="632" y="555"/>
                  <a:pt x="638" y="557"/>
                  <a:pt x="639" y="557"/>
                </a:cubicBezTo>
                <a:cubicBezTo>
                  <a:pt x="640" y="557"/>
                  <a:pt x="641" y="560"/>
                  <a:pt x="643" y="561"/>
                </a:cubicBezTo>
                <a:cubicBezTo>
                  <a:pt x="643" y="560"/>
                  <a:pt x="643" y="560"/>
                  <a:pt x="642" y="560"/>
                </a:cubicBezTo>
                <a:cubicBezTo>
                  <a:pt x="643" y="560"/>
                  <a:pt x="644" y="560"/>
                  <a:pt x="644" y="561"/>
                </a:cubicBezTo>
                <a:cubicBezTo>
                  <a:pt x="644" y="561"/>
                  <a:pt x="644" y="561"/>
                  <a:pt x="645" y="561"/>
                </a:cubicBezTo>
                <a:cubicBezTo>
                  <a:pt x="644" y="561"/>
                  <a:pt x="644" y="561"/>
                  <a:pt x="644" y="560"/>
                </a:cubicBezTo>
                <a:cubicBezTo>
                  <a:pt x="644" y="560"/>
                  <a:pt x="644" y="560"/>
                  <a:pt x="644" y="559"/>
                </a:cubicBezTo>
                <a:cubicBezTo>
                  <a:pt x="644" y="559"/>
                  <a:pt x="644" y="559"/>
                  <a:pt x="644" y="559"/>
                </a:cubicBezTo>
                <a:cubicBezTo>
                  <a:pt x="644" y="559"/>
                  <a:pt x="644" y="559"/>
                  <a:pt x="644" y="559"/>
                </a:cubicBezTo>
                <a:cubicBezTo>
                  <a:pt x="644" y="557"/>
                  <a:pt x="646" y="551"/>
                  <a:pt x="647" y="548"/>
                </a:cubicBezTo>
                <a:cubicBezTo>
                  <a:pt x="646" y="547"/>
                  <a:pt x="646" y="547"/>
                  <a:pt x="646" y="546"/>
                </a:cubicBezTo>
                <a:cubicBezTo>
                  <a:pt x="646" y="545"/>
                  <a:pt x="647" y="546"/>
                  <a:pt x="648" y="546"/>
                </a:cubicBezTo>
                <a:cubicBezTo>
                  <a:pt x="648" y="546"/>
                  <a:pt x="649" y="545"/>
                  <a:pt x="649" y="546"/>
                </a:cubicBezTo>
                <a:cubicBezTo>
                  <a:pt x="650" y="546"/>
                  <a:pt x="650" y="547"/>
                  <a:pt x="650" y="549"/>
                </a:cubicBezTo>
                <a:cubicBezTo>
                  <a:pt x="650" y="548"/>
                  <a:pt x="651" y="548"/>
                  <a:pt x="651" y="548"/>
                </a:cubicBezTo>
                <a:cubicBezTo>
                  <a:pt x="652" y="548"/>
                  <a:pt x="653" y="550"/>
                  <a:pt x="653" y="551"/>
                </a:cubicBezTo>
                <a:cubicBezTo>
                  <a:pt x="654" y="551"/>
                  <a:pt x="655" y="551"/>
                  <a:pt x="655" y="552"/>
                </a:cubicBezTo>
                <a:cubicBezTo>
                  <a:pt x="656" y="553"/>
                  <a:pt x="655" y="554"/>
                  <a:pt x="655" y="555"/>
                </a:cubicBezTo>
                <a:cubicBezTo>
                  <a:pt x="655" y="555"/>
                  <a:pt x="656" y="554"/>
                  <a:pt x="656" y="552"/>
                </a:cubicBezTo>
                <a:cubicBezTo>
                  <a:pt x="656" y="551"/>
                  <a:pt x="654" y="549"/>
                  <a:pt x="654" y="548"/>
                </a:cubicBezTo>
                <a:cubicBezTo>
                  <a:pt x="654" y="548"/>
                  <a:pt x="653" y="548"/>
                  <a:pt x="653" y="548"/>
                </a:cubicBezTo>
                <a:cubicBezTo>
                  <a:pt x="654" y="544"/>
                  <a:pt x="661" y="548"/>
                  <a:pt x="659" y="550"/>
                </a:cubicBezTo>
                <a:cubicBezTo>
                  <a:pt x="659" y="550"/>
                  <a:pt x="657" y="550"/>
                  <a:pt x="657" y="550"/>
                </a:cubicBezTo>
                <a:cubicBezTo>
                  <a:pt x="657" y="551"/>
                  <a:pt x="659" y="555"/>
                  <a:pt x="659" y="557"/>
                </a:cubicBezTo>
                <a:cubicBezTo>
                  <a:pt x="659" y="558"/>
                  <a:pt x="659" y="559"/>
                  <a:pt x="659" y="559"/>
                </a:cubicBezTo>
                <a:cubicBezTo>
                  <a:pt x="660" y="560"/>
                  <a:pt x="662" y="559"/>
                  <a:pt x="663" y="560"/>
                </a:cubicBezTo>
                <a:cubicBezTo>
                  <a:pt x="663" y="560"/>
                  <a:pt x="663" y="561"/>
                  <a:pt x="663" y="561"/>
                </a:cubicBezTo>
                <a:cubicBezTo>
                  <a:pt x="664" y="562"/>
                  <a:pt x="666" y="564"/>
                  <a:pt x="666" y="564"/>
                </a:cubicBezTo>
                <a:cubicBezTo>
                  <a:pt x="667" y="564"/>
                  <a:pt x="667" y="562"/>
                  <a:pt x="666" y="562"/>
                </a:cubicBezTo>
                <a:cubicBezTo>
                  <a:pt x="666" y="562"/>
                  <a:pt x="669" y="561"/>
                  <a:pt x="669" y="563"/>
                </a:cubicBezTo>
                <a:cubicBezTo>
                  <a:pt x="669" y="563"/>
                  <a:pt x="669" y="563"/>
                  <a:pt x="669" y="564"/>
                </a:cubicBezTo>
                <a:cubicBezTo>
                  <a:pt x="670" y="563"/>
                  <a:pt x="670" y="563"/>
                  <a:pt x="671" y="563"/>
                </a:cubicBezTo>
                <a:cubicBezTo>
                  <a:pt x="670" y="562"/>
                  <a:pt x="669" y="562"/>
                  <a:pt x="669" y="561"/>
                </a:cubicBezTo>
                <a:cubicBezTo>
                  <a:pt x="669" y="561"/>
                  <a:pt x="669" y="562"/>
                  <a:pt x="668" y="562"/>
                </a:cubicBezTo>
                <a:cubicBezTo>
                  <a:pt x="668" y="562"/>
                  <a:pt x="667" y="562"/>
                  <a:pt x="667" y="561"/>
                </a:cubicBezTo>
                <a:cubicBezTo>
                  <a:pt x="667" y="561"/>
                  <a:pt x="666" y="560"/>
                  <a:pt x="667" y="559"/>
                </a:cubicBezTo>
                <a:cubicBezTo>
                  <a:pt x="668" y="559"/>
                  <a:pt x="668" y="560"/>
                  <a:pt x="668" y="560"/>
                </a:cubicBezTo>
                <a:cubicBezTo>
                  <a:pt x="668" y="560"/>
                  <a:pt x="668" y="560"/>
                  <a:pt x="668" y="560"/>
                </a:cubicBezTo>
                <a:cubicBezTo>
                  <a:pt x="668" y="560"/>
                  <a:pt x="668" y="560"/>
                  <a:pt x="668" y="560"/>
                </a:cubicBezTo>
                <a:cubicBezTo>
                  <a:pt x="668" y="560"/>
                  <a:pt x="669" y="560"/>
                  <a:pt x="669" y="560"/>
                </a:cubicBezTo>
                <a:cubicBezTo>
                  <a:pt x="668" y="559"/>
                  <a:pt x="669" y="558"/>
                  <a:pt x="671" y="557"/>
                </a:cubicBezTo>
                <a:cubicBezTo>
                  <a:pt x="672" y="557"/>
                  <a:pt x="673" y="558"/>
                  <a:pt x="674" y="559"/>
                </a:cubicBezTo>
                <a:cubicBezTo>
                  <a:pt x="673" y="559"/>
                  <a:pt x="673" y="559"/>
                  <a:pt x="674" y="559"/>
                </a:cubicBezTo>
                <a:cubicBezTo>
                  <a:pt x="674" y="557"/>
                  <a:pt x="674" y="559"/>
                  <a:pt x="675" y="559"/>
                </a:cubicBezTo>
                <a:cubicBezTo>
                  <a:pt x="675" y="558"/>
                  <a:pt x="675" y="558"/>
                  <a:pt x="675" y="557"/>
                </a:cubicBezTo>
                <a:cubicBezTo>
                  <a:pt x="675" y="557"/>
                  <a:pt x="675" y="557"/>
                  <a:pt x="675" y="557"/>
                </a:cubicBezTo>
                <a:cubicBezTo>
                  <a:pt x="675" y="557"/>
                  <a:pt x="675" y="556"/>
                  <a:pt x="675" y="556"/>
                </a:cubicBezTo>
                <a:cubicBezTo>
                  <a:pt x="677" y="554"/>
                  <a:pt x="678" y="556"/>
                  <a:pt x="679" y="557"/>
                </a:cubicBezTo>
                <a:cubicBezTo>
                  <a:pt x="679" y="553"/>
                  <a:pt x="679" y="553"/>
                  <a:pt x="679" y="553"/>
                </a:cubicBezTo>
                <a:cubicBezTo>
                  <a:pt x="679" y="553"/>
                  <a:pt x="678" y="553"/>
                  <a:pt x="677" y="552"/>
                </a:cubicBezTo>
                <a:cubicBezTo>
                  <a:pt x="673" y="549"/>
                  <a:pt x="676" y="544"/>
                  <a:pt x="679" y="544"/>
                </a:cubicBezTo>
                <a:cubicBezTo>
                  <a:pt x="679" y="543"/>
                  <a:pt x="679" y="543"/>
                  <a:pt x="679" y="543"/>
                </a:cubicBezTo>
                <a:cubicBezTo>
                  <a:pt x="679" y="543"/>
                  <a:pt x="679" y="542"/>
                  <a:pt x="679" y="542"/>
                </a:cubicBezTo>
                <a:cubicBezTo>
                  <a:pt x="679" y="542"/>
                  <a:pt x="679" y="543"/>
                  <a:pt x="679" y="543"/>
                </a:cubicBezTo>
                <a:cubicBezTo>
                  <a:pt x="679" y="511"/>
                  <a:pt x="679" y="511"/>
                  <a:pt x="679" y="511"/>
                </a:cubicBezTo>
                <a:cubicBezTo>
                  <a:pt x="678" y="509"/>
                  <a:pt x="677" y="507"/>
                  <a:pt x="677" y="506"/>
                </a:cubicBezTo>
                <a:cubicBezTo>
                  <a:pt x="678" y="507"/>
                  <a:pt x="679" y="508"/>
                  <a:pt x="679" y="509"/>
                </a:cubicBezTo>
                <a:cubicBezTo>
                  <a:pt x="679" y="508"/>
                  <a:pt x="679" y="508"/>
                  <a:pt x="679" y="508"/>
                </a:cubicBezTo>
                <a:cubicBezTo>
                  <a:pt x="679" y="507"/>
                  <a:pt x="678" y="507"/>
                  <a:pt x="679" y="507"/>
                </a:cubicBezTo>
                <a:cubicBezTo>
                  <a:pt x="679" y="423"/>
                  <a:pt x="679" y="423"/>
                  <a:pt x="679" y="423"/>
                </a:cubicBezTo>
                <a:cubicBezTo>
                  <a:pt x="679" y="423"/>
                  <a:pt x="679" y="422"/>
                  <a:pt x="679" y="422"/>
                </a:cubicBezTo>
                <a:cubicBezTo>
                  <a:pt x="679" y="422"/>
                  <a:pt x="679" y="422"/>
                  <a:pt x="679" y="422"/>
                </a:cubicBezTo>
                <a:cubicBezTo>
                  <a:pt x="679" y="196"/>
                  <a:pt x="679" y="196"/>
                  <a:pt x="679" y="196"/>
                </a:cubicBezTo>
                <a:cubicBezTo>
                  <a:pt x="521" y="105"/>
                  <a:pt x="521" y="105"/>
                  <a:pt x="521" y="105"/>
                </a:cubicBezTo>
                <a:cubicBezTo>
                  <a:pt x="520" y="105"/>
                  <a:pt x="517" y="104"/>
                  <a:pt x="516" y="103"/>
                </a:cubicBezTo>
                <a:cubicBezTo>
                  <a:pt x="516" y="103"/>
                  <a:pt x="517" y="102"/>
                  <a:pt x="517" y="102"/>
                </a:cubicBezTo>
                <a:cubicBezTo>
                  <a:pt x="340" y="0"/>
                  <a:pt x="340" y="0"/>
                  <a:pt x="340" y="0"/>
                </a:cubicBezTo>
                <a:cubicBezTo>
                  <a:pt x="329" y="7"/>
                  <a:pt x="329" y="7"/>
                  <a:pt x="329" y="7"/>
                </a:cubicBezTo>
                <a:cubicBezTo>
                  <a:pt x="330" y="7"/>
                  <a:pt x="330" y="7"/>
                  <a:pt x="328" y="7"/>
                </a:cubicBezTo>
                <a:cubicBezTo>
                  <a:pt x="315" y="15"/>
                  <a:pt x="315" y="15"/>
                  <a:pt x="315" y="15"/>
                </a:cubicBezTo>
                <a:cubicBezTo>
                  <a:pt x="315" y="15"/>
                  <a:pt x="315" y="15"/>
                  <a:pt x="315" y="15"/>
                </a:cubicBezTo>
                <a:cubicBezTo>
                  <a:pt x="315" y="15"/>
                  <a:pt x="314" y="15"/>
                  <a:pt x="314" y="15"/>
                </a:cubicBezTo>
                <a:cubicBezTo>
                  <a:pt x="298" y="25"/>
                  <a:pt x="298" y="25"/>
                  <a:pt x="298" y="25"/>
                </a:cubicBezTo>
                <a:cubicBezTo>
                  <a:pt x="299" y="24"/>
                  <a:pt x="301" y="24"/>
                  <a:pt x="301" y="25"/>
                </a:cubicBezTo>
                <a:cubicBezTo>
                  <a:pt x="302" y="27"/>
                  <a:pt x="300" y="27"/>
                  <a:pt x="301" y="28"/>
                </a:cubicBezTo>
                <a:cubicBezTo>
                  <a:pt x="301" y="30"/>
                  <a:pt x="303" y="30"/>
                  <a:pt x="306" y="31"/>
                </a:cubicBezTo>
                <a:cubicBezTo>
                  <a:pt x="305" y="30"/>
                  <a:pt x="305" y="30"/>
                  <a:pt x="305" y="30"/>
                </a:cubicBezTo>
                <a:cubicBezTo>
                  <a:pt x="306" y="30"/>
                  <a:pt x="306" y="30"/>
                  <a:pt x="306" y="31"/>
                </a:cubicBezTo>
                <a:cubicBezTo>
                  <a:pt x="308" y="31"/>
                  <a:pt x="310" y="31"/>
                  <a:pt x="311" y="32"/>
                </a:cubicBezTo>
                <a:cubicBezTo>
                  <a:pt x="314" y="34"/>
                  <a:pt x="318" y="34"/>
                  <a:pt x="318" y="34"/>
                </a:cubicBezTo>
                <a:cubicBezTo>
                  <a:pt x="318" y="35"/>
                  <a:pt x="316" y="37"/>
                  <a:pt x="317" y="39"/>
                </a:cubicBezTo>
                <a:cubicBezTo>
                  <a:pt x="317" y="41"/>
                  <a:pt x="319" y="40"/>
                  <a:pt x="317" y="41"/>
                </a:cubicBezTo>
                <a:cubicBezTo>
                  <a:pt x="315" y="42"/>
                  <a:pt x="318" y="42"/>
                  <a:pt x="315" y="42"/>
                </a:cubicBezTo>
                <a:cubicBezTo>
                  <a:pt x="313" y="42"/>
                  <a:pt x="307" y="41"/>
                  <a:pt x="309" y="37"/>
                </a:cubicBezTo>
                <a:cubicBezTo>
                  <a:pt x="309" y="36"/>
                  <a:pt x="311" y="35"/>
                  <a:pt x="309" y="34"/>
                </a:cubicBezTo>
                <a:cubicBezTo>
                  <a:pt x="308" y="34"/>
                  <a:pt x="306" y="35"/>
                  <a:pt x="305" y="34"/>
                </a:cubicBezTo>
                <a:cubicBezTo>
                  <a:pt x="302" y="33"/>
                  <a:pt x="298" y="30"/>
                  <a:pt x="295" y="29"/>
                </a:cubicBezTo>
                <a:cubicBezTo>
                  <a:pt x="293" y="29"/>
                  <a:pt x="292" y="29"/>
                  <a:pt x="290" y="29"/>
                </a:cubicBezTo>
                <a:cubicBezTo>
                  <a:pt x="280" y="35"/>
                  <a:pt x="280" y="35"/>
                  <a:pt x="280" y="35"/>
                </a:cubicBezTo>
                <a:cubicBezTo>
                  <a:pt x="284" y="37"/>
                  <a:pt x="288" y="43"/>
                  <a:pt x="285" y="47"/>
                </a:cubicBezTo>
                <a:cubicBezTo>
                  <a:pt x="286" y="47"/>
                  <a:pt x="285" y="47"/>
                  <a:pt x="285" y="47"/>
                </a:cubicBezTo>
                <a:cubicBezTo>
                  <a:pt x="285" y="47"/>
                  <a:pt x="285" y="47"/>
                  <a:pt x="285" y="47"/>
                </a:cubicBezTo>
                <a:cubicBezTo>
                  <a:pt x="286" y="48"/>
                  <a:pt x="285" y="47"/>
                  <a:pt x="285" y="47"/>
                </a:cubicBezTo>
                <a:cubicBezTo>
                  <a:pt x="285" y="47"/>
                  <a:pt x="285" y="48"/>
                  <a:pt x="284" y="48"/>
                </a:cubicBezTo>
                <a:cubicBezTo>
                  <a:pt x="285" y="49"/>
                  <a:pt x="286" y="50"/>
                  <a:pt x="286" y="49"/>
                </a:cubicBezTo>
                <a:cubicBezTo>
                  <a:pt x="285" y="51"/>
                  <a:pt x="288" y="52"/>
                  <a:pt x="289" y="53"/>
                </a:cubicBezTo>
                <a:cubicBezTo>
                  <a:pt x="290" y="54"/>
                  <a:pt x="288" y="56"/>
                  <a:pt x="290" y="56"/>
                </a:cubicBezTo>
                <a:cubicBezTo>
                  <a:pt x="285" y="57"/>
                  <a:pt x="295" y="64"/>
                  <a:pt x="296" y="64"/>
                </a:cubicBezTo>
                <a:cubicBezTo>
                  <a:pt x="296" y="64"/>
                  <a:pt x="296" y="57"/>
                  <a:pt x="296" y="58"/>
                </a:cubicBezTo>
                <a:cubicBezTo>
                  <a:pt x="296" y="58"/>
                  <a:pt x="296" y="58"/>
                  <a:pt x="296" y="58"/>
                </a:cubicBezTo>
                <a:cubicBezTo>
                  <a:pt x="295" y="58"/>
                  <a:pt x="295" y="57"/>
                  <a:pt x="295" y="57"/>
                </a:cubicBezTo>
                <a:cubicBezTo>
                  <a:pt x="295" y="57"/>
                  <a:pt x="294" y="56"/>
                  <a:pt x="294" y="56"/>
                </a:cubicBezTo>
                <a:cubicBezTo>
                  <a:pt x="296" y="54"/>
                  <a:pt x="296" y="57"/>
                  <a:pt x="297" y="57"/>
                </a:cubicBezTo>
                <a:cubicBezTo>
                  <a:pt x="297" y="57"/>
                  <a:pt x="297" y="57"/>
                  <a:pt x="297" y="57"/>
                </a:cubicBezTo>
                <a:cubicBezTo>
                  <a:pt x="297" y="56"/>
                  <a:pt x="298" y="55"/>
                  <a:pt x="299" y="55"/>
                </a:cubicBezTo>
                <a:cubicBezTo>
                  <a:pt x="299" y="55"/>
                  <a:pt x="299" y="55"/>
                  <a:pt x="299" y="55"/>
                </a:cubicBezTo>
                <a:cubicBezTo>
                  <a:pt x="300" y="55"/>
                  <a:pt x="301" y="54"/>
                  <a:pt x="302" y="54"/>
                </a:cubicBezTo>
                <a:cubicBezTo>
                  <a:pt x="302" y="54"/>
                  <a:pt x="305" y="57"/>
                  <a:pt x="306" y="57"/>
                </a:cubicBezTo>
                <a:cubicBezTo>
                  <a:pt x="306" y="58"/>
                  <a:pt x="312" y="59"/>
                  <a:pt x="311" y="60"/>
                </a:cubicBezTo>
                <a:cubicBezTo>
                  <a:pt x="311" y="62"/>
                  <a:pt x="309" y="60"/>
                  <a:pt x="308" y="61"/>
                </a:cubicBezTo>
                <a:cubicBezTo>
                  <a:pt x="307" y="61"/>
                  <a:pt x="309" y="63"/>
                  <a:pt x="309" y="64"/>
                </a:cubicBezTo>
                <a:cubicBezTo>
                  <a:pt x="308" y="65"/>
                  <a:pt x="307" y="65"/>
                  <a:pt x="306" y="66"/>
                </a:cubicBezTo>
                <a:cubicBezTo>
                  <a:pt x="306" y="65"/>
                  <a:pt x="308" y="68"/>
                  <a:pt x="306" y="69"/>
                </a:cubicBezTo>
                <a:cubicBezTo>
                  <a:pt x="304" y="70"/>
                  <a:pt x="305" y="67"/>
                  <a:pt x="304" y="67"/>
                </a:cubicBezTo>
                <a:cubicBezTo>
                  <a:pt x="303" y="66"/>
                  <a:pt x="303" y="68"/>
                  <a:pt x="302" y="68"/>
                </a:cubicBezTo>
                <a:cubicBezTo>
                  <a:pt x="301" y="68"/>
                  <a:pt x="301" y="66"/>
                  <a:pt x="299" y="66"/>
                </a:cubicBezTo>
                <a:cubicBezTo>
                  <a:pt x="298" y="66"/>
                  <a:pt x="298" y="67"/>
                  <a:pt x="297" y="67"/>
                </a:cubicBezTo>
                <a:cubicBezTo>
                  <a:pt x="294" y="65"/>
                  <a:pt x="291" y="60"/>
                  <a:pt x="286" y="62"/>
                </a:cubicBezTo>
                <a:cubicBezTo>
                  <a:pt x="285" y="62"/>
                  <a:pt x="286" y="63"/>
                  <a:pt x="287" y="64"/>
                </a:cubicBezTo>
                <a:cubicBezTo>
                  <a:pt x="283" y="64"/>
                  <a:pt x="275" y="63"/>
                  <a:pt x="273" y="57"/>
                </a:cubicBezTo>
                <a:cubicBezTo>
                  <a:pt x="273" y="57"/>
                  <a:pt x="273" y="54"/>
                  <a:pt x="273" y="53"/>
                </a:cubicBezTo>
                <a:cubicBezTo>
                  <a:pt x="273" y="53"/>
                  <a:pt x="274" y="52"/>
                  <a:pt x="275" y="51"/>
                </a:cubicBezTo>
                <a:cubicBezTo>
                  <a:pt x="275" y="51"/>
                  <a:pt x="275" y="50"/>
                  <a:pt x="276" y="50"/>
                </a:cubicBezTo>
                <a:cubicBezTo>
                  <a:pt x="276" y="50"/>
                  <a:pt x="276" y="50"/>
                  <a:pt x="276" y="50"/>
                </a:cubicBezTo>
                <a:cubicBezTo>
                  <a:pt x="276" y="50"/>
                  <a:pt x="276" y="49"/>
                  <a:pt x="277" y="49"/>
                </a:cubicBezTo>
                <a:cubicBezTo>
                  <a:pt x="275" y="48"/>
                  <a:pt x="274" y="46"/>
                  <a:pt x="273" y="45"/>
                </a:cubicBezTo>
                <a:cubicBezTo>
                  <a:pt x="271" y="47"/>
                  <a:pt x="273" y="48"/>
                  <a:pt x="273" y="49"/>
                </a:cubicBezTo>
                <a:cubicBezTo>
                  <a:pt x="273" y="49"/>
                  <a:pt x="272" y="48"/>
                  <a:pt x="272" y="48"/>
                </a:cubicBezTo>
                <a:cubicBezTo>
                  <a:pt x="272" y="49"/>
                  <a:pt x="272" y="50"/>
                  <a:pt x="271" y="51"/>
                </a:cubicBezTo>
                <a:cubicBezTo>
                  <a:pt x="270" y="51"/>
                  <a:pt x="270" y="50"/>
                  <a:pt x="270" y="50"/>
                </a:cubicBezTo>
                <a:cubicBezTo>
                  <a:pt x="268" y="49"/>
                  <a:pt x="270" y="51"/>
                  <a:pt x="267" y="50"/>
                </a:cubicBezTo>
                <a:cubicBezTo>
                  <a:pt x="266" y="49"/>
                  <a:pt x="266" y="46"/>
                  <a:pt x="265" y="45"/>
                </a:cubicBezTo>
                <a:cubicBezTo>
                  <a:pt x="265" y="45"/>
                  <a:pt x="264" y="45"/>
                  <a:pt x="264" y="45"/>
                </a:cubicBezTo>
                <a:cubicBezTo>
                  <a:pt x="264" y="46"/>
                  <a:pt x="263" y="47"/>
                  <a:pt x="263" y="47"/>
                </a:cubicBezTo>
                <a:cubicBezTo>
                  <a:pt x="263" y="47"/>
                  <a:pt x="261" y="45"/>
                  <a:pt x="260" y="47"/>
                </a:cubicBezTo>
                <a:cubicBezTo>
                  <a:pt x="259" y="47"/>
                  <a:pt x="260" y="48"/>
                  <a:pt x="260" y="48"/>
                </a:cubicBezTo>
                <a:cubicBezTo>
                  <a:pt x="259" y="48"/>
                  <a:pt x="255" y="50"/>
                  <a:pt x="256" y="50"/>
                </a:cubicBezTo>
                <a:cubicBezTo>
                  <a:pt x="255" y="50"/>
                  <a:pt x="255" y="49"/>
                  <a:pt x="255" y="49"/>
                </a:cubicBezTo>
                <a:cubicBezTo>
                  <a:pt x="245" y="55"/>
                  <a:pt x="245" y="55"/>
                  <a:pt x="245" y="55"/>
                </a:cubicBezTo>
                <a:cubicBezTo>
                  <a:pt x="246" y="56"/>
                  <a:pt x="246" y="57"/>
                  <a:pt x="247" y="58"/>
                </a:cubicBezTo>
                <a:cubicBezTo>
                  <a:pt x="245" y="59"/>
                  <a:pt x="243" y="58"/>
                  <a:pt x="241" y="57"/>
                </a:cubicBezTo>
                <a:cubicBezTo>
                  <a:pt x="227" y="66"/>
                  <a:pt x="227" y="66"/>
                  <a:pt x="227" y="66"/>
                </a:cubicBezTo>
                <a:cubicBezTo>
                  <a:pt x="227" y="66"/>
                  <a:pt x="227" y="66"/>
                  <a:pt x="227" y="66"/>
                </a:cubicBezTo>
                <a:cubicBezTo>
                  <a:pt x="227" y="66"/>
                  <a:pt x="227" y="66"/>
                  <a:pt x="227" y="66"/>
                </a:cubicBezTo>
                <a:cubicBezTo>
                  <a:pt x="228" y="65"/>
                  <a:pt x="228" y="66"/>
                  <a:pt x="228" y="66"/>
                </a:cubicBezTo>
                <a:cubicBezTo>
                  <a:pt x="229" y="68"/>
                  <a:pt x="230" y="69"/>
                  <a:pt x="232" y="70"/>
                </a:cubicBezTo>
                <a:cubicBezTo>
                  <a:pt x="229" y="69"/>
                  <a:pt x="231" y="72"/>
                  <a:pt x="230" y="73"/>
                </a:cubicBezTo>
                <a:cubicBezTo>
                  <a:pt x="230" y="73"/>
                  <a:pt x="230" y="73"/>
                  <a:pt x="230" y="73"/>
                </a:cubicBezTo>
                <a:cubicBezTo>
                  <a:pt x="230" y="73"/>
                  <a:pt x="230" y="73"/>
                  <a:pt x="230" y="73"/>
                </a:cubicBezTo>
                <a:cubicBezTo>
                  <a:pt x="231" y="73"/>
                  <a:pt x="231" y="72"/>
                  <a:pt x="231" y="72"/>
                </a:cubicBezTo>
                <a:cubicBezTo>
                  <a:pt x="232" y="70"/>
                  <a:pt x="236" y="71"/>
                  <a:pt x="237" y="71"/>
                </a:cubicBezTo>
                <a:cubicBezTo>
                  <a:pt x="238" y="72"/>
                  <a:pt x="237" y="72"/>
                  <a:pt x="237" y="73"/>
                </a:cubicBezTo>
                <a:cubicBezTo>
                  <a:pt x="237" y="74"/>
                  <a:pt x="241" y="76"/>
                  <a:pt x="240" y="79"/>
                </a:cubicBezTo>
                <a:cubicBezTo>
                  <a:pt x="239" y="78"/>
                  <a:pt x="239" y="76"/>
                  <a:pt x="238" y="76"/>
                </a:cubicBezTo>
                <a:cubicBezTo>
                  <a:pt x="237" y="76"/>
                  <a:pt x="237" y="77"/>
                  <a:pt x="237" y="78"/>
                </a:cubicBezTo>
                <a:cubicBezTo>
                  <a:pt x="236" y="79"/>
                  <a:pt x="231" y="77"/>
                  <a:pt x="230" y="74"/>
                </a:cubicBezTo>
                <a:cubicBezTo>
                  <a:pt x="229" y="74"/>
                  <a:pt x="229" y="74"/>
                  <a:pt x="228" y="74"/>
                </a:cubicBezTo>
                <a:cubicBezTo>
                  <a:pt x="227" y="74"/>
                  <a:pt x="227" y="74"/>
                  <a:pt x="227" y="75"/>
                </a:cubicBezTo>
                <a:cubicBezTo>
                  <a:pt x="229" y="76"/>
                  <a:pt x="230" y="78"/>
                  <a:pt x="232" y="79"/>
                </a:cubicBezTo>
                <a:cubicBezTo>
                  <a:pt x="233" y="79"/>
                  <a:pt x="234" y="79"/>
                  <a:pt x="235" y="79"/>
                </a:cubicBezTo>
                <a:cubicBezTo>
                  <a:pt x="236" y="79"/>
                  <a:pt x="236" y="80"/>
                  <a:pt x="237" y="80"/>
                </a:cubicBezTo>
                <a:cubicBezTo>
                  <a:pt x="239" y="80"/>
                  <a:pt x="237" y="78"/>
                  <a:pt x="239" y="79"/>
                </a:cubicBezTo>
                <a:cubicBezTo>
                  <a:pt x="240" y="79"/>
                  <a:pt x="240" y="80"/>
                  <a:pt x="240" y="81"/>
                </a:cubicBezTo>
                <a:cubicBezTo>
                  <a:pt x="240" y="82"/>
                  <a:pt x="237" y="81"/>
                  <a:pt x="236" y="82"/>
                </a:cubicBezTo>
                <a:cubicBezTo>
                  <a:pt x="236" y="82"/>
                  <a:pt x="236" y="84"/>
                  <a:pt x="236" y="85"/>
                </a:cubicBezTo>
                <a:cubicBezTo>
                  <a:pt x="235" y="87"/>
                  <a:pt x="233" y="86"/>
                  <a:pt x="236" y="89"/>
                </a:cubicBezTo>
                <a:cubicBezTo>
                  <a:pt x="232" y="86"/>
                  <a:pt x="234" y="91"/>
                  <a:pt x="234" y="92"/>
                </a:cubicBezTo>
                <a:cubicBezTo>
                  <a:pt x="234" y="91"/>
                  <a:pt x="227" y="93"/>
                  <a:pt x="227" y="93"/>
                </a:cubicBezTo>
                <a:cubicBezTo>
                  <a:pt x="226" y="93"/>
                  <a:pt x="223" y="92"/>
                  <a:pt x="221" y="92"/>
                </a:cubicBezTo>
                <a:cubicBezTo>
                  <a:pt x="221" y="92"/>
                  <a:pt x="222" y="92"/>
                  <a:pt x="222" y="92"/>
                </a:cubicBezTo>
                <a:cubicBezTo>
                  <a:pt x="221" y="93"/>
                  <a:pt x="221" y="92"/>
                  <a:pt x="220" y="92"/>
                </a:cubicBezTo>
                <a:cubicBezTo>
                  <a:pt x="220" y="92"/>
                  <a:pt x="220" y="92"/>
                  <a:pt x="220" y="92"/>
                </a:cubicBezTo>
                <a:cubicBezTo>
                  <a:pt x="220" y="92"/>
                  <a:pt x="220" y="92"/>
                  <a:pt x="221" y="93"/>
                </a:cubicBezTo>
                <a:cubicBezTo>
                  <a:pt x="221" y="93"/>
                  <a:pt x="221" y="93"/>
                  <a:pt x="221" y="93"/>
                </a:cubicBezTo>
                <a:cubicBezTo>
                  <a:pt x="221" y="93"/>
                  <a:pt x="221" y="93"/>
                  <a:pt x="221" y="93"/>
                </a:cubicBezTo>
                <a:cubicBezTo>
                  <a:pt x="221" y="93"/>
                  <a:pt x="221" y="93"/>
                  <a:pt x="221" y="93"/>
                </a:cubicBezTo>
                <a:cubicBezTo>
                  <a:pt x="223" y="96"/>
                  <a:pt x="224" y="101"/>
                  <a:pt x="224" y="105"/>
                </a:cubicBezTo>
                <a:cubicBezTo>
                  <a:pt x="225" y="105"/>
                  <a:pt x="226" y="105"/>
                  <a:pt x="226" y="106"/>
                </a:cubicBezTo>
                <a:cubicBezTo>
                  <a:pt x="226" y="107"/>
                  <a:pt x="225" y="107"/>
                  <a:pt x="224" y="107"/>
                </a:cubicBezTo>
                <a:cubicBezTo>
                  <a:pt x="224" y="107"/>
                  <a:pt x="224" y="108"/>
                  <a:pt x="224" y="108"/>
                </a:cubicBezTo>
                <a:cubicBezTo>
                  <a:pt x="223" y="108"/>
                  <a:pt x="222" y="107"/>
                  <a:pt x="221" y="106"/>
                </a:cubicBezTo>
                <a:cubicBezTo>
                  <a:pt x="221" y="106"/>
                  <a:pt x="221" y="107"/>
                  <a:pt x="221" y="107"/>
                </a:cubicBezTo>
                <a:cubicBezTo>
                  <a:pt x="219" y="107"/>
                  <a:pt x="218" y="106"/>
                  <a:pt x="218" y="105"/>
                </a:cubicBezTo>
                <a:cubicBezTo>
                  <a:pt x="217" y="106"/>
                  <a:pt x="216" y="106"/>
                  <a:pt x="215" y="105"/>
                </a:cubicBezTo>
                <a:cubicBezTo>
                  <a:pt x="214" y="105"/>
                  <a:pt x="214" y="104"/>
                  <a:pt x="214" y="103"/>
                </a:cubicBezTo>
                <a:cubicBezTo>
                  <a:pt x="214" y="103"/>
                  <a:pt x="213" y="104"/>
                  <a:pt x="214" y="105"/>
                </a:cubicBezTo>
                <a:cubicBezTo>
                  <a:pt x="215" y="106"/>
                  <a:pt x="218" y="108"/>
                  <a:pt x="218" y="108"/>
                </a:cubicBezTo>
                <a:cubicBezTo>
                  <a:pt x="218" y="108"/>
                  <a:pt x="219" y="108"/>
                  <a:pt x="219" y="108"/>
                </a:cubicBezTo>
                <a:cubicBezTo>
                  <a:pt x="220" y="111"/>
                  <a:pt x="212" y="112"/>
                  <a:pt x="213" y="109"/>
                </a:cubicBezTo>
                <a:cubicBezTo>
                  <a:pt x="213" y="109"/>
                  <a:pt x="214" y="108"/>
                  <a:pt x="214" y="108"/>
                </a:cubicBezTo>
                <a:cubicBezTo>
                  <a:pt x="214" y="107"/>
                  <a:pt x="210" y="104"/>
                  <a:pt x="209" y="103"/>
                </a:cubicBezTo>
                <a:cubicBezTo>
                  <a:pt x="209" y="102"/>
                  <a:pt x="208" y="102"/>
                  <a:pt x="208" y="101"/>
                </a:cubicBezTo>
                <a:cubicBezTo>
                  <a:pt x="207" y="101"/>
                  <a:pt x="206" y="103"/>
                  <a:pt x="205" y="103"/>
                </a:cubicBezTo>
                <a:cubicBezTo>
                  <a:pt x="204" y="103"/>
                  <a:pt x="204" y="102"/>
                  <a:pt x="203" y="101"/>
                </a:cubicBezTo>
                <a:cubicBezTo>
                  <a:pt x="203" y="101"/>
                  <a:pt x="200" y="100"/>
                  <a:pt x="199" y="101"/>
                </a:cubicBezTo>
                <a:cubicBezTo>
                  <a:pt x="199" y="101"/>
                  <a:pt x="200" y="103"/>
                  <a:pt x="200" y="102"/>
                </a:cubicBezTo>
                <a:cubicBezTo>
                  <a:pt x="200" y="102"/>
                  <a:pt x="199" y="104"/>
                  <a:pt x="197" y="103"/>
                </a:cubicBezTo>
                <a:cubicBezTo>
                  <a:pt x="197" y="103"/>
                  <a:pt x="197" y="103"/>
                  <a:pt x="197" y="103"/>
                </a:cubicBezTo>
                <a:cubicBezTo>
                  <a:pt x="197" y="103"/>
                  <a:pt x="197" y="103"/>
                  <a:pt x="196" y="104"/>
                </a:cubicBezTo>
                <a:cubicBezTo>
                  <a:pt x="197" y="104"/>
                  <a:pt x="198" y="104"/>
                  <a:pt x="199" y="105"/>
                </a:cubicBezTo>
                <a:cubicBezTo>
                  <a:pt x="198" y="104"/>
                  <a:pt x="198" y="104"/>
                  <a:pt x="199" y="104"/>
                </a:cubicBezTo>
                <a:cubicBezTo>
                  <a:pt x="199" y="103"/>
                  <a:pt x="200" y="103"/>
                  <a:pt x="200" y="104"/>
                </a:cubicBezTo>
                <a:cubicBezTo>
                  <a:pt x="201" y="104"/>
                  <a:pt x="202" y="104"/>
                  <a:pt x="201" y="105"/>
                </a:cubicBezTo>
                <a:cubicBezTo>
                  <a:pt x="201" y="106"/>
                  <a:pt x="200" y="105"/>
                  <a:pt x="200" y="105"/>
                </a:cubicBezTo>
                <a:cubicBezTo>
                  <a:pt x="200" y="105"/>
                  <a:pt x="200" y="105"/>
                  <a:pt x="200" y="105"/>
                </a:cubicBezTo>
                <a:cubicBezTo>
                  <a:pt x="200" y="105"/>
                  <a:pt x="200" y="105"/>
                  <a:pt x="200" y="105"/>
                </a:cubicBezTo>
                <a:cubicBezTo>
                  <a:pt x="200" y="105"/>
                  <a:pt x="199" y="105"/>
                  <a:pt x="199" y="105"/>
                </a:cubicBezTo>
                <a:cubicBezTo>
                  <a:pt x="200" y="106"/>
                  <a:pt x="201" y="107"/>
                  <a:pt x="199" y="109"/>
                </a:cubicBezTo>
                <a:cubicBezTo>
                  <a:pt x="198" y="110"/>
                  <a:pt x="197" y="109"/>
                  <a:pt x="196" y="108"/>
                </a:cubicBezTo>
                <a:cubicBezTo>
                  <a:pt x="196" y="109"/>
                  <a:pt x="196" y="109"/>
                  <a:pt x="196" y="109"/>
                </a:cubicBezTo>
                <a:cubicBezTo>
                  <a:pt x="196" y="111"/>
                  <a:pt x="195" y="109"/>
                  <a:pt x="195" y="110"/>
                </a:cubicBezTo>
                <a:cubicBezTo>
                  <a:pt x="194" y="110"/>
                  <a:pt x="195" y="110"/>
                  <a:pt x="195" y="111"/>
                </a:cubicBezTo>
                <a:cubicBezTo>
                  <a:pt x="196" y="111"/>
                  <a:pt x="196" y="111"/>
                  <a:pt x="195" y="111"/>
                </a:cubicBezTo>
                <a:cubicBezTo>
                  <a:pt x="196" y="111"/>
                  <a:pt x="196" y="112"/>
                  <a:pt x="196" y="112"/>
                </a:cubicBezTo>
                <a:cubicBezTo>
                  <a:pt x="195" y="115"/>
                  <a:pt x="191" y="113"/>
                  <a:pt x="189" y="114"/>
                </a:cubicBezTo>
                <a:cubicBezTo>
                  <a:pt x="190" y="115"/>
                  <a:pt x="190" y="117"/>
                  <a:pt x="190" y="117"/>
                </a:cubicBezTo>
                <a:cubicBezTo>
                  <a:pt x="191" y="118"/>
                  <a:pt x="192" y="118"/>
                  <a:pt x="193" y="118"/>
                </a:cubicBezTo>
                <a:cubicBezTo>
                  <a:pt x="194" y="117"/>
                  <a:pt x="195" y="116"/>
                  <a:pt x="197" y="116"/>
                </a:cubicBezTo>
                <a:cubicBezTo>
                  <a:pt x="201" y="117"/>
                  <a:pt x="201" y="123"/>
                  <a:pt x="198" y="125"/>
                </a:cubicBezTo>
                <a:cubicBezTo>
                  <a:pt x="198" y="125"/>
                  <a:pt x="198" y="126"/>
                  <a:pt x="200" y="126"/>
                </a:cubicBezTo>
                <a:cubicBezTo>
                  <a:pt x="199" y="126"/>
                  <a:pt x="199" y="126"/>
                  <a:pt x="198" y="126"/>
                </a:cubicBezTo>
                <a:cubicBezTo>
                  <a:pt x="200" y="127"/>
                  <a:pt x="201" y="130"/>
                  <a:pt x="200" y="132"/>
                </a:cubicBezTo>
                <a:cubicBezTo>
                  <a:pt x="201" y="133"/>
                  <a:pt x="202" y="134"/>
                  <a:pt x="201" y="135"/>
                </a:cubicBezTo>
                <a:cubicBezTo>
                  <a:pt x="201" y="135"/>
                  <a:pt x="200" y="134"/>
                  <a:pt x="200" y="133"/>
                </a:cubicBezTo>
                <a:cubicBezTo>
                  <a:pt x="200" y="133"/>
                  <a:pt x="200" y="133"/>
                  <a:pt x="199" y="133"/>
                </a:cubicBezTo>
                <a:cubicBezTo>
                  <a:pt x="199" y="134"/>
                  <a:pt x="198" y="134"/>
                  <a:pt x="197" y="134"/>
                </a:cubicBezTo>
                <a:cubicBezTo>
                  <a:pt x="196" y="136"/>
                  <a:pt x="196" y="138"/>
                  <a:pt x="193" y="136"/>
                </a:cubicBezTo>
                <a:cubicBezTo>
                  <a:pt x="191" y="136"/>
                  <a:pt x="190" y="137"/>
                  <a:pt x="189" y="137"/>
                </a:cubicBezTo>
                <a:cubicBezTo>
                  <a:pt x="189" y="137"/>
                  <a:pt x="188" y="136"/>
                  <a:pt x="187" y="136"/>
                </a:cubicBezTo>
                <a:cubicBezTo>
                  <a:pt x="189" y="138"/>
                  <a:pt x="191" y="139"/>
                  <a:pt x="193" y="141"/>
                </a:cubicBezTo>
                <a:cubicBezTo>
                  <a:pt x="195" y="138"/>
                  <a:pt x="197" y="136"/>
                  <a:pt x="199" y="140"/>
                </a:cubicBezTo>
                <a:cubicBezTo>
                  <a:pt x="200" y="140"/>
                  <a:pt x="200" y="141"/>
                  <a:pt x="200" y="142"/>
                </a:cubicBezTo>
                <a:cubicBezTo>
                  <a:pt x="200" y="140"/>
                  <a:pt x="205" y="140"/>
                  <a:pt x="203" y="143"/>
                </a:cubicBezTo>
                <a:cubicBezTo>
                  <a:pt x="203" y="144"/>
                  <a:pt x="202" y="143"/>
                  <a:pt x="201" y="143"/>
                </a:cubicBezTo>
                <a:cubicBezTo>
                  <a:pt x="201" y="143"/>
                  <a:pt x="201" y="142"/>
                  <a:pt x="200" y="142"/>
                </a:cubicBezTo>
                <a:cubicBezTo>
                  <a:pt x="201" y="144"/>
                  <a:pt x="202" y="147"/>
                  <a:pt x="203" y="147"/>
                </a:cubicBezTo>
                <a:cubicBezTo>
                  <a:pt x="205" y="149"/>
                  <a:pt x="205" y="148"/>
                  <a:pt x="204" y="150"/>
                </a:cubicBezTo>
                <a:cubicBezTo>
                  <a:pt x="204" y="151"/>
                  <a:pt x="203" y="152"/>
                  <a:pt x="204" y="153"/>
                </a:cubicBezTo>
                <a:cubicBezTo>
                  <a:pt x="204" y="153"/>
                  <a:pt x="209" y="155"/>
                  <a:pt x="206" y="156"/>
                </a:cubicBezTo>
                <a:cubicBezTo>
                  <a:pt x="205" y="156"/>
                  <a:pt x="205" y="155"/>
                  <a:pt x="204" y="155"/>
                </a:cubicBezTo>
                <a:cubicBezTo>
                  <a:pt x="203" y="156"/>
                  <a:pt x="204" y="159"/>
                  <a:pt x="204" y="160"/>
                </a:cubicBezTo>
                <a:cubicBezTo>
                  <a:pt x="203" y="160"/>
                  <a:pt x="200" y="156"/>
                  <a:pt x="199" y="159"/>
                </a:cubicBezTo>
                <a:cubicBezTo>
                  <a:pt x="198" y="160"/>
                  <a:pt x="198" y="160"/>
                  <a:pt x="198" y="160"/>
                </a:cubicBezTo>
                <a:cubicBezTo>
                  <a:pt x="198" y="160"/>
                  <a:pt x="198" y="160"/>
                  <a:pt x="198" y="160"/>
                </a:cubicBezTo>
                <a:cubicBezTo>
                  <a:pt x="196" y="159"/>
                  <a:pt x="196" y="159"/>
                  <a:pt x="195" y="160"/>
                </a:cubicBezTo>
                <a:cubicBezTo>
                  <a:pt x="196" y="161"/>
                  <a:pt x="196" y="162"/>
                  <a:pt x="195" y="163"/>
                </a:cubicBezTo>
                <a:cubicBezTo>
                  <a:pt x="194" y="163"/>
                  <a:pt x="194" y="162"/>
                  <a:pt x="193" y="162"/>
                </a:cubicBezTo>
                <a:cubicBezTo>
                  <a:pt x="193" y="161"/>
                  <a:pt x="193" y="161"/>
                  <a:pt x="193" y="161"/>
                </a:cubicBezTo>
                <a:cubicBezTo>
                  <a:pt x="192" y="162"/>
                  <a:pt x="192" y="163"/>
                  <a:pt x="192" y="164"/>
                </a:cubicBezTo>
                <a:cubicBezTo>
                  <a:pt x="191" y="165"/>
                  <a:pt x="189" y="163"/>
                  <a:pt x="188" y="163"/>
                </a:cubicBezTo>
                <a:cubicBezTo>
                  <a:pt x="185" y="165"/>
                  <a:pt x="189" y="167"/>
                  <a:pt x="189" y="170"/>
                </a:cubicBezTo>
                <a:cubicBezTo>
                  <a:pt x="189" y="170"/>
                  <a:pt x="187" y="172"/>
                  <a:pt x="189" y="173"/>
                </a:cubicBezTo>
                <a:cubicBezTo>
                  <a:pt x="190" y="174"/>
                  <a:pt x="192" y="172"/>
                  <a:pt x="194" y="176"/>
                </a:cubicBezTo>
                <a:cubicBezTo>
                  <a:pt x="194" y="177"/>
                  <a:pt x="197" y="182"/>
                  <a:pt x="195" y="183"/>
                </a:cubicBezTo>
                <a:cubicBezTo>
                  <a:pt x="194" y="183"/>
                  <a:pt x="194" y="181"/>
                  <a:pt x="194" y="181"/>
                </a:cubicBezTo>
                <a:cubicBezTo>
                  <a:pt x="193" y="180"/>
                  <a:pt x="190" y="182"/>
                  <a:pt x="190" y="182"/>
                </a:cubicBezTo>
                <a:cubicBezTo>
                  <a:pt x="189" y="181"/>
                  <a:pt x="189" y="179"/>
                  <a:pt x="188" y="179"/>
                </a:cubicBezTo>
                <a:cubicBezTo>
                  <a:pt x="188" y="179"/>
                  <a:pt x="188" y="179"/>
                  <a:pt x="187" y="180"/>
                </a:cubicBezTo>
                <a:cubicBezTo>
                  <a:pt x="187" y="180"/>
                  <a:pt x="187" y="179"/>
                  <a:pt x="186" y="179"/>
                </a:cubicBezTo>
                <a:cubicBezTo>
                  <a:pt x="185" y="179"/>
                  <a:pt x="184" y="180"/>
                  <a:pt x="183" y="178"/>
                </a:cubicBezTo>
                <a:cubicBezTo>
                  <a:pt x="182" y="179"/>
                  <a:pt x="182" y="179"/>
                  <a:pt x="182" y="179"/>
                </a:cubicBezTo>
                <a:cubicBezTo>
                  <a:pt x="182" y="179"/>
                  <a:pt x="182" y="179"/>
                  <a:pt x="182" y="179"/>
                </a:cubicBezTo>
                <a:cubicBezTo>
                  <a:pt x="182" y="180"/>
                  <a:pt x="181" y="180"/>
                  <a:pt x="180" y="178"/>
                </a:cubicBezTo>
                <a:cubicBezTo>
                  <a:pt x="179" y="178"/>
                  <a:pt x="179" y="178"/>
                  <a:pt x="179" y="178"/>
                </a:cubicBezTo>
                <a:cubicBezTo>
                  <a:pt x="179" y="178"/>
                  <a:pt x="179" y="179"/>
                  <a:pt x="179" y="179"/>
                </a:cubicBezTo>
                <a:cubicBezTo>
                  <a:pt x="179" y="180"/>
                  <a:pt x="179" y="181"/>
                  <a:pt x="179" y="181"/>
                </a:cubicBezTo>
                <a:cubicBezTo>
                  <a:pt x="179" y="182"/>
                  <a:pt x="179" y="182"/>
                  <a:pt x="178" y="182"/>
                </a:cubicBezTo>
                <a:cubicBezTo>
                  <a:pt x="178" y="182"/>
                  <a:pt x="177" y="182"/>
                  <a:pt x="177" y="181"/>
                </a:cubicBezTo>
                <a:cubicBezTo>
                  <a:pt x="176" y="181"/>
                  <a:pt x="175" y="181"/>
                  <a:pt x="175" y="182"/>
                </a:cubicBezTo>
                <a:cubicBezTo>
                  <a:pt x="174" y="181"/>
                  <a:pt x="175" y="178"/>
                  <a:pt x="173" y="176"/>
                </a:cubicBezTo>
                <a:cubicBezTo>
                  <a:pt x="174" y="177"/>
                  <a:pt x="176" y="176"/>
                  <a:pt x="174" y="174"/>
                </a:cubicBezTo>
                <a:cubicBezTo>
                  <a:pt x="173" y="173"/>
                  <a:pt x="173" y="175"/>
                  <a:pt x="173" y="175"/>
                </a:cubicBezTo>
                <a:cubicBezTo>
                  <a:pt x="173" y="175"/>
                  <a:pt x="172" y="174"/>
                  <a:pt x="171" y="174"/>
                </a:cubicBezTo>
                <a:cubicBezTo>
                  <a:pt x="171" y="175"/>
                  <a:pt x="171" y="175"/>
                  <a:pt x="171" y="175"/>
                </a:cubicBezTo>
                <a:cubicBezTo>
                  <a:pt x="172" y="177"/>
                  <a:pt x="173" y="179"/>
                  <a:pt x="172" y="181"/>
                </a:cubicBezTo>
                <a:cubicBezTo>
                  <a:pt x="172" y="181"/>
                  <a:pt x="172" y="181"/>
                  <a:pt x="173" y="181"/>
                </a:cubicBezTo>
                <a:cubicBezTo>
                  <a:pt x="173" y="181"/>
                  <a:pt x="173" y="180"/>
                  <a:pt x="173" y="180"/>
                </a:cubicBezTo>
                <a:cubicBezTo>
                  <a:pt x="174" y="181"/>
                  <a:pt x="173" y="181"/>
                  <a:pt x="172" y="181"/>
                </a:cubicBezTo>
                <a:cubicBezTo>
                  <a:pt x="172" y="182"/>
                  <a:pt x="171" y="182"/>
                  <a:pt x="170" y="182"/>
                </a:cubicBezTo>
                <a:cubicBezTo>
                  <a:pt x="168" y="182"/>
                  <a:pt x="167" y="180"/>
                  <a:pt x="166" y="177"/>
                </a:cubicBezTo>
                <a:cubicBezTo>
                  <a:pt x="166" y="177"/>
                  <a:pt x="165" y="178"/>
                  <a:pt x="164" y="178"/>
                </a:cubicBezTo>
                <a:cubicBezTo>
                  <a:pt x="162" y="177"/>
                  <a:pt x="161" y="174"/>
                  <a:pt x="160" y="175"/>
                </a:cubicBezTo>
                <a:cubicBezTo>
                  <a:pt x="160" y="173"/>
                  <a:pt x="159" y="171"/>
                  <a:pt x="160" y="170"/>
                </a:cubicBezTo>
                <a:cubicBezTo>
                  <a:pt x="161" y="167"/>
                  <a:pt x="162" y="168"/>
                  <a:pt x="160" y="164"/>
                </a:cubicBezTo>
                <a:cubicBezTo>
                  <a:pt x="160" y="164"/>
                  <a:pt x="160" y="163"/>
                  <a:pt x="160" y="162"/>
                </a:cubicBezTo>
                <a:cubicBezTo>
                  <a:pt x="159" y="159"/>
                  <a:pt x="159" y="160"/>
                  <a:pt x="156" y="161"/>
                </a:cubicBezTo>
                <a:cubicBezTo>
                  <a:pt x="158" y="159"/>
                  <a:pt x="156" y="160"/>
                  <a:pt x="155" y="162"/>
                </a:cubicBezTo>
                <a:cubicBezTo>
                  <a:pt x="155" y="162"/>
                  <a:pt x="156" y="162"/>
                  <a:pt x="156" y="162"/>
                </a:cubicBezTo>
                <a:cubicBezTo>
                  <a:pt x="156" y="162"/>
                  <a:pt x="155" y="162"/>
                  <a:pt x="155" y="162"/>
                </a:cubicBezTo>
                <a:cubicBezTo>
                  <a:pt x="155" y="163"/>
                  <a:pt x="155" y="163"/>
                  <a:pt x="155" y="163"/>
                </a:cubicBezTo>
                <a:cubicBezTo>
                  <a:pt x="155" y="163"/>
                  <a:pt x="158" y="164"/>
                  <a:pt x="156" y="165"/>
                </a:cubicBezTo>
                <a:cubicBezTo>
                  <a:pt x="156" y="166"/>
                  <a:pt x="152" y="162"/>
                  <a:pt x="152" y="166"/>
                </a:cubicBezTo>
                <a:cubicBezTo>
                  <a:pt x="150" y="160"/>
                  <a:pt x="148" y="168"/>
                  <a:pt x="147" y="171"/>
                </a:cubicBezTo>
                <a:cubicBezTo>
                  <a:pt x="146" y="172"/>
                  <a:pt x="144" y="172"/>
                  <a:pt x="143" y="173"/>
                </a:cubicBezTo>
                <a:cubicBezTo>
                  <a:pt x="142" y="174"/>
                  <a:pt x="142" y="174"/>
                  <a:pt x="141" y="174"/>
                </a:cubicBezTo>
                <a:cubicBezTo>
                  <a:pt x="141" y="174"/>
                  <a:pt x="141" y="174"/>
                  <a:pt x="141" y="174"/>
                </a:cubicBezTo>
                <a:cubicBezTo>
                  <a:pt x="140" y="175"/>
                  <a:pt x="140" y="175"/>
                  <a:pt x="139" y="176"/>
                </a:cubicBezTo>
                <a:cubicBezTo>
                  <a:pt x="140" y="176"/>
                  <a:pt x="140" y="177"/>
                  <a:pt x="139" y="177"/>
                </a:cubicBezTo>
                <a:cubicBezTo>
                  <a:pt x="140" y="177"/>
                  <a:pt x="140" y="177"/>
                  <a:pt x="140" y="178"/>
                </a:cubicBezTo>
                <a:cubicBezTo>
                  <a:pt x="141" y="178"/>
                  <a:pt x="142" y="179"/>
                  <a:pt x="142" y="181"/>
                </a:cubicBezTo>
                <a:cubicBezTo>
                  <a:pt x="143" y="182"/>
                  <a:pt x="142" y="183"/>
                  <a:pt x="141" y="183"/>
                </a:cubicBezTo>
                <a:cubicBezTo>
                  <a:pt x="141" y="184"/>
                  <a:pt x="142" y="185"/>
                  <a:pt x="142" y="186"/>
                </a:cubicBezTo>
                <a:cubicBezTo>
                  <a:pt x="141" y="187"/>
                  <a:pt x="141" y="185"/>
                  <a:pt x="140" y="184"/>
                </a:cubicBezTo>
                <a:cubicBezTo>
                  <a:pt x="139" y="184"/>
                  <a:pt x="138" y="184"/>
                  <a:pt x="138" y="183"/>
                </a:cubicBezTo>
                <a:cubicBezTo>
                  <a:pt x="138" y="184"/>
                  <a:pt x="138" y="187"/>
                  <a:pt x="138" y="187"/>
                </a:cubicBezTo>
                <a:cubicBezTo>
                  <a:pt x="138" y="187"/>
                  <a:pt x="138" y="187"/>
                  <a:pt x="138" y="188"/>
                </a:cubicBezTo>
                <a:cubicBezTo>
                  <a:pt x="139" y="186"/>
                  <a:pt x="139" y="185"/>
                  <a:pt x="139" y="185"/>
                </a:cubicBezTo>
                <a:cubicBezTo>
                  <a:pt x="139" y="186"/>
                  <a:pt x="139" y="187"/>
                  <a:pt x="139" y="189"/>
                </a:cubicBezTo>
                <a:cubicBezTo>
                  <a:pt x="140" y="189"/>
                  <a:pt x="140" y="189"/>
                  <a:pt x="140" y="189"/>
                </a:cubicBezTo>
                <a:cubicBezTo>
                  <a:pt x="140" y="188"/>
                  <a:pt x="142" y="189"/>
                  <a:pt x="142" y="191"/>
                </a:cubicBezTo>
                <a:cubicBezTo>
                  <a:pt x="143" y="191"/>
                  <a:pt x="143" y="192"/>
                  <a:pt x="142" y="193"/>
                </a:cubicBezTo>
                <a:cubicBezTo>
                  <a:pt x="142" y="193"/>
                  <a:pt x="141" y="192"/>
                  <a:pt x="141" y="192"/>
                </a:cubicBezTo>
                <a:cubicBezTo>
                  <a:pt x="140" y="192"/>
                  <a:pt x="139" y="193"/>
                  <a:pt x="140" y="192"/>
                </a:cubicBezTo>
                <a:cubicBezTo>
                  <a:pt x="140" y="192"/>
                  <a:pt x="140" y="191"/>
                  <a:pt x="140" y="191"/>
                </a:cubicBezTo>
                <a:cubicBezTo>
                  <a:pt x="140" y="191"/>
                  <a:pt x="140" y="191"/>
                  <a:pt x="140" y="191"/>
                </a:cubicBezTo>
                <a:cubicBezTo>
                  <a:pt x="140" y="191"/>
                  <a:pt x="140" y="190"/>
                  <a:pt x="139" y="190"/>
                </a:cubicBezTo>
                <a:cubicBezTo>
                  <a:pt x="139" y="191"/>
                  <a:pt x="139" y="192"/>
                  <a:pt x="138" y="192"/>
                </a:cubicBezTo>
                <a:cubicBezTo>
                  <a:pt x="138" y="192"/>
                  <a:pt x="138" y="191"/>
                  <a:pt x="138" y="190"/>
                </a:cubicBezTo>
                <a:cubicBezTo>
                  <a:pt x="138" y="190"/>
                  <a:pt x="137" y="190"/>
                  <a:pt x="137" y="191"/>
                </a:cubicBezTo>
                <a:cubicBezTo>
                  <a:pt x="137" y="192"/>
                  <a:pt x="138" y="192"/>
                  <a:pt x="138" y="193"/>
                </a:cubicBezTo>
                <a:cubicBezTo>
                  <a:pt x="138" y="194"/>
                  <a:pt x="134" y="195"/>
                  <a:pt x="137" y="197"/>
                </a:cubicBezTo>
                <a:cubicBezTo>
                  <a:pt x="137" y="197"/>
                  <a:pt x="138" y="196"/>
                  <a:pt x="138" y="196"/>
                </a:cubicBezTo>
                <a:cubicBezTo>
                  <a:pt x="138" y="196"/>
                  <a:pt x="138" y="196"/>
                  <a:pt x="138" y="196"/>
                </a:cubicBezTo>
                <a:cubicBezTo>
                  <a:pt x="138" y="196"/>
                  <a:pt x="138" y="195"/>
                  <a:pt x="138" y="195"/>
                </a:cubicBezTo>
                <a:cubicBezTo>
                  <a:pt x="139" y="194"/>
                  <a:pt x="140" y="195"/>
                  <a:pt x="139" y="196"/>
                </a:cubicBezTo>
                <a:cubicBezTo>
                  <a:pt x="139" y="196"/>
                  <a:pt x="139" y="196"/>
                  <a:pt x="139" y="196"/>
                </a:cubicBezTo>
                <a:cubicBezTo>
                  <a:pt x="140" y="197"/>
                  <a:pt x="138" y="201"/>
                  <a:pt x="139" y="202"/>
                </a:cubicBezTo>
                <a:cubicBezTo>
                  <a:pt x="138" y="200"/>
                  <a:pt x="137" y="202"/>
                  <a:pt x="136" y="203"/>
                </a:cubicBezTo>
                <a:cubicBezTo>
                  <a:pt x="137" y="205"/>
                  <a:pt x="138" y="207"/>
                  <a:pt x="139" y="208"/>
                </a:cubicBezTo>
                <a:cubicBezTo>
                  <a:pt x="138" y="207"/>
                  <a:pt x="136" y="205"/>
                  <a:pt x="136" y="203"/>
                </a:cubicBezTo>
                <a:cubicBezTo>
                  <a:pt x="135" y="204"/>
                  <a:pt x="134" y="205"/>
                  <a:pt x="134" y="204"/>
                </a:cubicBezTo>
                <a:cubicBezTo>
                  <a:pt x="132" y="203"/>
                  <a:pt x="133" y="199"/>
                  <a:pt x="131" y="198"/>
                </a:cubicBezTo>
                <a:cubicBezTo>
                  <a:pt x="130" y="198"/>
                  <a:pt x="131" y="199"/>
                  <a:pt x="131" y="199"/>
                </a:cubicBezTo>
                <a:cubicBezTo>
                  <a:pt x="129" y="199"/>
                  <a:pt x="128" y="197"/>
                  <a:pt x="127" y="200"/>
                </a:cubicBezTo>
                <a:cubicBezTo>
                  <a:pt x="127" y="200"/>
                  <a:pt x="126" y="205"/>
                  <a:pt x="127" y="207"/>
                </a:cubicBezTo>
                <a:cubicBezTo>
                  <a:pt x="127" y="210"/>
                  <a:pt x="127" y="211"/>
                  <a:pt x="126" y="214"/>
                </a:cubicBezTo>
                <a:cubicBezTo>
                  <a:pt x="126" y="211"/>
                  <a:pt x="123" y="210"/>
                  <a:pt x="123" y="207"/>
                </a:cubicBezTo>
                <a:cubicBezTo>
                  <a:pt x="122" y="203"/>
                  <a:pt x="125" y="199"/>
                  <a:pt x="124" y="197"/>
                </a:cubicBezTo>
                <a:cubicBezTo>
                  <a:pt x="124" y="197"/>
                  <a:pt x="120" y="193"/>
                  <a:pt x="120" y="193"/>
                </a:cubicBezTo>
                <a:cubicBezTo>
                  <a:pt x="120" y="192"/>
                  <a:pt x="121" y="191"/>
                  <a:pt x="120" y="190"/>
                </a:cubicBezTo>
                <a:cubicBezTo>
                  <a:pt x="120" y="191"/>
                  <a:pt x="120" y="191"/>
                  <a:pt x="119" y="192"/>
                </a:cubicBezTo>
                <a:cubicBezTo>
                  <a:pt x="120" y="192"/>
                  <a:pt x="120" y="192"/>
                  <a:pt x="120" y="192"/>
                </a:cubicBezTo>
                <a:cubicBezTo>
                  <a:pt x="120" y="193"/>
                  <a:pt x="121" y="194"/>
                  <a:pt x="121" y="195"/>
                </a:cubicBezTo>
                <a:cubicBezTo>
                  <a:pt x="121" y="195"/>
                  <a:pt x="121" y="195"/>
                  <a:pt x="121" y="195"/>
                </a:cubicBezTo>
                <a:cubicBezTo>
                  <a:pt x="121" y="195"/>
                  <a:pt x="121" y="195"/>
                  <a:pt x="121" y="195"/>
                </a:cubicBezTo>
                <a:cubicBezTo>
                  <a:pt x="121" y="197"/>
                  <a:pt x="121" y="198"/>
                  <a:pt x="120" y="198"/>
                </a:cubicBezTo>
                <a:cubicBezTo>
                  <a:pt x="120" y="198"/>
                  <a:pt x="119" y="198"/>
                  <a:pt x="119" y="198"/>
                </a:cubicBezTo>
                <a:cubicBezTo>
                  <a:pt x="118" y="198"/>
                  <a:pt x="117" y="197"/>
                  <a:pt x="117" y="196"/>
                </a:cubicBezTo>
                <a:cubicBezTo>
                  <a:pt x="116" y="195"/>
                  <a:pt x="117" y="192"/>
                  <a:pt x="118" y="192"/>
                </a:cubicBezTo>
                <a:cubicBezTo>
                  <a:pt x="118" y="192"/>
                  <a:pt x="118" y="192"/>
                  <a:pt x="118" y="192"/>
                </a:cubicBezTo>
                <a:cubicBezTo>
                  <a:pt x="117" y="192"/>
                  <a:pt x="117" y="190"/>
                  <a:pt x="117" y="189"/>
                </a:cubicBezTo>
                <a:cubicBezTo>
                  <a:pt x="116" y="189"/>
                  <a:pt x="116" y="189"/>
                  <a:pt x="116" y="190"/>
                </a:cubicBezTo>
                <a:cubicBezTo>
                  <a:pt x="116" y="190"/>
                  <a:pt x="116" y="190"/>
                  <a:pt x="116" y="190"/>
                </a:cubicBezTo>
                <a:cubicBezTo>
                  <a:pt x="116" y="191"/>
                  <a:pt x="116" y="191"/>
                  <a:pt x="115" y="190"/>
                </a:cubicBezTo>
                <a:cubicBezTo>
                  <a:pt x="114" y="192"/>
                  <a:pt x="114" y="194"/>
                  <a:pt x="113" y="196"/>
                </a:cubicBezTo>
                <a:cubicBezTo>
                  <a:pt x="112" y="194"/>
                  <a:pt x="112" y="194"/>
                  <a:pt x="111" y="194"/>
                </a:cubicBezTo>
                <a:cubicBezTo>
                  <a:pt x="112" y="196"/>
                  <a:pt x="112" y="199"/>
                  <a:pt x="110" y="197"/>
                </a:cubicBezTo>
                <a:cubicBezTo>
                  <a:pt x="110" y="197"/>
                  <a:pt x="110" y="196"/>
                  <a:pt x="110" y="196"/>
                </a:cubicBezTo>
                <a:cubicBezTo>
                  <a:pt x="109" y="197"/>
                  <a:pt x="109" y="197"/>
                  <a:pt x="108" y="197"/>
                </a:cubicBezTo>
                <a:cubicBezTo>
                  <a:pt x="110" y="200"/>
                  <a:pt x="111" y="202"/>
                  <a:pt x="112" y="205"/>
                </a:cubicBezTo>
                <a:cubicBezTo>
                  <a:pt x="113" y="208"/>
                  <a:pt x="109" y="203"/>
                  <a:pt x="109" y="202"/>
                </a:cubicBezTo>
                <a:cubicBezTo>
                  <a:pt x="108" y="201"/>
                  <a:pt x="108" y="199"/>
                  <a:pt x="107" y="197"/>
                </a:cubicBezTo>
                <a:cubicBezTo>
                  <a:pt x="107" y="197"/>
                  <a:pt x="106" y="196"/>
                  <a:pt x="106" y="196"/>
                </a:cubicBezTo>
                <a:cubicBezTo>
                  <a:pt x="106" y="196"/>
                  <a:pt x="106" y="195"/>
                  <a:pt x="106" y="194"/>
                </a:cubicBezTo>
                <a:cubicBezTo>
                  <a:pt x="105" y="193"/>
                  <a:pt x="104" y="192"/>
                  <a:pt x="103" y="191"/>
                </a:cubicBezTo>
                <a:cubicBezTo>
                  <a:pt x="102" y="190"/>
                  <a:pt x="101" y="189"/>
                  <a:pt x="100" y="190"/>
                </a:cubicBezTo>
                <a:cubicBezTo>
                  <a:pt x="100" y="190"/>
                  <a:pt x="100" y="191"/>
                  <a:pt x="99" y="191"/>
                </a:cubicBezTo>
                <a:cubicBezTo>
                  <a:pt x="99" y="191"/>
                  <a:pt x="99" y="191"/>
                  <a:pt x="99" y="191"/>
                </a:cubicBezTo>
                <a:cubicBezTo>
                  <a:pt x="99" y="192"/>
                  <a:pt x="99" y="192"/>
                  <a:pt x="99" y="192"/>
                </a:cubicBezTo>
                <a:cubicBezTo>
                  <a:pt x="99" y="193"/>
                  <a:pt x="99" y="195"/>
                  <a:pt x="98" y="194"/>
                </a:cubicBezTo>
                <a:cubicBezTo>
                  <a:pt x="98" y="195"/>
                  <a:pt x="98" y="195"/>
                  <a:pt x="98" y="195"/>
                </a:cubicBezTo>
                <a:cubicBezTo>
                  <a:pt x="96" y="195"/>
                  <a:pt x="96" y="194"/>
                  <a:pt x="95" y="192"/>
                </a:cubicBezTo>
                <a:cubicBezTo>
                  <a:pt x="94" y="192"/>
                  <a:pt x="94" y="192"/>
                  <a:pt x="93" y="192"/>
                </a:cubicBezTo>
                <a:cubicBezTo>
                  <a:pt x="93" y="192"/>
                  <a:pt x="93" y="191"/>
                  <a:pt x="93" y="191"/>
                </a:cubicBezTo>
                <a:cubicBezTo>
                  <a:pt x="92" y="193"/>
                  <a:pt x="92" y="194"/>
                  <a:pt x="92" y="196"/>
                </a:cubicBezTo>
                <a:cubicBezTo>
                  <a:pt x="92" y="197"/>
                  <a:pt x="92" y="199"/>
                  <a:pt x="91" y="199"/>
                </a:cubicBezTo>
                <a:cubicBezTo>
                  <a:pt x="91" y="200"/>
                  <a:pt x="90" y="201"/>
                  <a:pt x="89" y="201"/>
                </a:cubicBezTo>
                <a:cubicBezTo>
                  <a:pt x="90" y="202"/>
                  <a:pt x="90" y="202"/>
                  <a:pt x="89" y="203"/>
                </a:cubicBezTo>
                <a:cubicBezTo>
                  <a:pt x="88" y="204"/>
                  <a:pt x="86" y="205"/>
                  <a:pt x="85" y="203"/>
                </a:cubicBezTo>
                <a:cubicBezTo>
                  <a:pt x="85" y="203"/>
                  <a:pt x="85" y="203"/>
                  <a:pt x="85" y="203"/>
                </a:cubicBezTo>
                <a:cubicBezTo>
                  <a:pt x="85" y="203"/>
                  <a:pt x="84" y="203"/>
                  <a:pt x="84" y="203"/>
                </a:cubicBezTo>
                <a:cubicBezTo>
                  <a:pt x="84" y="204"/>
                  <a:pt x="85" y="205"/>
                  <a:pt x="84" y="206"/>
                </a:cubicBezTo>
                <a:cubicBezTo>
                  <a:pt x="85" y="206"/>
                  <a:pt x="86" y="207"/>
                  <a:pt x="86" y="207"/>
                </a:cubicBezTo>
                <a:cubicBezTo>
                  <a:pt x="87" y="207"/>
                  <a:pt x="87" y="209"/>
                  <a:pt x="88" y="210"/>
                </a:cubicBezTo>
                <a:cubicBezTo>
                  <a:pt x="90" y="211"/>
                  <a:pt x="90" y="212"/>
                  <a:pt x="91" y="213"/>
                </a:cubicBezTo>
                <a:cubicBezTo>
                  <a:pt x="91" y="214"/>
                  <a:pt x="92" y="213"/>
                  <a:pt x="92" y="213"/>
                </a:cubicBezTo>
                <a:cubicBezTo>
                  <a:pt x="92" y="215"/>
                  <a:pt x="91" y="216"/>
                  <a:pt x="92" y="216"/>
                </a:cubicBezTo>
                <a:cubicBezTo>
                  <a:pt x="92" y="216"/>
                  <a:pt x="92" y="217"/>
                  <a:pt x="92" y="217"/>
                </a:cubicBezTo>
                <a:cubicBezTo>
                  <a:pt x="92" y="217"/>
                  <a:pt x="92" y="217"/>
                  <a:pt x="92" y="217"/>
                </a:cubicBezTo>
                <a:cubicBezTo>
                  <a:pt x="92" y="217"/>
                  <a:pt x="92" y="217"/>
                  <a:pt x="92" y="218"/>
                </a:cubicBezTo>
                <a:cubicBezTo>
                  <a:pt x="92" y="219"/>
                  <a:pt x="93" y="219"/>
                  <a:pt x="93" y="220"/>
                </a:cubicBezTo>
                <a:cubicBezTo>
                  <a:pt x="93" y="220"/>
                  <a:pt x="92" y="219"/>
                  <a:pt x="92" y="219"/>
                </a:cubicBezTo>
                <a:cubicBezTo>
                  <a:pt x="90" y="221"/>
                  <a:pt x="87" y="226"/>
                  <a:pt x="86" y="226"/>
                </a:cubicBezTo>
                <a:cubicBezTo>
                  <a:pt x="84" y="226"/>
                  <a:pt x="83" y="222"/>
                  <a:pt x="81" y="220"/>
                </a:cubicBezTo>
                <a:cubicBezTo>
                  <a:pt x="80" y="220"/>
                  <a:pt x="79" y="222"/>
                  <a:pt x="78" y="221"/>
                </a:cubicBezTo>
                <a:cubicBezTo>
                  <a:pt x="77" y="219"/>
                  <a:pt x="79" y="219"/>
                  <a:pt x="80" y="218"/>
                </a:cubicBezTo>
                <a:cubicBezTo>
                  <a:pt x="80" y="217"/>
                  <a:pt x="80" y="213"/>
                  <a:pt x="80" y="210"/>
                </a:cubicBezTo>
                <a:cubicBezTo>
                  <a:pt x="80" y="209"/>
                  <a:pt x="81" y="208"/>
                  <a:pt x="81" y="207"/>
                </a:cubicBezTo>
                <a:cubicBezTo>
                  <a:pt x="80" y="206"/>
                  <a:pt x="79" y="202"/>
                  <a:pt x="79" y="201"/>
                </a:cubicBezTo>
                <a:cubicBezTo>
                  <a:pt x="78" y="201"/>
                  <a:pt x="78" y="203"/>
                  <a:pt x="77" y="203"/>
                </a:cubicBezTo>
                <a:cubicBezTo>
                  <a:pt x="77" y="202"/>
                  <a:pt x="78" y="201"/>
                  <a:pt x="78" y="200"/>
                </a:cubicBezTo>
                <a:cubicBezTo>
                  <a:pt x="77" y="198"/>
                  <a:pt x="76" y="194"/>
                  <a:pt x="76" y="192"/>
                </a:cubicBezTo>
                <a:cubicBezTo>
                  <a:pt x="75" y="192"/>
                  <a:pt x="74" y="192"/>
                  <a:pt x="74" y="193"/>
                </a:cubicBezTo>
                <a:cubicBezTo>
                  <a:pt x="74" y="194"/>
                  <a:pt x="75" y="194"/>
                  <a:pt x="75" y="194"/>
                </a:cubicBezTo>
                <a:cubicBezTo>
                  <a:pt x="75" y="194"/>
                  <a:pt x="74" y="197"/>
                  <a:pt x="73" y="200"/>
                </a:cubicBezTo>
                <a:cubicBezTo>
                  <a:pt x="73" y="201"/>
                  <a:pt x="73" y="201"/>
                  <a:pt x="72" y="202"/>
                </a:cubicBezTo>
                <a:cubicBezTo>
                  <a:pt x="72" y="202"/>
                  <a:pt x="72" y="202"/>
                  <a:pt x="72" y="202"/>
                </a:cubicBezTo>
                <a:cubicBezTo>
                  <a:pt x="72" y="202"/>
                  <a:pt x="72" y="202"/>
                  <a:pt x="72" y="202"/>
                </a:cubicBezTo>
                <a:cubicBezTo>
                  <a:pt x="71" y="202"/>
                  <a:pt x="70" y="202"/>
                  <a:pt x="70" y="202"/>
                </a:cubicBezTo>
                <a:cubicBezTo>
                  <a:pt x="68" y="205"/>
                  <a:pt x="70" y="208"/>
                  <a:pt x="69" y="210"/>
                </a:cubicBezTo>
                <a:cubicBezTo>
                  <a:pt x="69" y="210"/>
                  <a:pt x="69" y="211"/>
                  <a:pt x="69" y="212"/>
                </a:cubicBezTo>
                <a:cubicBezTo>
                  <a:pt x="69" y="212"/>
                  <a:pt x="69" y="212"/>
                  <a:pt x="69" y="212"/>
                </a:cubicBezTo>
                <a:cubicBezTo>
                  <a:pt x="70" y="212"/>
                  <a:pt x="73" y="217"/>
                  <a:pt x="71" y="218"/>
                </a:cubicBezTo>
                <a:cubicBezTo>
                  <a:pt x="70" y="219"/>
                  <a:pt x="68" y="218"/>
                  <a:pt x="67" y="216"/>
                </a:cubicBezTo>
                <a:cubicBezTo>
                  <a:pt x="67" y="216"/>
                  <a:pt x="67" y="216"/>
                  <a:pt x="67" y="216"/>
                </a:cubicBezTo>
                <a:cubicBezTo>
                  <a:pt x="66" y="216"/>
                  <a:pt x="66" y="216"/>
                  <a:pt x="66" y="216"/>
                </a:cubicBezTo>
                <a:cubicBezTo>
                  <a:pt x="66" y="216"/>
                  <a:pt x="66" y="216"/>
                  <a:pt x="66" y="216"/>
                </a:cubicBezTo>
                <a:cubicBezTo>
                  <a:pt x="66" y="216"/>
                  <a:pt x="66" y="216"/>
                  <a:pt x="66" y="216"/>
                </a:cubicBezTo>
                <a:cubicBezTo>
                  <a:pt x="66" y="217"/>
                  <a:pt x="66" y="219"/>
                  <a:pt x="66" y="219"/>
                </a:cubicBezTo>
                <a:cubicBezTo>
                  <a:pt x="66" y="219"/>
                  <a:pt x="66" y="219"/>
                  <a:pt x="66" y="220"/>
                </a:cubicBezTo>
                <a:cubicBezTo>
                  <a:pt x="67" y="220"/>
                  <a:pt x="68" y="220"/>
                  <a:pt x="68" y="220"/>
                </a:cubicBezTo>
                <a:cubicBezTo>
                  <a:pt x="70" y="221"/>
                  <a:pt x="70" y="224"/>
                  <a:pt x="72" y="226"/>
                </a:cubicBezTo>
                <a:cubicBezTo>
                  <a:pt x="73" y="227"/>
                  <a:pt x="76" y="230"/>
                  <a:pt x="76" y="231"/>
                </a:cubicBezTo>
                <a:cubicBezTo>
                  <a:pt x="76" y="232"/>
                  <a:pt x="74" y="233"/>
                  <a:pt x="73" y="233"/>
                </a:cubicBezTo>
                <a:cubicBezTo>
                  <a:pt x="73" y="234"/>
                  <a:pt x="74" y="234"/>
                  <a:pt x="74" y="234"/>
                </a:cubicBezTo>
                <a:cubicBezTo>
                  <a:pt x="75" y="235"/>
                  <a:pt x="74" y="236"/>
                  <a:pt x="73" y="237"/>
                </a:cubicBezTo>
                <a:cubicBezTo>
                  <a:pt x="73" y="238"/>
                  <a:pt x="73" y="239"/>
                  <a:pt x="72" y="239"/>
                </a:cubicBezTo>
                <a:cubicBezTo>
                  <a:pt x="72" y="239"/>
                  <a:pt x="71" y="238"/>
                  <a:pt x="70" y="237"/>
                </a:cubicBezTo>
                <a:cubicBezTo>
                  <a:pt x="69" y="236"/>
                  <a:pt x="68" y="235"/>
                  <a:pt x="70" y="234"/>
                </a:cubicBezTo>
                <a:cubicBezTo>
                  <a:pt x="70" y="233"/>
                  <a:pt x="70" y="233"/>
                  <a:pt x="68" y="234"/>
                </a:cubicBezTo>
                <a:cubicBezTo>
                  <a:pt x="68" y="235"/>
                  <a:pt x="68" y="236"/>
                  <a:pt x="67" y="236"/>
                </a:cubicBezTo>
                <a:cubicBezTo>
                  <a:pt x="66" y="236"/>
                  <a:pt x="65" y="235"/>
                  <a:pt x="65" y="234"/>
                </a:cubicBezTo>
                <a:cubicBezTo>
                  <a:pt x="64" y="235"/>
                  <a:pt x="63" y="237"/>
                  <a:pt x="62" y="237"/>
                </a:cubicBezTo>
                <a:cubicBezTo>
                  <a:pt x="62" y="237"/>
                  <a:pt x="59" y="236"/>
                  <a:pt x="58" y="235"/>
                </a:cubicBezTo>
                <a:cubicBezTo>
                  <a:pt x="58" y="234"/>
                  <a:pt x="57" y="231"/>
                  <a:pt x="57" y="231"/>
                </a:cubicBezTo>
                <a:cubicBezTo>
                  <a:pt x="56" y="231"/>
                  <a:pt x="56" y="232"/>
                  <a:pt x="56" y="233"/>
                </a:cubicBezTo>
                <a:cubicBezTo>
                  <a:pt x="56" y="233"/>
                  <a:pt x="57" y="233"/>
                  <a:pt x="57" y="233"/>
                </a:cubicBezTo>
                <a:cubicBezTo>
                  <a:pt x="57" y="233"/>
                  <a:pt x="57" y="233"/>
                  <a:pt x="57" y="233"/>
                </a:cubicBezTo>
                <a:cubicBezTo>
                  <a:pt x="57" y="233"/>
                  <a:pt x="57" y="233"/>
                  <a:pt x="57" y="233"/>
                </a:cubicBezTo>
                <a:cubicBezTo>
                  <a:pt x="57" y="234"/>
                  <a:pt x="58" y="235"/>
                  <a:pt x="57" y="236"/>
                </a:cubicBezTo>
                <a:cubicBezTo>
                  <a:pt x="57" y="236"/>
                  <a:pt x="57" y="236"/>
                  <a:pt x="56" y="236"/>
                </a:cubicBezTo>
                <a:cubicBezTo>
                  <a:pt x="56" y="236"/>
                  <a:pt x="56" y="237"/>
                  <a:pt x="56" y="237"/>
                </a:cubicBezTo>
                <a:cubicBezTo>
                  <a:pt x="56" y="237"/>
                  <a:pt x="56" y="237"/>
                  <a:pt x="55" y="236"/>
                </a:cubicBezTo>
                <a:cubicBezTo>
                  <a:pt x="55" y="236"/>
                  <a:pt x="55" y="237"/>
                  <a:pt x="55" y="237"/>
                </a:cubicBezTo>
                <a:cubicBezTo>
                  <a:pt x="54" y="236"/>
                  <a:pt x="54" y="233"/>
                  <a:pt x="55" y="233"/>
                </a:cubicBezTo>
                <a:cubicBezTo>
                  <a:pt x="55" y="232"/>
                  <a:pt x="55" y="230"/>
                  <a:pt x="56" y="230"/>
                </a:cubicBezTo>
                <a:cubicBezTo>
                  <a:pt x="56" y="230"/>
                  <a:pt x="57" y="231"/>
                  <a:pt x="57" y="231"/>
                </a:cubicBezTo>
                <a:cubicBezTo>
                  <a:pt x="58" y="230"/>
                  <a:pt x="57" y="229"/>
                  <a:pt x="57" y="229"/>
                </a:cubicBezTo>
                <a:cubicBezTo>
                  <a:pt x="57" y="228"/>
                  <a:pt x="58" y="227"/>
                  <a:pt x="58" y="226"/>
                </a:cubicBezTo>
                <a:cubicBezTo>
                  <a:pt x="58" y="225"/>
                  <a:pt x="58" y="224"/>
                  <a:pt x="59" y="224"/>
                </a:cubicBezTo>
                <a:cubicBezTo>
                  <a:pt x="60" y="223"/>
                  <a:pt x="60" y="224"/>
                  <a:pt x="60" y="225"/>
                </a:cubicBezTo>
                <a:cubicBezTo>
                  <a:pt x="61" y="225"/>
                  <a:pt x="61" y="225"/>
                  <a:pt x="61" y="225"/>
                </a:cubicBezTo>
                <a:cubicBezTo>
                  <a:pt x="61" y="224"/>
                  <a:pt x="61" y="222"/>
                  <a:pt x="62" y="221"/>
                </a:cubicBezTo>
                <a:cubicBezTo>
                  <a:pt x="62" y="221"/>
                  <a:pt x="62" y="222"/>
                  <a:pt x="63" y="222"/>
                </a:cubicBezTo>
                <a:cubicBezTo>
                  <a:pt x="62" y="220"/>
                  <a:pt x="62" y="219"/>
                  <a:pt x="61" y="218"/>
                </a:cubicBezTo>
                <a:cubicBezTo>
                  <a:pt x="61" y="218"/>
                  <a:pt x="61" y="217"/>
                  <a:pt x="61" y="217"/>
                </a:cubicBezTo>
                <a:cubicBezTo>
                  <a:pt x="60" y="218"/>
                  <a:pt x="60" y="218"/>
                  <a:pt x="59" y="218"/>
                </a:cubicBezTo>
                <a:cubicBezTo>
                  <a:pt x="57" y="219"/>
                  <a:pt x="58" y="213"/>
                  <a:pt x="60" y="216"/>
                </a:cubicBezTo>
                <a:cubicBezTo>
                  <a:pt x="60" y="216"/>
                  <a:pt x="60" y="216"/>
                  <a:pt x="60" y="215"/>
                </a:cubicBezTo>
                <a:cubicBezTo>
                  <a:pt x="60" y="214"/>
                  <a:pt x="59" y="212"/>
                  <a:pt x="58" y="213"/>
                </a:cubicBezTo>
                <a:cubicBezTo>
                  <a:pt x="57" y="213"/>
                  <a:pt x="58" y="216"/>
                  <a:pt x="57" y="216"/>
                </a:cubicBezTo>
                <a:cubicBezTo>
                  <a:pt x="56" y="217"/>
                  <a:pt x="54" y="213"/>
                  <a:pt x="54" y="213"/>
                </a:cubicBezTo>
                <a:cubicBezTo>
                  <a:pt x="54" y="213"/>
                  <a:pt x="53" y="213"/>
                  <a:pt x="53" y="213"/>
                </a:cubicBezTo>
                <a:cubicBezTo>
                  <a:pt x="55" y="215"/>
                  <a:pt x="55" y="219"/>
                  <a:pt x="55" y="221"/>
                </a:cubicBezTo>
                <a:cubicBezTo>
                  <a:pt x="54" y="223"/>
                  <a:pt x="51" y="223"/>
                  <a:pt x="51" y="224"/>
                </a:cubicBezTo>
                <a:cubicBezTo>
                  <a:pt x="51" y="226"/>
                  <a:pt x="51" y="228"/>
                  <a:pt x="52" y="230"/>
                </a:cubicBezTo>
                <a:cubicBezTo>
                  <a:pt x="51" y="229"/>
                  <a:pt x="51" y="228"/>
                  <a:pt x="50" y="227"/>
                </a:cubicBezTo>
                <a:cubicBezTo>
                  <a:pt x="49" y="227"/>
                  <a:pt x="50" y="226"/>
                  <a:pt x="49" y="225"/>
                </a:cubicBezTo>
                <a:cubicBezTo>
                  <a:pt x="49" y="225"/>
                  <a:pt x="49" y="225"/>
                  <a:pt x="48" y="225"/>
                </a:cubicBezTo>
                <a:cubicBezTo>
                  <a:pt x="48" y="226"/>
                  <a:pt x="48" y="226"/>
                  <a:pt x="48" y="226"/>
                </a:cubicBezTo>
                <a:cubicBezTo>
                  <a:pt x="47" y="227"/>
                  <a:pt x="47" y="226"/>
                  <a:pt x="47" y="225"/>
                </a:cubicBezTo>
                <a:cubicBezTo>
                  <a:pt x="47" y="225"/>
                  <a:pt x="46" y="225"/>
                  <a:pt x="46" y="225"/>
                </a:cubicBezTo>
                <a:cubicBezTo>
                  <a:pt x="45" y="225"/>
                  <a:pt x="44" y="225"/>
                  <a:pt x="43" y="225"/>
                </a:cubicBezTo>
                <a:cubicBezTo>
                  <a:pt x="43" y="225"/>
                  <a:pt x="43" y="226"/>
                  <a:pt x="42" y="226"/>
                </a:cubicBezTo>
                <a:cubicBezTo>
                  <a:pt x="42" y="226"/>
                  <a:pt x="42" y="226"/>
                  <a:pt x="42" y="226"/>
                </a:cubicBezTo>
                <a:cubicBezTo>
                  <a:pt x="42" y="226"/>
                  <a:pt x="42" y="226"/>
                  <a:pt x="42" y="226"/>
                </a:cubicBezTo>
                <a:cubicBezTo>
                  <a:pt x="41" y="226"/>
                  <a:pt x="41" y="226"/>
                  <a:pt x="40" y="225"/>
                </a:cubicBezTo>
                <a:cubicBezTo>
                  <a:pt x="39" y="225"/>
                  <a:pt x="38" y="225"/>
                  <a:pt x="37" y="225"/>
                </a:cubicBezTo>
                <a:cubicBezTo>
                  <a:pt x="37" y="225"/>
                  <a:pt x="36" y="225"/>
                  <a:pt x="36" y="225"/>
                </a:cubicBezTo>
                <a:cubicBezTo>
                  <a:pt x="36" y="226"/>
                  <a:pt x="36" y="226"/>
                  <a:pt x="35" y="226"/>
                </a:cubicBezTo>
                <a:cubicBezTo>
                  <a:pt x="35" y="226"/>
                  <a:pt x="35" y="226"/>
                  <a:pt x="34" y="225"/>
                </a:cubicBezTo>
                <a:cubicBezTo>
                  <a:pt x="33" y="225"/>
                  <a:pt x="32" y="224"/>
                  <a:pt x="31" y="224"/>
                </a:cubicBezTo>
                <a:cubicBezTo>
                  <a:pt x="31" y="224"/>
                  <a:pt x="31" y="224"/>
                  <a:pt x="31" y="224"/>
                </a:cubicBezTo>
                <a:cubicBezTo>
                  <a:pt x="31" y="226"/>
                  <a:pt x="31" y="228"/>
                  <a:pt x="30" y="228"/>
                </a:cubicBezTo>
                <a:cubicBezTo>
                  <a:pt x="28" y="229"/>
                  <a:pt x="27" y="225"/>
                  <a:pt x="27" y="223"/>
                </a:cubicBezTo>
                <a:cubicBezTo>
                  <a:pt x="28" y="225"/>
                  <a:pt x="28" y="224"/>
                  <a:pt x="29" y="223"/>
                </a:cubicBezTo>
                <a:cubicBezTo>
                  <a:pt x="28" y="223"/>
                  <a:pt x="27" y="223"/>
                  <a:pt x="27" y="223"/>
                </a:cubicBezTo>
                <a:cubicBezTo>
                  <a:pt x="26" y="224"/>
                  <a:pt x="25" y="224"/>
                  <a:pt x="25" y="223"/>
                </a:cubicBezTo>
                <a:cubicBezTo>
                  <a:pt x="24" y="223"/>
                  <a:pt x="25" y="221"/>
                  <a:pt x="26" y="220"/>
                </a:cubicBezTo>
                <a:cubicBezTo>
                  <a:pt x="26" y="220"/>
                  <a:pt x="26" y="220"/>
                  <a:pt x="26" y="220"/>
                </a:cubicBezTo>
                <a:cubicBezTo>
                  <a:pt x="26" y="219"/>
                  <a:pt x="25" y="218"/>
                  <a:pt x="23" y="216"/>
                </a:cubicBezTo>
                <a:cubicBezTo>
                  <a:pt x="23" y="217"/>
                  <a:pt x="22" y="217"/>
                  <a:pt x="22" y="217"/>
                </a:cubicBezTo>
                <a:cubicBezTo>
                  <a:pt x="22" y="216"/>
                  <a:pt x="22" y="216"/>
                  <a:pt x="23" y="215"/>
                </a:cubicBezTo>
                <a:cubicBezTo>
                  <a:pt x="22" y="215"/>
                  <a:pt x="22" y="215"/>
                  <a:pt x="22" y="215"/>
                </a:cubicBezTo>
                <a:cubicBezTo>
                  <a:pt x="22" y="215"/>
                  <a:pt x="21" y="216"/>
                  <a:pt x="21" y="216"/>
                </a:cubicBezTo>
                <a:cubicBezTo>
                  <a:pt x="20" y="217"/>
                  <a:pt x="18" y="217"/>
                  <a:pt x="18" y="219"/>
                </a:cubicBezTo>
                <a:cubicBezTo>
                  <a:pt x="17" y="219"/>
                  <a:pt x="18" y="218"/>
                  <a:pt x="17" y="218"/>
                </a:cubicBezTo>
                <a:cubicBezTo>
                  <a:pt x="18" y="220"/>
                  <a:pt x="16" y="219"/>
                  <a:pt x="16" y="221"/>
                </a:cubicBezTo>
                <a:cubicBezTo>
                  <a:pt x="19" y="219"/>
                  <a:pt x="20" y="220"/>
                  <a:pt x="21" y="223"/>
                </a:cubicBezTo>
                <a:cubicBezTo>
                  <a:pt x="21" y="222"/>
                  <a:pt x="22" y="222"/>
                  <a:pt x="22" y="223"/>
                </a:cubicBezTo>
                <a:cubicBezTo>
                  <a:pt x="22" y="223"/>
                  <a:pt x="22" y="223"/>
                  <a:pt x="23" y="223"/>
                </a:cubicBezTo>
                <a:cubicBezTo>
                  <a:pt x="23" y="223"/>
                  <a:pt x="23" y="223"/>
                  <a:pt x="23" y="223"/>
                </a:cubicBezTo>
                <a:cubicBezTo>
                  <a:pt x="23" y="223"/>
                  <a:pt x="23" y="223"/>
                  <a:pt x="23" y="223"/>
                </a:cubicBezTo>
                <a:cubicBezTo>
                  <a:pt x="24" y="224"/>
                  <a:pt x="25" y="226"/>
                  <a:pt x="25" y="226"/>
                </a:cubicBezTo>
                <a:cubicBezTo>
                  <a:pt x="25" y="226"/>
                  <a:pt x="25" y="228"/>
                  <a:pt x="25" y="228"/>
                </a:cubicBezTo>
                <a:cubicBezTo>
                  <a:pt x="27" y="228"/>
                  <a:pt x="31" y="229"/>
                  <a:pt x="31" y="231"/>
                </a:cubicBezTo>
                <a:cubicBezTo>
                  <a:pt x="32" y="232"/>
                  <a:pt x="31" y="236"/>
                  <a:pt x="31" y="237"/>
                </a:cubicBezTo>
                <a:cubicBezTo>
                  <a:pt x="31" y="237"/>
                  <a:pt x="29" y="237"/>
                  <a:pt x="29" y="238"/>
                </a:cubicBezTo>
                <a:cubicBezTo>
                  <a:pt x="27" y="241"/>
                  <a:pt x="27" y="237"/>
                  <a:pt x="26" y="242"/>
                </a:cubicBezTo>
                <a:cubicBezTo>
                  <a:pt x="25" y="241"/>
                  <a:pt x="24" y="239"/>
                  <a:pt x="23" y="239"/>
                </a:cubicBezTo>
                <a:cubicBezTo>
                  <a:pt x="23" y="239"/>
                  <a:pt x="21" y="239"/>
                  <a:pt x="22" y="239"/>
                </a:cubicBezTo>
                <a:cubicBezTo>
                  <a:pt x="20" y="238"/>
                  <a:pt x="22" y="235"/>
                  <a:pt x="20" y="233"/>
                </a:cubicBezTo>
                <a:cubicBezTo>
                  <a:pt x="20" y="234"/>
                  <a:pt x="20" y="235"/>
                  <a:pt x="19" y="236"/>
                </a:cubicBezTo>
                <a:cubicBezTo>
                  <a:pt x="20" y="237"/>
                  <a:pt x="20" y="238"/>
                  <a:pt x="18" y="238"/>
                </a:cubicBezTo>
                <a:cubicBezTo>
                  <a:pt x="22" y="239"/>
                  <a:pt x="22" y="249"/>
                  <a:pt x="17" y="249"/>
                </a:cubicBezTo>
                <a:cubicBezTo>
                  <a:pt x="17" y="249"/>
                  <a:pt x="17" y="249"/>
                  <a:pt x="17" y="249"/>
                </a:cubicBezTo>
                <a:cubicBezTo>
                  <a:pt x="17" y="249"/>
                  <a:pt x="17" y="249"/>
                  <a:pt x="17" y="250"/>
                </a:cubicBezTo>
                <a:cubicBezTo>
                  <a:pt x="20" y="251"/>
                  <a:pt x="21" y="254"/>
                  <a:pt x="20" y="258"/>
                </a:cubicBezTo>
                <a:cubicBezTo>
                  <a:pt x="20" y="257"/>
                  <a:pt x="20" y="258"/>
                  <a:pt x="20" y="258"/>
                </a:cubicBezTo>
                <a:cubicBezTo>
                  <a:pt x="21" y="261"/>
                  <a:pt x="23" y="263"/>
                  <a:pt x="23" y="265"/>
                </a:cubicBezTo>
                <a:cubicBezTo>
                  <a:pt x="23" y="266"/>
                  <a:pt x="23" y="267"/>
                  <a:pt x="23" y="268"/>
                </a:cubicBezTo>
                <a:cubicBezTo>
                  <a:pt x="23" y="270"/>
                  <a:pt x="27" y="272"/>
                  <a:pt x="26" y="275"/>
                </a:cubicBezTo>
                <a:cubicBezTo>
                  <a:pt x="26" y="276"/>
                  <a:pt x="26" y="275"/>
                  <a:pt x="27" y="277"/>
                </a:cubicBezTo>
                <a:cubicBezTo>
                  <a:pt x="27" y="278"/>
                  <a:pt x="28" y="280"/>
                  <a:pt x="28" y="281"/>
                </a:cubicBezTo>
                <a:cubicBezTo>
                  <a:pt x="29" y="282"/>
                  <a:pt x="30" y="285"/>
                  <a:pt x="30" y="285"/>
                </a:cubicBezTo>
                <a:cubicBezTo>
                  <a:pt x="32" y="287"/>
                  <a:pt x="32" y="285"/>
                  <a:pt x="32" y="287"/>
                </a:cubicBezTo>
                <a:cubicBezTo>
                  <a:pt x="31" y="288"/>
                  <a:pt x="32" y="288"/>
                  <a:pt x="32" y="289"/>
                </a:cubicBezTo>
                <a:cubicBezTo>
                  <a:pt x="32" y="288"/>
                  <a:pt x="32" y="288"/>
                  <a:pt x="32" y="288"/>
                </a:cubicBezTo>
                <a:cubicBezTo>
                  <a:pt x="33" y="287"/>
                  <a:pt x="34" y="290"/>
                  <a:pt x="33" y="290"/>
                </a:cubicBezTo>
                <a:cubicBezTo>
                  <a:pt x="33" y="291"/>
                  <a:pt x="34" y="291"/>
                  <a:pt x="34" y="292"/>
                </a:cubicBezTo>
                <a:cubicBezTo>
                  <a:pt x="34" y="292"/>
                  <a:pt x="35" y="292"/>
                  <a:pt x="35" y="292"/>
                </a:cubicBezTo>
                <a:cubicBezTo>
                  <a:pt x="36" y="288"/>
                  <a:pt x="34" y="286"/>
                  <a:pt x="38" y="288"/>
                </a:cubicBezTo>
                <a:cubicBezTo>
                  <a:pt x="39" y="288"/>
                  <a:pt x="39" y="287"/>
                  <a:pt x="40" y="288"/>
                </a:cubicBezTo>
                <a:cubicBezTo>
                  <a:pt x="42" y="289"/>
                  <a:pt x="39" y="291"/>
                  <a:pt x="38" y="290"/>
                </a:cubicBezTo>
                <a:cubicBezTo>
                  <a:pt x="39" y="291"/>
                  <a:pt x="40" y="291"/>
                  <a:pt x="41" y="289"/>
                </a:cubicBezTo>
                <a:cubicBezTo>
                  <a:pt x="42" y="289"/>
                  <a:pt x="42" y="292"/>
                  <a:pt x="41" y="293"/>
                </a:cubicBezTo>
                <a:cubicBezTo>
                  <a:pt x="41" y="293"/>
                  <a:pt x="38" y="295"/>
                  <a:pt x="37" y="296"/>
                </a:cubicBezTo>
                <a:cubicBezTo>
                  <a:pt x="37" y="297"/>
                  <a:pt x="38" y="298"/>
                  <a:pt x="38" y="299"/>
                </a:cubicBezTo>
                <a:cubicBezTo>
                  <a:pt x="40" y="301"/>
                  <a:pt x="40" y="304"/>
                  <a:pt x="41" y="306"/>
                </a:cubicBezTo>
                <a:cubicBezTo>
                  <a:pt x="42" y="307"/>
                  <a:pt x="42" y="307"/>
                  <a:pt x="42" y="309"/>
                </a:cubicBezTo>
                <a:cubicBezTo>
                  <a:pt x="42" y="310"/>
                  <a:pt x="43" y="310"/>
                  <a:pt x="43" y="311"/>
                </a:cubicBezTo>
                <a:cubicBezTo>
                  <a:pt x="44" y="313"/>
                  <a:pt x="45" y="316"/>
                  <a:pt x="46" y="318"/>
                </a:cubicBezTo>
                <a:cubicBezTo>
                  <a:pt x="46" y="318"/>
                  <a:pt x="46" y="317"/>
                  <a:pt x="46" y="318"/>
                </a:cubicBezTo>
                <a:cubicBezTo>
                  <a:pt x="46" y="318"/>
                  <a:pt x="46" y="318"/>
                  <a:pt x="46" y="318"/>
                </a:cubicBezTo>
                <a:cubicBezTo>
                  <a:pt x="46" y="319"/>
                  <a:pt x="46" y="319"/>
                  <a:pt x="47" y="320"/>
                </a:cubicBezTo>
                <a:cubicBezTo>
                  <a:pt x="47" y="320"/>
                  <a:pt x="47" y="324"/>
                  <a:pt x="48" y="324"/>
                </a:cubicBezTo>
                <a:cubicBezTo>
                  <a:pt x="48" y="324"/>
                  <a:pt x="47" y="317"/>
                  <a:pt x="51" y="319"/>
                </a:cubicBezTo>
                <a:cubicBezTo>
                  <a:pt x="51" y="319"/>
                  <a:pt x="52" y="319"/>
                  <a:pt x="52" y="320"/>
                </a:cubicBezTo>
                <a:cubicBezTo>
                  <a:pt x="51" y="316"/>
                  <a:pt x="51" y="310"/>
                  <a:pt x="53" y="306"/>
                </a:cubicBezTo>
                <a:cubicBezTo>
                  <a:pt x="50" y="306"/>
                  <a:pt x="50" y="314"/>
                  <a:pt x="47" y="314"/>
                </a:cubicBezTo>
                <a:cubicBezTo>
                  <a:pt x="45" y="314"/>
                  <a:pt x="48" y="308"/>
                  <a:pt x="46" y="306"/>
                </a:cubicBezTo>
                <a:cubicBezTo>
                  <a:pt x="45" y="305"/>
                  <a:pt x="45" y="306"/>
                  <a:pt x="44" y="305"/>
                </a:cubicBezTo>
                <a:cubicBezTo>
                  <a:pt x="44" y="304"/>
                  <a:pt x="46" y="301"/>
                  <a:pt x="43" y="301"/>
                </a:cubicBezTo>
                <a:cubicBezTo>
                  <a:pt x="40" y="302"/>
                  <a:pt x="46" y="290"/>
                  <a:pt x="49" y="289"/>
                </a:cubicBezTo>
                <a:cubicBezTo>
                  <a:pt x="51" y="289"/>
                  <a:pt x="55" y="290"/>
                  <a:pt x="55" y="291"/>
                </a:cubicBezTo>
                <a:cubicBezTo>
                  <a:pt x="55" y="291"/>
                  <a:pt x="56" y="298"/>
                  <a:pt x="56" y="298"/>
                </a:cubicBezTo>
                <a:cubicBezTo>
                  <a:pt x="56" y="299"/>
                  <a:pt x="56" y="300"/>
                  <a:pt x="56" y="301"/>
                </a:cubicBezTo>
                <a:cubicBezTo>
                  <a:pt x="56" y="301"/>
                  <a:pt x="56" y="301"/>
                  <a:pt x="57" y="300"/>
                </a:cubicBezTo>
                <a:cubicBezTo>
                  <a:pt x="58" y="300"/>
                  <a:pt x="60" y="299"/>
                  <a:pt x="61" y="300"/>
                </a:cubicBezTo>
                <a:cubicBezTo>
                  <a:pt x="66" y="303"/>
                  <a:pt x="64" y="314"/>
                  <a:pt x="63" y="319"/>
                </a:cubicBezTo>
                <a:cubicBezTo>
                  <a:pt x="63" y="318"/>
                  <a:pt x="64" y="318"/>
                  <a:pt x="65" y="318"/>
                </a:cubicBezTo>
                <a:cubicBezTo>
                  <a:pt x="68" y="319"/>
                  <a:pt x="67" y="328"/>
                  <a:pt x="64" y="328"/>
                </a:cubicBezTo>
                <a:cubicBezTo>
                  <a:pt x="64" y="328"/>
                  <a:pt x="64" y="330"/>
                  <a:pt x="63" y="330"/>
                </a:cubicBezTo>
                <a:cubicBezTo>
                  <a:pt x="63" y="330"/>
                  <a:pt x="62" y="328"/>
                  <a:pt x="63" y="328"/>
                </a:cubicBezTo>
                <a:cubicBezTo>
                  <a:pt x="61" y="327"/>
                  <a:pt x="61" y="324"/>
                  <a:pt x="61" y="322"/>
                </a:cubicBezTo>
                <a:cubicBezTo>
                  <a:pt x="61" y="321"/>
                  <a:pt x="60" y="319"/>
                  <a:pt x="58" y="318"/>
                </a:cubicBezTo>
                <a:cubicBezTo>
                  <a:pt x="58" y="318"/>
                  <a:pt x="56" y="319"/>
                  <a:pt x="56" y="319"/>
                </a:cubicBezTo>
                <a:cubicBezTo>
                  <a:pt x="56" y="318"/>
                  <a:pt x="55" y="316"/>
                  <a:pt x="54" y="316"/>
                </a:cubicBezTo>
                <a:cubicBezTo>
                  <a:pt x="52" y="316"/>
                  <a:pt x="53" y="319"/>
                  <a:pt x="52" y="321"/>
                </a:cubicBezTo>
                <a:cubicBezTo>
                  <a:pt x="53" y="324"/>
                  <a:pt x="52" y="328"/>
                  <a:pt x="51" y="329"/>
                </a:cubicBezTo>
                <a:cubicBezTo>
                  <a:pt x="50" y="329"/>
                  <a:pt x="49" y="329"/>
                  <a:pt x="49" y="329"/>
                </a:cubicBezTo>
                <a:cubicBezTo>
                  <a:pt x="49" y="330"/>
                  <a:pt x="50" y="330"/>
                  <a:pt x="50" y="331"/>
                </a:cubicBezTo>
                <a:cubicBezTo>
                  <a:pt x="51" y="332"/>
                  <a:pt x="52" y="333"/>
                  <a:pt x="53" y="334"/>
                </a:cubicBezTo>
                <a:cubicBezTo>
                  <a:pt x="53" y="335"/>
                  <a:pt x="53" y="335"/>
                  <a:pt x="53" y="336"/>
                </a:cubicBezTo>
                <a:cubicBezTo>
                  <a:pt x="56" y="333"/>
                  <a:pt x="57" y="335"/>
                  <a:pt x="56" y="337"/>
                </a:cubicBezTo>
                <a:cubicBezTo>
                  <a:pt x="57" y="338"/>
                  <a:pt x="57" y="339"/>
                  <a:pt x="57" y="339"/>
                </a:cubicBezTo>
                <a:cubicBezTo>
                  <a:pt x="57" y="340"/>
                  <a:pt x="56" y="340"/>
                  <a:pt x="56" y="339"/>
                </a:cubicBezTo>
                <a:cubicBezTo>
                  <a:pt x="56" y="340"/>
                  <a:pt x="56" y="341"/>
                  <a:pt x="55" y="341"/>
                </a:cubicBezTo>
                <a:cubicBezTo>
                  <a:pt x="55" y="341"/>
                  <a:pt x="56" y="342"/>
                  <a:pt x="56" y="342"/>
                </a:cubicBezTo>
                <a:cubicBezTo>
                  <a:pt x="56" y="343"/>
                  <a:pt x="57" y="343"/>
                  <a:pt x="57" y="343"/>
                </a:cubicBezTo>
                <a:cubicBezTo>
                  <a:pt x="58" y="344"/>
                  <a:pt x="57" y="345"/>
                  <a:pt x="57" y="345"/>
                </a:cubicBezTo>
                <a:cubicBezTo>
                  <a:pt x="58" y="346"/>
                  <a:pt x="59" y="347"/>
                  <a:pt x="60" y="348"/>
                </a:cubicBezTo>
                <a:cubicBezTo>
                  <a:pt x="60" y="348"/>
                  <a:pt x="61" y="348"/>
                  <a:pt x="61" y="350"/>
                </a:cubicBezTo>
                <a:cubicBezTo>
                  <a:pt x="62" y="351"/>
                  <a:pt x="62" y="351"/>
                  <a:pt x="63" y="352"/>
                </a:cubicBezTo>
                <a:cubicBezTo>
                  <a:pt x="65" y="356"/>
                  <a:pt x="66" y="361"/>
                  <a:pt x="68" y="365"/>
                </a:cubicBezTo>
                <a:cubicBezTo>
                  <a:pt x="68" y="366"/>
                  <a:pt x="68" y="366"/>
                  <a:pt x="68" y="366"/>
                </a:cubicBezTo>
                <a:cubicBezTo>
                  <a:pt x="68" y="366"/>
                  <a:pt x="69" y="365"/>
                  <a:pt x="68" y="365"/>
                </a:cubicBezTo>
                <a:cubicBezTo>
                  <a:pt x="68" y="364"/>
                  <a:pt x="69" y="362"/>
                  <a:pt x="71" y="361"/>
                </a:cubicBezTo>
                <a:cubicBezTo>
                  <a:pt x="71" y="360"/>
                  <a:pt x="71" y="360"/>
                  <a:pt x="71" y="360"/>
                </a:cubicBezTo>
                <a:cubicBezTo>
                  <a:pt x="72" y="360"/>
                  <a:pt x="74" y="359"/>
                  <a:pt x="75" y="359"/>
                </a:cubicBezTo>
                <a:cubicBezTo>
                  <a:pt x="82" y="360"/>
                  <a:pt x="82" y="374"/>
                  <a:pt x="79" y="380"/>
                </a:cubicBezTo>
                <a:cubicBezTo>
                  <a:pt x="79" y="381"/>
                  <a:pt x="77" y="383"/>
                  <a:pt x="75" y="384"/>
                </a:cubicBezTo>
                <a:cubicBezTo>
                  <a:pt x="76" y="386"/>
                  <a:pt x="77" y="388"/>
                  <a:pt x="76" y="388"/>
                </a:cubicBezTo>
                <a:cubicBezTo>
                  <a:pt x="75" y="389"/>
                  <a:pt x="75" y="387"/>
                  <a:pt x="74" y="385"/>
                </a:cubicBezTo>
                <a:cubicBezTo>
                  <a:pt x="74" y="385"/>
                  <a:pt x="74" y="385"/>
                  <a:pt x="74" y="385"/>
                </a:cubicBezTo>
                <a:cubicBezTo>
                  <a:pt x="73" y="386"/>
                  <a:pt x="73" y="388"/>
                  <a:pt x="72" y="388"/>
                </a:cubicBezTo>
                <a:cubicBezTo>
                  <a:pt x="71" y="388"/>
                  <a:pt x="69" y="384"/>
                  <a:pt x="67" y="380"/>
                </a:cubicBezTo>
                <a:cubicBezTo>
                  <a:pt x="68" y="385"/>
                  <a:pt x="68" y="392"/>
                  <a:pt x="69" y="397"/>
                </a:cubicBezTo>
                <a:cubicBezTo>
                  <a:pt x="69" y="397"/>
                  <a:pt x="71" y="404"/>
                  <a:pt x="70" y="404"/>
                </a:cubicBezTo>
                <a:cubicBezTo>
                  <a:pt x="69" y="405"/>
                  <a:pt x="69" y="398"/>
                  <a:pt x="69" y="397"/>
                </a:cubicBezTo>
                <a:cubicBezTo>
                  <a:pt x="68" y="391"/>
                  <a:pt x="66" y="381"/>
                  <a:pt x="65" y="375"/>
                </a:cubicBezTo>
                <a:cubicBezTo>
                  <a:pt x="65" y="375"/>
                  <a:pt x="65" y="374"/>
                  <a:pt x="65" y="374"/>
                </a:cubicBezTo>
                <a:cubicBezTo>
                  <a:pt x="65" y="374"/>
                  <a:pt x="65" y="374"/>
                  <a:pt x="66" y="374"/>
                </a:cubicBezTo>
                <a:cubicBezTo>
                  <a:pt x="66" y="374"/>
                  <a:pt x="66" y="375"/>
                  <a:pt x="66" y="375"/>
                </a:cubicBezTo>
                <a:cubicBezTo>
                  <a:pt x="66" y="374"/>
                  <a:pt x="66" y="373"/>
                  <a:pt x="66" y="371"/>
                </a:cubicBezTo>
                <a:cubicBezTo>
                  <a:pt x="65" y="371"/>
                  <a:pt x="64" y="370"/>
                  <a:pt x="64" y="370"/>
                </a:cubicBezTo>
                <a:cubicBezTo>
                  <a:pt x="64" y="369"/>
                  <a:pt x="65" y="369"/>
                  <a:pt x="65" y="369"/>
                </a:cubicBezTo>
                <a:cubicBezTo>
                  <a:pt x="64" y="368"/>
                  <a:pt x="64" y="368"/>
                  <a:pt x="63" y="367"/>
                </a:cubicBezTo>
                <a:cubicBezTo>
                  <a:pt x="62" y="366"/>
                  <a:pt x="62" y="364"/>
                  <a:pt x="62" y="362"/>
                </a:cubicBezTo>
                <a:cubicBezTo>
                  <a:pt x="61" y="361"/>
                  <a:pt x="60" y="359"/>
                  <a:pt x="58" y="357"/>
                </a:cubicBezTo>
                <a:cubicBezTo>
                  <a:pt x="58" y="357"/>
                  <a:pt x="59" y="357"/>
                  <a:pt x="59" y="356"/>
                </a:cubicBezTo>
                <a:cubicBezTo>
                  <a:pt x="58" y="355"/>
                  <a:pt x="55" y="353"/>
                  <a:pt x="55" y="352"/>
                </a:cubicBezTo>
                <a:cubicBezTo>
                  <a:pt x="55" y="352"/>
                  <a:pt x="55" y="351"/>
                  <a:pt x="55" y="350"/>
                </a:cubicBezTo>
                <a:cubicBezTo>
                  <a:pt x="55" y="348"/>
                  <a:pt x="53" y="347"/>
                  <a:pt x="53" y="345"/>
                </a:cubicBezTo>
                <a:cubicBezTo>
                  <a:pt x="52" y="343"/>
                  <a:pt x="51" y="341"/>
                  <a:pt x="51" y="340"/>
                </a:cubicBezTo>
                <a:cubicBezTo>
                  <a:pt x="51" y="340"/>
                  <a:pt x="51" y="340"/>
                  <a:pt x="51" y="340"/>
                </a:cubicBezTo>
                <a:cubicBezTo>
                  <a:pt x="51" y="339"/>
                  <a:pt x="50" y="339"/>
                  <a:pt x="50" y="338"/>
                </a:cubicBezTo>
                <a:cubicBezTo>
                  <a:pt x="50" y="338"/>
                  <a:pt x="50" y="337"/>
                  <a:pt x="50" y="337"/>
                </a:cubicBezTo>
                <a:cubicBezTo>
                  <a:pt x="50" y="336"/>
                  <a:pt x="49" y="336"/>
                  <a:pt x="49" y="336"/>
                </a:cubicBezTo>
                <a:cubicBezTo>
                  <a:pt x="49" y="335"/>
                  <a:pt x="50" y="335"/>
                  <a:pt x="49" y="334"/>
                </a:cubicBezTo>
                <a:cubicBezTo>
                  <a:pt x="49" y="334"/>
                  <a:pt x="48" y="334"/>
                  <a:pt x="48" y="333"/>
                </a:cubicBezTo>
                <a:cubicBezTo>
                  <a:pt x="48" y="333"/>
                  <a:pt x="48" y="332"/>
                  <a:pt x="48" y="332"/>
                </a:cubicBezTo>
                <a:cubicBezTo>
                  <a:pt x="48" y="331"/>
                  <a:pt x="47" y="331"/>
                  <a:pt x="46" y="330"/>
                </a:cubicBezTo>
                <a:cubicBezTo>
                  <a:pt x="45" y="329"/>
                  <a:pt x="46" y="327"/>
                  <a:pt x="45" y="326"/>
                </a:cubicBezTo>
                <a:cubicBezTo>
                  <a:pt x="42" y="323"/>
                  <a:pt x="41" y="319"/>
                  <a:pt x="38" y="315"/>
                </a:cubicBezTo>
                <a:cubicBezTo>
                  <a:pt x="37" y="312"/>
                  <a:pt x="35" y="309"/>
                  <a:pt x="34" y="306"/>
                </a:cubicBezTo>
                <a:cubicBezTo>
                  <a:pt x="34" y="306"/>
                  <a:pt x="34" y="307"/>
                  <a:pt x="33" y="307"/>
                </a:cubicBezTo>
                <a:cubicBezTo>
                  <a:pt x="33" y="310"/>
                  <a:pt x="29" y="311"/>
                  <a:pt x="29" y="312"/>
                </a:cubicBezTo>
                <a:cubicBezTo>
                  <a:pt x="29" y="313"/>
                  <a:pt x="30" y="314"/>
                  <a:pt x="30" y="314"/>
                </a:cubicBezTo>
                <a:cubicBezTo>
                  <a:pt x="30" y="314"/>
                  <a:pt x="30" y="314"/>
                  <a:pt x="30" y="314"/>
                </a:cubicBezTo>
                <a:cubicBezTo>
                  <a:pt x="30" y="314"/>
                  <a:pt x="30" y="314"/>
                  <a:pt x="30" y="315"/>
                </a:cubicBezTo>
                <a:cubicBezTo>
                  <a:pt x="31" y="316"/>
                  <a:pt x="32" y="316"/>
                  <a:pt x="32" y="317"/>
                </a:cubicBezTo>
                <a:cubicBezTo>
                  <a:pt x="33" y="319"/>
                  <a:pt x="32" y="319"/>
                  <a:pt x="32" y="320"/>
                </a:cubicBezTo>
                <a:cubicBezTo>
                  <a:pt x="32" y="320"/>
                  <a:pt x="32" y="320"/>
                  <a:pt x="32" y="320"/>
                </a:cubicBezTo>
                <a:cubicBezTo>
                  <a:pt x="32" y="321"/>
                  <a:pt x="33" y="321"/>
                  <a:pt x="33" y="321"/>
                </a:cubicBezTo>
                <a:cubicBezTo>
                  <a:pt x="34" y="322"/>
                  <a:pt x="34" y="326"/>
                  <a:pt x="33" y="327"/>
                </a:cubicBezTo>
                <a:cubicBezTo>
                  <a:pt x="33" y="327"/>
                  <a:pt x="32" y="326"/>
                  <a:pt x="31" y="325"/>
                </a:cubicBezTo>
                <a:cubicBezTo>
                  <a:pt x="31" y="325"/>
                  <a:pt x="31" y="326"/>
                  <a:pt x="31" y="326"/>
                </a:cubicBezTo>
                <a:cubicBezTo>
                  <a:pt x="31" y="327"/>
                  <a:pt x="31" y="328"/>
                  <a:pt x="31" y="328"/>
                </a:cubicBezTo>
                <a:cubicBezTo>
                  <a:pt x="30" y="334"/>
                  <a:pt x="27" y="336"/>
                  <a:pt x="24" y="332"/>
                </a:cubicBezTo>
                <a:cubicBezTo>
                  <a:pt x="22" y="330"/>
                  <a:pt x="23" y="321"/>
                  <a:pt x="28" y="321"/>
                </a:cubicBezTo>
                <a:cubicBezTo>
                  <a:pt x="30" y="322"/>
                  <a:pt x="29" y="322"/>
                  <a:pt x="28" y="320"/>
                </a:cubicBezTo>
                <a:cubicBezTo>
                  <a:pt x="27" y="317"/>
                  <a:pt x="29" y="315"/>
                  <a:pt x="27" y="314"/>
                </a:cubicBezTo>
                <a:cubicBezTo>
                  <a:pt x="22" y="311"/>
                  <a:pt x="22" y="308"/>
                  <a:pt x="24" y="304"/>
                </a:cubicBezTo>
                <a:cubicBezTo>
                  <a:pt x="22" y="304"/>
                  <a:pt x="23" y="301"/>
                  <a:pt x="23" y="300"/>
                </a:cubicBezTo>
                <a:cubicBezTo>
                  <a:pt x="23" y="300"/>
                  <a:pt x="22" y="299"/>
                  <a:pt x="23" y="299"/>
                </a:cubicBezTo>
                <a:cubicBezTo>
                  <a:pt x="24" y="298"/>
                  <a:pt x="25" y="298"/>
                  <a:pt x="25" y="299"/>
                </a:cubicBezTo>
                <a:cubicBezTo>
                  <a:pt x="26" y="298"/>
                  <a:pt x="27" y="298"/>
                  <a:pt x="29" y="298"/>
                </a:cubicBezTo>
                <a:cubicBezTo>
                  <a:pt x="30" y="298"/>
                  <a:pt x="31" y="298"/>
                  <a:pt x="31" y="299"/>
                </a:cubicBezTo>
                <a:cubicBezTo>
                  <a:pt x="31" y="298"/>
                  <a:pt x="31" y="298"/>
                  <a:pt x="31" y="298"/>
                </a:cubicBezTo>
                <a:cubicBezTo>
                  <a:pt x="30" y="296"/>
                  <a:pt x="31" y="294"/>
                  <a:pt x="30" y="293"/>
                </a:cubicBezTo>
                <a:cubicBezTo>
                  <a:pt x="30" y="291"/>
                  <a:pt x="29" y="291"/>
                  <a:pt x="28" y="289"/>
                </a:cubicBezTo>
                <a:cubicBezTo>
                  <a:pt x="28" y="288"/>
                  <a:pt x="28" y="286"/>
                  <a:pt x="27" y="284"/>
                </a:cubicBezTo>
                <a:cubicBezTo>
                  <a:pt x="27" y="285"/>
                  <a:pt x="26" y="287"/>
                  <a:pt x="26" y="289"/>
                </a:cubicBezTo>
                <a:cubicBezTo>
                  <a:pt x="27" y="286"/>
                  <a:pt x="24" y="287"/>
                  <a:pt x="25" y="288"/>
                </a:cubicBezTo>
                <a:cubicBezTo>
                  <a:pt x="24" y="287"/>
                  <a:pt x="22" y="287"/>
                  <a:pt x="21" y="286"/>
                </a:cubicBezTo>
                <a:cubicBezTo>
                  <a:pt x="21" y="285"/>
                  <a:pt x="21" y="284"/>
                  <a:pt x="22" y="283"/>
                </a:cubicBezTo>
                <a:cubicBezTo>
                  <a:pt x="21" y="283"/>
                  <a:pt x="21" y="281"/>
                  <a:pt x="21" y="281"/>
                </a:cubicBezTo>
                <a:cubicBezTo>
                  <a:pt x="22" y="281"/>
                  <a:pt x="22" y="281"/>
                  <a:pt x="22" y="282"/>
                </a:cubicBezTo>
                <a:cubicBezTo>
                  <a:pt x="23" y="281"/>
                  <a:pt x="24" y="280"/>
                  <a:pt x="25" y="280"/>
                </a:cubicBezTo>
                <a:cubicBezTo>
                  <a:pt x="25" y="279"/>
                  <a:pt x="24" y="278"/>
                  <a:pt x="24" y="277"/>
                </a:cubicBezTo>
                <a:cubicBezTo>
                  <a:pt x="24" y="278"/>
                  <a:pt x="23" y="278"/>
                  <a:pt x="23" y="279"/>
                </a:cubicBezTo>
                <a:cubicBezTo>
                  <a:pt x="22" y="279"/>
                  <a:pt x="20" y="277"/>
                  <a:pt x="21" y="275"/>
                </a:cubicBezTo>
                <a:cubicBezTo>
                  <a:pt x="19" y="275"/>
                  <a:pt x="19" y="273"/>
                  <a:pt x="19" y="271"/>
                </a:cubicBezTo>
                <a:cubicBezTo>
                  <a:pt x="18" y="271"/>
                  <a:pt x="17" y="271"/>
                  <a:pt x="16" y="272"/>
                </a:cubicBezTo>
                <a:cubicBezTo>
                  <a:pt x="16" y="272"/>
                  <a:pt x="17" y="273"/>
                  <a:pt x="17" y="273"/>
                </a:cubicBezTo>
                <a:cubicBezTo>
                  <a:pt x="18" y="275"/>
                  <a:pt x="16" y="278"/>
                  <a:pt x="17" y="279"/>
                </a:cubicBezTo>
                <a:cubicBezTo>
                  <a:pt x="17" y="282"/>
                  <a:pt x="15" y="284"/>
                  <a:pt x="14" y="284"/>
                </a:cubicBezTo>
                <a:cubicBezTo>
                  <a:pt x="14" y="285"/>
                  <a:pt x="13" y="285"/>
                  <a:pt x="13" y="285"/>
                </a:cubicBezTo>
                <a:cubicBezTo>
                  <a:pt x="13" y="285"/>
                  <a:pt x="13" y="285"/>
                  <a:pt x="12" y="284"/>
                </a:cubicBezTo>
                <a:cubicBezTo>
                  <a:pt x="12" y="284"/>
                  <a:pt x="12" y="284"/>
                  <a:pt x="12" y="284"/>
                </a:cubicBezTo>
                <a:cubicBezTo>
                  <a:pt x="12" y="284"/>
                  <a:pt x="11" y="284"/>
                  <a:pt x="12" y="283"/>
                </a:cubicBezTo>
                <a:cubicBezTo>
                  <a:pt x="12" y="283"/>
                  <a:pt x="12" y="283"/>
                  <a:pt x="12" y="283"/>
                </a:cubicBezTo>
                <a:cubicBezTo>
                  <a:pt x="12" y="283"/>
                  <a:pt x="12" y="283"/>
                  <a:pt x="12" y="283"/>
                </a:cubicBezTo>
                <a:cubicBezTo>
                  <a:pt x="12" y="282"/>
                  <a:pt x="12" y="280"/>
                  <a:pt x="12" y="278"/>
                </a:cubicBezTo>
                <a:cubicBezTo>
                  <a:pt x="12" y="278"/>
                  <a:pt x="12" y="277"/>
                  <a:pt x="12" y="277"/>
                </a:cubicBezTo>
                <a:cubicBezTo>
                  <a:pt x="12" y="278"/>
                  <a:pt x="12" y="278"/>
                  <a:pt x="11" y="279"/>
                </a:cubicBezTo>
                <a:cubicBezTo>
                  <a:pt x="9" y="282"/>
                  <a:pt x="7" y="277"/>
                  <a:pt x="8" y="276"/>
                </a:cubicBezTo>
                <a:cubicBezTo>
                  <a:pt x="8" y="275"/>
                  <a:pt x="9" y="274"/>
                  <a:pt x="9" y="274"/>
                </a:cubicBezTo>
                <a:cubicBezTo>
                  <a:pt x="10" y="274"/>
                  <a:pt x="10" y="275"/>
                  <a:pt x="10" y="275"/>
                </a:cubicBezTo>
                <a:cubicBezTo>
                  <a:pt x="11" y="275"/>
                  <a:pt x="11" y="275"/>
                  <a:pt x="11" y="276"/>
                </a:cubicBezTo>
                <a:cubicBezTo>
                  <a:pt x="11" y="275"/>
                  <a:pt x="11" y="275"/>
                  <a:pt x="11" y="275"/>
                </a:cubicBezTo>
                <a:cubicBezTo>
                  <a:pt x="11" y="275"/>
                  <a:pt x="10" y="274"/>
                  <a:pt x="10" y="274"/>
                </a:cubicBezTo>
                <a:cubicBezTo>
                  <a:pt x="10" y="274"/>
                  <a:pt x="10" y="273"/>
                  <a:pt x="10" y="272"/>
                </a:cubicBezTo>
                <a:cubicBezTo>
                  <a:pt x="10" y="273"/>
                  <a:pt x="10" y="273"/>
                  <a:pt x="10" y="273"/>
                </a:cubicBezTo>
                <a:cubicBezTo>
                  <a:pt x="10" y="273"/>
                  <a:pt x="9" y="272"/>
                  <a:pt x="9" y="272"/>
                </a:cubicBezTo>
                <a:cubicBezTo>
                  <a:pt x="10" y="271"/>
                  <a:pt x="11" y="271"/>
                  <a:pt x="11" y="272"/>
                </a:cubicBezTo>
                <a:cubicBezTo>
                  <a:pt x="11" y="271"/>
                  <a:pt x="12" y="270"/>
                  <a:pt x="13" y="269"/>
                </a:cubicBezTo>
                <a:cubicBezTo>
                  <a:pt x="12" y="266"/>
                  <a:pt x="11" y="263"/>
                  <a:pt x="9" y="262"/>
                </a:cubicBezTo>
                <a:cubicBezTo>
                  <a:pt x="9" y="262"/>
                  <a:pt x="8" y="262"/>
                  <a:pt x="7" y="263"/>
                </a:cubicBezTo>
                <a:cubicBezTo>
                  <a:pt x="7" y="263"/>
                  <a:pt x="7" y="263"/>
                  <a:pt x="7" y="263"/>
                </a:cubicBezTo>
                <a:cubicBezTo>
                  <a:pt x="6" y="263"/>
                  <a:pt x="6" y="263"/>
                  <a:pt x="6" y="262"/>
                </a:cubicBezTo>
                <a:cubicBezTo>
                  <a:pt x="6" y="262"/>
                  <a:pt x="7" y="257"/>
                  <a:pt x="9" y="260"/>
                </a:cubicBezTo>
                <a:cubicBezTo>
                  <a:pt x="9" y="260"/>
                  <a:pt x="8" y="261"/>
                  <a:pt x="8" y="261"/>
                </a:cubicBezTo>
                <a:cubicBezTo>
                  <a:pt x="11" y="263"/>
                  <a:pt x="10" y="259"/>
                  <a:pt x="10" y="256"/>
                </a:cubicBezTo>
                <a:cubicBezTo>
                  <a:pt x="11" y="254"/>
                  <a:pt x="12" y="252"/>
                  <a:pt x="13" y="250"/>
                </a:cubicBezTo>
                <a:cubicBezTo>
                  <a:pt x="13" y="250"/>
                  <a:pt x="11" y="245"/>
                  <a:pt x="10" y="243"/>
                </a:cubicBezTo>
                <a:cubicBezTo>
                  <a:pt x="10" y="242"/>
                  <a:pt x="9" y="241"/>
                  <a:pt x="9" y="240"/>
                </a:cubicBezTo>
                <a:cubicBezTo>
                  <a:pt x="9" y="240"/>
                  <a:pt x="9" y="240"/>
                  <a:pt x="9" y="240"/>
                </a:cubicBezTo>
                <a:cubicBezTo>
                  <a:pt x="8" y="239"/>
                  <a:pt x="8" y="239"/>
                  <a:pt x="8" y="239"/>
                </a:cubicBezTo>
                <a:cubicBezTo>
                  <a:pt x="8" y="239"/>
                  <a:pt x="8" y="239"/>
                  <a:pt x="8" y="239"/>
                </a:cubicBezTo>
                <a:cubicBezTo>
                  <a:pt x="8" y="240"/>
                  <a:pt x="8" y="240"/>
                  <a:pt x="7" y="240"/>
                </a:cubicBezTo>
                <a:cubicBezTo>
                  <a:pt x="8" y="240"/>
                  <a:pt x="8" y="238"/>
                  <a:pt x="8" y="237"/>
                </a:cubicBezTo>
                <a:cubicBezTo>
                  <a:pt x="7" y="237"/>
                  <a:pt x="7" y="237"/>
                  <a:pt x="7" y="236"/>
                </a:cubicBezTo>
                <a:cubicBezTo>
                  <a:pt x="7" y="236"/>
                  <a:pt x="7" y="236"/>
                  <a:pt x="7" y="236"/>
                </a:cubicBezTo>
                <a:cubicBezTo>
                  <a:pt x="7" y="236"/>
                  <a:pt x="7" y="236"/>
                  <a:pt x="7" y="235"/>
                </a:cubicBezTo>
                <a:cubicBezTo>
                  <a:pt x="7" y="234"/>
                  <a:pt x="6" y="234"/>
                  <a:pt x="5" y="235"/>
                </a:cubicBezTo>
                <a:cubicBezTo>
                  <a:pt x="6" y="234"/>
                  <a:pt x="5" y="239"/>
                  <a:pt x="4" y="238"/>
                </a:cubicBezTo>
                <a:cubicBezTo>
                  <a:pt x="4" y="238"/>
                  <a:pt x="4" y="235"/>
                  <a:pt x="4" y="233"/>
                </a:cubicBezTo>
                <a:cubicBezTo>
                  <a:pt x="4" y="233"/>
                  <a:pt x="3" y="233"/>
                  <a:pt x="3" y="233"/>
                </a:cubicBezTo>
                <a:cubicBezTo>
                  <a:pt x="3" y="236"/>
                  <a:pt x="3" y="234"/>
                  <a:pt x="2" y="233"/>
                </a:cubicBezTo>
                <a:cubicBezTo>
                  <a:pt x="2" y="233"/>
                  <a:pt x="2" y="233"/>
                  <a:pt x="1" y="233"/>
                </a:cubicBezTo>
                <a:cubicBezTo>
                  <a:pt x="1" y="233"/>
                  <a:pt x="1" y="234"/>
                  <a:pt x="1" y="234"/>
                </a:cubicBezTo>
                <a:cubicBezTo>
                  <a:pt x="1" y="272"/>
                  <a:pt x="1" y="272"/>
                  <a:pt x="1" y="272"/>
                </a:cubicBezTo>
                <a:cubicBezTo>
                  <a:pt x="1" y="273"/>
                  <a:pt x="2" y="274"/>
                  <a:pt x="1" y="275"/>
                </a:cubicBezTo>
                <a:cubicBezTo>
                  <a:pt x="1" y="275"/>
                  <a:pt x="1" y="275"/>
                  <a:pt x="1" y="275"/>
                </a:cubicBezTo>
                <a:cubicBezTo>
                  <a:pt x="1" y="359"/>
                  <a:pt x="1" y="359"/>
                  <a:pt x="1" y="359"/>
                </a:cubicBezTo>
                <a:cubicBezTo>
                  <a:pt x="1" y="359"/>
                  <a:pt x="1" y="359"/>
                  <a:pt x="1" y="359"/>
                </a:cubicBezTo>
                <a:cubicBezTo>
                  <a:pt x="7" y="360"/>
                  <a:pt x="4" y="368"/>
                  <a:pt x="1" y="371"/>
                </a:cubicBezTo>
                <a:cubicBezTo>
                  <a:pt x="1" y="448"/>
                  <a:pt x="1" y="448"/>
                  <a:pt x="1" y="448"/>
                </a:cubicBezTo>
                <a:cubicBezTo>
                  <a:pt x="1" y="448"/>
                  <a:pt x="1" y="449"/>
                  <a:pt x="1" y="451"/>
                </a:cubicBezTo>
                <a:cubicBezTo>
                  <a:pt x="1" y="588"/>
                  <a:pt x="1" y="588"/>
                  <a:pt x="1" y="588"/>
                </a:cubicBezTo>
                <a:cubicBezTo>
                  <a:pt x="302" y="762"/>
                  <a:pt x="302" y="762"/>
                  <a:pt x="302" y="762"/>
                </a:cubicBezTo>
                <a:cubicBezTo>
                  <a:pt x="305" y="760"/>
                  <a:pt x="299" y="759"/>
                  <a:pt x="298" y="758"/>
                </a:cubicBezTo>
                <a:close/>
                <a:moveTo>
                  <a:pt x="435" y="727"/>
                </a:moveTo>
                <a:cubicBezTo>
                  <a:pt x="435" y="728"/>
                  <a:pt x="433" y="728"/>
                  <a:pt x="432" y="727"/>
                </a:cubicBezTo>
                <a:cubicBezTo>
                  <a:pt x="432" y="726"/>
                  <a:pt x="434" y="725"/>
                  <a:pt x="435" y="727"/>
                </a:cubicBezTo>
                <a:close/>
                <a:moveTo>
                  <a:pt x="442" y="708"/>
                </a:moveTo>
                <a:cubicBezTo>
                  <a:pt x="440" y="708"/>
                  <a:pt x="440" y="706"/>
                  <a:pt x="442" y="708"/>
                </a:cubicBezTo>
                <a:close/>
                <a:moveTo>
                  <a:pt x="440" y="704"/>
                </a:moveTo>
                <a:cubicBezTo>
                  <a:pt x="439" y="704"/>
                  <a:pt x="439" y="702"/>
                  <a:pt x="440" y="704"/>
                </a:cubicBezTo>
                <a:close/>
                <a:moveTo>
                  <a:pt x="507" y="674"/>
                </a:moveTo>
                <a:cubicBezTo>
                  <a:pt x="509" y="673"/>
                  <a:pt x="509" y="676"/>
                  <a:pt x="507" y="674"/>
                </a:cubicBezTo>
                <a:close/>
                <a:moveTo>
                  <a:pt x="501" y="668"/>
                </a:moveTo>
                <a:cubicBezTo>
                  <a:pt x="502" y="670"/>
                  <a:pt x="499" y="669"/>
                  <a:pt x="499" y="668"/>
                </a:cubicBezTo>
                <a:cubicBezTo>
                  <a:pt x="499" y="667"/>
                  <a:pt x="501" y="667"/>
                  <a:pt x="501" y="668"/>
                </a:cubicBezTo>
                <a:close/>
                <a:moveTo>
                  <a:pt x="500" y="675"/>
                </a:moveTo>
                <a:cubicBezTo>
                  <a:pt x="499" y="676"/>
                  <a:pt x="498" y="674"/>
                  <a:pt x="498" y="674"/>
                </a:cubicBezTo>
                <a:cubicBezTo>
                  <a:pt x="499" y="674"/>
                  <a:pt x="499" y="675"/>
                  <a:pt x="500" y="675"/>
                </a:cubicBezTo>
                <a:close/>
                <a:moveTo>
                  <a:pt x="510" y="641"/>
                </a:moveTo>
                <a:cubicBezTo>
                  <a:pt x="510" y="641"/>
                  <a:pt x="511" y="641"/>
                  <a:pt x="511" y="641"/>
                </a:cubicBezTo>
                <a:cubicBezTo>
                  <a:pt x="513" y="643"/>
                  <a:pt x="509" y="642"/>
                  <a:pt x="510" y="641"/>
                </a:cubicBezTo>
                <a:close/>
                <a:moveTo>
                  <a:pt x="509" y="646"/>
                </a:moveTo>
                <a:cubicBezTo>
                  <a:pt x="510" y="648"/>
                  <a:pt x="507" y="646"/>
                  <a:pt x="508" y="645"/>
                </a:cubicBezTo>
                <a:cubicBezTo>
                  <a:pt x="509" y="645"/>
                  <a:pt x="509" y="646"/>
                  <a:pt x="509" y="646"/>
                </a:cubicBezTo>
                <a:close/>
                <a:moveTo>
                  <a:pt x="508" y="643"/>
                </a:moveTo>
                <a:cubicBezTo>
                  <a:pt x="509" y="642"/>
                  <a:pt x="509" y="643"/>
                  <a:pt x="509" y="644"/>
                </a:cubicBezTo>
                <a:cubicBezTo>
                  <a:pt x="510" y="645"/>
                  <a:pt x="507" y="644"/>
                  <a:pt x="508" y="643"/>
                </a:cubicBezTo>
                <a:close/>
                <a:moveTo>
                  <a:pt x="500" y="642"/>
                </a:moveTo>
                <a:cubicBezTo>
                  <a:pt x="500" y="642"/>
                  <a:pt x="502" y="645"/>
                  <a:pt x="502" y="646"/>
                </a:cubicBezTo>
                <a:cubicBezTo>
                  <a:pt x="501" y="651"/>
                  <a:pt x="497" y="643"/>
                  <a:pt x="500" y="642"/>
                </a:cubicBezTo>
                <a:close/>
                <a:moveTo>
                  <a:pt x="498" y="644"/>
                </a:moveTo>
                <a:cubicBezTo>
                  <a:pt x="498" y="644"/>
                  <a:pt x="498" y="644"/>
                  <a:pt x="498" y="644"/>
                </a:cubicBezTo>
                <a:cubicBezTo>
                  <a:pt x="498" y="644"/>
                  <a:pt x="496" y="644"/>
                  <a:pt x="498" y="644"/>
                </a:cubicBezTo>
                <a:close/>
                <a:moveTo>
                  <a:pt x="495" y="636"/>
                </a:moveTo>
                <a:cubicBezTo>
                  <a:pt x="496" y="635"/>
                  <a:pt x="497" y="638"/>
                  <a:pt x="495" y="636"/>
                </a:cubicBezTo>
                <a:close/>
                <a:moveTo>
                  <a:pt x="495" y="637"/>
                </a:moveTo>
                <a:cubicBezTo>
                  <a:pt x="496" y="637"/>
                  <a:pt x="496" y="638"/>
                  <a:pt x="496" y="638"/>
                </a:cubicBezTo>
                <a:cubicBezTo>
                  <a:pt x="496" y="639"/>
                  <a:pt x="494" y="638"/>
                  <a:pt x="495" y="637"/>
                </a:cubicBezTo>
                <a:close/>
                <a:moveTo>
                  <a:pt x="493" y="642"/>
                </a:moveTo>
                <a:cubicBezTo>
                  <a:pt x="493" y="642"/>
                  <a:pt x="494" y="643"/>
                  <a:pt x="494" y="643"/>
                </a:cubicBezTo>
                <a:cubicBezTo>
                  <a:pt x="494" y="645"/>
                  <a:pt x="492" y="643"/>
                  <a:pt x="493" y="642"/>
                </a:cubicBezTo>
                <a:close/>
                <a:moveTo>
                  <a:pt x="494" y="650"/>
                </a:moveTo>
                <a:cubicBezTo>
                  <a:pt x="494" y="650"/>
                  <a:pt x="493" y="653"/>
                  <a:pt x="492" y="651"/>
                </a:cubicBezTo>
                <a:cubicBezTo>
                  <a:pt x="492" y="650"/>
                  <a:pt x="494" y="648"/>
                  <a:pt x="494" y="650"/>
                </a:cubicBezTo>
                <a:close/>
                <a:moveTo>
                  <a:pt x="498" y="620"/>
                </a:moveTo>
                <a:cubicBezTo>
                  <a:pt x="498" y="620"/>
                  <a:pt x="498" y="620"/>
                  <a:pt x="498" y="620"/>
                </a:cubicBezTo>
                <a:cubicBezTo>
                  <a:pt x="498" y="620"/>
                  <a:pt x="498" y="620"/>
                  <a:pt x="498" y="620"/>
                </a:cubicBezTo>
                <a:cubicBezTo>
                  <a:pt x="498" y="620"/>
                  <a:pt x="498" y="620"/>
                  <a:pt x="498" y="620"/>
                </a:cubicBezTo>
                <a:close/>
                <a:moveTo>
                  <a:pt x="492" y="624"/>
                </a:moveTo>
                <a:cubicBezTo>
                  <a:pt x="493" y="624"/>
                  <a:pt x="493" y="625"/>
                  <a:pt x="492" y="624"/>
                </a:cubicBezTo>
                <a:close/>
                <a:moveTo>
                  <a:pt x="490" y="621"/>
                </a:moveTo>
                <a:cubicBezTo>
                  <a:pt x="491" y="622"/>
                  <a:pt x="490" y="624"/>
                  <a:pt x="489" y="624"/>
                </a:cubicBezTo>
                <a:cubicBezTo>
                  <a:pt x="489" y="623"/>
                  <a:pt x="490" y="621"/>
                  <a:pt x="490" y="621"/>
                </a:cubicBezTo>
                <a:close/>
                <a:moveTo>
                  <a:pt x="489" y="620"/>
                </a:moveTo>
                <a:cubicBezTo>
                  <a:pt x="490" y="620"/>
                  <a:pt x="487" y="619"/>
                  <a:pt x="489" y="620"/>
                </a:cubicBezTo>
                <a:close/>
                <a:moveTo>
                  <a:pt x="485" y="657"/>
                </a:moveTo>
                <a:cubicBezTo>
                  <a:pt x="486" y="656"/>
                  <a:pt x="487" y="657"/>
                  <a:pt x="487" y="657"/>
                </a:cubicBezTo>
                <a:cubicBezTo>
                  <a:pt x="488" y="659"/>
                  <a:pt x="484" y="658"/>
                  <a:pt x="485" y="657"/>
                </a:cubicBezTo>
                <a:close/>
                <a:moveTo>
                  <a:pt x="485" y="644"/>
                </a:moveTo>
                <a:cubicBezTo>
                  <a:pt x="489" y="644"/>
                  <a:pt x="487" y="647"/>
                  <a:pt x="485" y="644"/>
                </a:cubicBezTo>
                <a:close/>
                <a:moveTo>
                  <a:pt x="484" y="637"/>
                </a:moveTo>
                <a:cubicBezTo>
                  <a:pt x="485" y="636"/>
                  <a:pt x="486" y="637"/>
                  <a:pt x="486" y="637"/>
                </a:cubicBezTo>
                <a:cubicBezTo>
                  <a:pt x="486" y="639"/>
                  <a:pt x="484" y="637"/>
                  <a:pt x="484" y="637"/>
                </a:cubicBezTo>
                <a:close/>
                <a:moveTo>
                  <a:pt x="536" y="658"/>
                </a:moveTo>
                <a:cubicBezTo>
                  <a:pt x="533" y="660"/>
                  <a:pt x="529" y="656"/>
                  <a:pt x="530" y="654"/>
                </a:cubicBezTo>
                <a:cubicBezTo>
                  <a:pt x="531" y="652"/>
                  <a:pt x="537" y="654"/>
                  <a:pt x="538" y="655"/>
                </a:cubicBezTo>
                <a:cubicBezTo>
                  <a:pt x="538" y="655"/>
                  <a:pt x="536" y="658"/>
                  <a:pt x="536" y="658"/>
                </a:cubicBezTo>
                <a:close/>
                <a:moveTo>
                  <a:pt x="555" y="657"/>
                </a:moveTo>
                <a:cubicBezTo>
                  <a:pt x="553" y="657"/>
                  <a:pt x="556" y="658"/>
                  <a:pt x="555" y="657"/>
                </a:cubicBezTo>
                <a:close/>
                <a:moveTo>
                  <a:pt x="551" y="654"/>
                </a:moveTo>
                <a:cubicBezTo>
                  <a:pt x="551" y="654"/>
                  <a:pt x="552" y="654"/>
                  <a:pt x="552" y="654"/>
                </a:cubicBezTo>
                <a:cubicBezTo>
                  <a:pt x="553" y="656"/>
                  <a:pt x="549" y="655"/>
                  <a:pt x="551" y="654"/>
                </a:cubicBezTo>
                <a:close/>
                <a:moveTo>
                  <a:pt x="550" y="653"/>
                </a:moveTo>
                <a:cubicBezTo>
                  <a:pt x="550" y="653"/>
                  <a:pt x="550" y="654"/>
                  <a:pt x="549" y="654"/>
                </a:cubicBezTo>
                <a:cubicBezTo>
                  <a:pt x="549" y="653"/>
                  <a:pt x="550" y="653"/>
                  <a:pt x="550" y="653"/>
                </a:cubicBezTo>
                <a:close/>
                <a:moveTo>
                  <a:pt x="546" y="654"/>
                </a:moveTo>
                <a:cubicBezTo>
                  <a:pt x="547" y="654"/>
                  <a:pt x="548" y="655"/>
                  <a:pt x="547" y="656"/>
                </a:cubicBezTo>
                <a:cubicBezTo>
                  <a:pt x="546" y="656"/>
                  <a:pt x="546" y="654"/>
                  <a:pt x="546" y="654"/>
                </a:cubicBezTo>
                <a:close/>
                <a:moveTo>
                  <a:pt x="543" y="650"/>
                </a:moveTo>
                <a:cubicBezTo>
                  <a:pt x="544" y="649"/>
                  <a:pt x="545" y="650"/>
                  <a:pt x="545" y="650"/>
                </a:cubicBezTo>
                <a:cubicBezTo>
                  <a:pt x="546" y="653"/>
                  <a:pt x="542" y="651"/>
                  <a:pt x="543" y="650"/>
                </a:cubicBezTo>
                <a:close/>
                <a:moveTo>
                  <a:pt x="542" y="658"/>
                </a:moveTo>
                <a:cubicBezTo>
                  <a:pt x="544" y="657"/>
                  <a:pt x="543" y="659"/>
                  <a:pt x="542" y="658"/>
                </a:cubicBezTo>
                <a:close/>
                <a:moveTo>
                  <a:pt x="564" y="640"/>
                </a:moveTo>
                <a:cubicBezTo>
                  <a:pt x="565" y="640"/>
                  <a:pt x="564" y="641"/>
                  <a:pt x="564" y="641"/>
                </a:cubicBezTo>
                <a:cubicBezTo>
                  <a:pt x="564" y="643"/>
                  <a:pt x="562" y="640"/>
                  <a:pt x="564" y="640"/>
                </a:cubicBezTo>
                <a:close/>
                <a:moveTo>
                  <a:pt x="549" y="622"/>
                </a:moveTo>
                <a:cubicBezTo>
                  <a:pt x="549" y="622"/>
                  <a:pt x="549" y="622"/>
                  <a:pt x="549" y="622"/>
                </a:cubicBezTo>
                <a:cubicBezTo>
                  <a:pt x="548" y="621"/>
                  <a:pt x="549" y="622"/>
                  <a:pt x="549" y="622"/>
                </a:cubicBezTo>
                <a:close/>
                <a:moveTo>
                  <a:pt x="541" y="636"/>
                </a:moveTo>
                <a:cubicBezTo>
                  <a:pt x="543" y="634"/>
                  <a:pt x="547" y="636"/>
                  <a:pt x="547" y="638"/>
                </a:cubicBezTo>
                <a:cubicBezTo>
                  <a:pt x="547" y="643"/>
                  <a:pt x="539" y="639"/>
                  <a:pt x="541" y="636"/>
                </a:cubicBezTo>
                <a:close/>
                <a:moveTo>
                  <a:pt x="547" y="620"/>
                </a:moveTo>
                <a:cubicBezTo>
                  <a:pt x="547" y="620"/>
                  <a:pt x="547" y="620"/>
                  <a:pt x="547" y="619"/>
                </a:cubicBezTo>
                <a:cubicBezTo>
                  <a:pt x="546" y="619"/>
                  <a:pt x="546" y="619"/>
                  <a:pt x="546" y="619"/>
                </a:cubicBezTo>
                <a:cubicBezTo>
                  <a:pt x="546" y="619"/>
                  <a:pt x="547" y="620"/>
                  <a:pt x="547" y="620"/>
                </a:cubicBezTo>
                <a:close/>
                <a:moveTo>
                  <a:pt x="546" y="630"/>
                </a:moveTo>
                <a:cubicBezTo>
                  <a:pt x="547" y="633"/>
                  <a:pt x="544" y="631"/>
                  <a:pt x="543" y="630"/>
                </a:cubicBezTo>
                <a:cubicBezTo>
                  <a:pt x="543" y="629"/>
                  <a:pt x="546" y="629"/>
                  <a:pt x="546" y="630"/>
                </a:cubicBezTo>
                <a:close/>
                <a:moveTo>
                  <a:pt x="541" y="625"/>
                </a:moveTo>
                <a:cubicBezTo>
                  <a:pt x="542" y="625"/>
                  <a:pt x="542" y="626"/>
                  <a:pt x="542" y="626"/>
                </a:cubicBezTo>
                <a:cubicBezTo>
                  <a:pt x="543" y="628"/>
                  <a:pt x="540" y="626"/>
                  <a:pt x="541" y="625"/>
                </a:cubicBezTo>
                <a:close/>
                <a:moveTo>
                  <a:pt x="537" y="624"/>
                </a:moveTo>
                <a:cubicBezTo>
                  <a:pt x="537" y="624"/>
                  <a:pt x="538" y="625"/>
                  <a:pt x="538" y="625"/>
                </a:cubicBezTo>
                <a:cubicBezTo>
                  <a:pt x="539" y="626"/>
                  <a:pt x="535" y="625"/>
                  <a:pt x="537" y="624"/>
                </a:cubicBezTo>
                <a:close/>
                <a:moveTo>
                  <a:pt x="546" y="599"/>
                </a:moveTo>
                <a:cubicBezTo>
                  <a:pt x="547" y="598"/>
                  <a:pt x="547" y="601"/>
                  <a:pt x="546" y="599"/>
                </a:cubicBezTo>
                <a:close/>
                <a:moveTo>
                  <a:pt x="541" y="575"/>
                </a:moveTo>
                <a:cubicBezTo>
                  <a:pt x="542" y="576"/>
                  <a:pt x="541" y="573"/>
                  <a:pt x="541" y="575"/>
                </a:cubicBezTo>
                <a:close/>
                <a:moveTo>
                  <a:pt x="537" y="591"/>
                </a:moveTo>
                <a:cubicBezTo>
                  <a:pt x="537" y="591"/>
                  <a:pt x="537" y="591"/>
                  <a:pt x="537" y="591"/>
                </a:cubicBezTo>
                <a:cubicBezTo>
                  <a:pt x="535" y="590"/>
                  <a:pt x="539" y="590"/>
                  <a:pt x="537" y="591"/>
                </a:cubicBezTo>
                <a:close/>
                <a:moveTo>
                  <a:pt x="539" y="565"/>
                </a:moveTo>
                <a:cubicBezTo>
                  <a:pt x="539" y="565"/>
                  <a:pt x="539" y="565"/>
                  <a:pt x="539" y="565"/>
                </a:cubicBezTo>
                <a:cubicBezTo>
                  <a:pt x="539" y="564"/>
                  <a:pt x="539" y="563"/>
                  <a:pt x="539" y="565"/>
                </a:cubicBezTo>
                <a:close/>
                <a:moveTo>
                  <a:pt x="565" y="556"/>
                </a:moveTo>
                <a:cubicBezTo>
                  <a:pt x="564" y="557"/>
                  <a:pt x="564" y="555"/>
                  <a:pt x="565" y="556"/>
                </a:cubicBezTo>
                <a:close/>
                <a:moveTo>
                  <a:pt x="562" y="554"/>
                </a:moveTo>
                <a:cubicBezTo>
                  <a:pt x="564" y="554"/>
                  <a:pt x="562" y="555"/>
                  <a:pt x="562" y="554"/>
                </a:cubicBezTo>
                <a:close/>
                <a:moveTo>
                  <a:pt x="559" y="574"/>
                </a:moveTo>
                <a:cubicBezTo>
                  <a:pt x="559" y="574"/>
                  <a:pt x="559" y="574"/>
                  <a:pt x="560" y="574"/>
                </a:cubicBezTo>
                <a:cubicBezTo>
                  <a:pt x="560" y="574"/>
                  <a:pt x="560" y="574"/>
                  <a:pt x="560" y="574"/>
                </a:cubicBezTo>
                <a:cubicBezTo>
                  <a:pt x="560" y="574"/>
                  <a:pt x="560" y="574"/>
                  <a:pt x="560" y="574"/>
                </a:cubicBezTo>
                <a:cubicBezTo>
                  <a:pt x="559" y="574"/>
                  <a:pt x="559" y="574"/>
                  <a:pt x="559" y="573"/>
                </a:cubicBezTo>
                <a:cubicBezTo>
                  <a:pt x="559" y="573"/>
                  <a:pt x="559" y="574"/>
                  <a:pt x="559" y="574"/>
                </a:cubicBezTo>
                <a:close/>
                <a:moveTo>
                  <a:pt x="554" y="557"/>
                </a:moveTo>
                <a:cubicBezTo>
                  <a:pt x="554" y="558"/>
                  <a:pt x="553" y="554"/>
                  <a:pt x="554" y="557"/>
                </a:cubicBezTo>
                <a:close/>
                <a:moveTo>
                  <a:pt x="551" y="572"/>
                </a:moveTo>
                <a:cubicBezTo>
                  <a:pt x="552" y="572"/>
                  <a:pt x="552" y="574"/>
                  <a:pt x="552" y="574"/>
                </a:cubicBezTo>
                <a:cubicBezTo>
                  <a:pt x="552" y="575"/>
                  <a:pt x="551" y="573"/>
                  <a:pt x="551" y="572"/>
                </a:cubicBezTo>
                <a:close/>
                <a:moveTo>
                  <a:pt x="551" y="559"/>
                </a:moveTo>
                <a:cubicBezTo>
                  <a:pt x="551" y="559"/>
                  <a:pt x="552" y="560"/>
                  <a:pt x="551" y="559"/>
                </a:cubicBezTo>
                <a:cubicBezTo>
                  <a:pt x="551" y="559"/>
                  <a:pt x="551" y="559"/>
                  <a:pt x="551" y="559"/>
                </a:cubicBezTo>
                <a:close/>
                <a:moveTo>
                  <a:pt x="552" y="557"/>
                </a:moveTo>
                <a:cubicBezTo>
                  <a:pt x="552" y="558"/>
                  <a:pt x="553" y="559"/>
                  <a:pt x="552" y="559"/>
                </a:cubicBezTo>
                <a:cubicBezTo>
                  <a:pt x="550" y="560"/>
                  <a:pt x="551" y="555"/>
                  <a:pt x="552" y="557"/>
                </a:cubicBezTo>
                <a:close/>
                <a:moveTo>
                  <a:pt x="551" y="551"/>
                </a:moveTo>
                <a:cubicBezTo>
                  <a:pt x="551" y="552"/>
                  <a:pt x="551" y="550"/>
                  <a:pt x="550" y="550"/>
                </a:cubicBezTo>
                <a:cubicBezTo>
                  <a:pt x="551" y="549"/>
                  <a:pt x="551" y="551"/>
                  <a:pt x="551" y="551"/>
                </a:cubicBezTo>
                <a:close/>
                <a:moveTo>
                  <a:pt x="592" y="604"/>
                </a:moveTo>
                <a:cubicBezTo>
                  <a:pt x="592" y="605"/>
                  <a:pt x="593" y="606"/>
                  <a:pt x="593" y="608"/>
                </a:cubicBezTo>
                <a:cubicBezTo>
                  <a:pt x="592" y="607"/>
                  <a:pt x="591" y="606"/>
                  <a:pt x="592" y="604"/>
                </a:cubicBezTo>
                <a:close/>
                <a:moveTo>
                  <a:pt x="595" y="604"/>
                </a:moveTo>
                <a:cubicBezTo>
                  <a:pt x="596" y="606"/>
                  <a:pt x="594" y="603"/>
                  <a:pt x="595" y="604"/>
                </a:cubicBezTo>
                <a:close/>
                <a:moveTo>
                  <a:pt x="606" y="616"/>
                </a:moveTo>
                <a:cubicBezTo>
                  <a:pt x="606" y="616"/>
                  <a:pt x="606" y="617"/>
                  <a:pt x="606" y="617"/>
                </a:cubicBezTo>
                <a:cubicBezTo>
                  <a:pt x="605" y="618"/>
                  <a:pt x="605" y="616"/>
                  <a:pt x="606" y="616"/>
                </a:cubicBezTo>
                <a:close/>
                <a:moveTo>
                  <a:pt x="679" y="480"/>
                </a:moveTo>
                <a:cubicBezTo>
                  <a:pt x="678" y="480"/>
                  <a:pt x="678" y="480"/>
                  <a:pt x="678" y="479"/>
                </a:cubicBezTo>
                <a:cubicBezTo>
                  <a:pt x="678" y="478"/>
                  <a:pt x="680" y="480"/>
                  <a:pt x="679" y="480"/>
                </a:cubicBezTo>
                <a:close/>
                <a:moveTo>
                  <a:pt x="663" y="546"/>
                </a:moveTo>
                <a:cubicBezTo>
                  <a:pt x="664" y="544"/>
                  <a:pt x="665" y="546"/>
                  <a:pt x="666" y="547"/>
                </a:cubicBezTo>
                <a:cubicBezTo>
                  <a:pt x="666" y="550"/>
                  <a:pt x="661" y="548"/>
                  <a:pt x="663" y="546"/>
                </a:cubicBezTo>
                <a:close/>
                <a:moveTo>
                  <a:pt x="668" y="558"/>
                </a:moveTo>
                <a:cubicBezTo>
                  <a:pt x="668" y="558"/>
                  <a:pt x="668" y="558"/>
                  <a:pt x="667" y="558"/>
                </a:cubicBezTo>
                <a:cubicBezTo>
                  <a:pt x="664" y="557"/>
                  <a:pt x="669" y="555"/>
                  <a:pt x="668" y="558"/>
                </a:cubicBezTo>
                <a:close/>
                <a:moveTo>
                  <a:pt x="668" y="529"/>
                </a:moveTo>
                <a:cubicBezTo>
                  <a:pt x="669" y="528"/>
                  <a:pt x="669" y="529"/>
                  <a:pt x="670" y="529"/>
                </a:cubicBezTo>
                <a:cubicBezTo>
                  <a:pt x="670" y="531"/>
                  <a:pt x="667" y="530"/>
                  <a:pt x="668" y="529"/>
                </a:cubicBezTo>
                <a:close/>
                <a:moveTo>
                  <a:pt x="671" y="547"/>
                </a:moveTo>
                <a:cubicBezTo>
                  <a:pt x="670" y="546"/>
                  <a:pt x="670" y="545"/>
                  <a:pt x="671" y="545"/>
                </a:cubicBezTo>
                <a:cubicBezTo>
                  <a:pt x="671" y="545"/>
                  <a:pt x="673" y="547"/>
                  <a:pt x="671" y="547"/>
                </a:cubicBezTo>
                <a:close/>
                <a:moveTo>
                  <a:pt x="674" y="539"/>
                </a:moveTo>
                <a:cubicBezTo>
                  <a:pt x="674" y="540"/>
                  <a:pt x="675" y="541"/>
                  <a:pt x="674" y="541"/>
                </a:cubicBezTo>
                <a:cubicBezTo>
                  <a:pt x="672" y="541"/>
                  <a:pt x="674" y="537"/>
                  <a:pt x="674" y="539"/>
                </a:cubicBezTo>
                <a:close/>
                <a:moveTo>
                  <a:pt x="674" y="500"/>
                </a:moveTo>
                <a:cubicBezTo>
                  <a:pt x="675" y="501"/>
                  <a:pt x="673" y="501"/>
                  <a:pt x="674" y="500"/>
                </a:cubicBezTo>
                <a:close/>
                <a:moveTo>
                  <a:pt x="674" y="542"/>
                </a:moveTo>
                <a:cubicBezTo>
                  <a:pt x="674" y="542"/>
                  <a:pt x="674" y="543"/>
                  <a:pt x="674" y="544"/>
                </a:cubicBezTo>
                <a:cubicBezTo>
                  <a:pt x="674" y="544"/>
                  <a:pt x="675" y="544"/>
                  <a:pt x="674" y="545"/>
                </a:cubicBezTo>
                <a:cubicBezTo>
                  <a:pt x="674" y="545"/>
                  <a:pt x="674" y="545"/>
                  <a:pt x="674" y="545"/>
                </a:cubicBezTo>
                <a:cubicBezTo>
                  <a:pt x="674" y="546"/>
                  <a:pt x="674" y="547"/>
                  <a:pt x="674" y="549"/>
                </a:cubicBezTo>
                <a:cubicBezTo>
                  <a:pt x="673" y="547"/>
                  <a:pt x="673" y="544"/>
                  <a:pt x="674" y="542"/>
                </a:cubicBezTo>
                <a:close/>
                <a:moveTo>
                  <a:pt x="676" y="552"/>
                </a:moveTo>
                <a:cubicBezTo>
                  <a:pt x="676" y="553"/>
                  <a:pt x="676" y="553"/>
                  <a:pt x="676" y="553"/>
                </a:cubicBezTo>
                <a:cubicBezTo>
                  <a:pt x="675" y="554"/>
                  <a:pt x="675" y="551"/>
                  <a:pt x="676" y="552"/>
                </a:cubicBezTo>
                <a:close/>
                <a:moveTo>
                  <a:pt x="675" y="516"/>
                </a:moveTo>
                <a:cubicBezTo>
                  <a:pt x="676" y="516"/>
                  <a:pt x="676" y="517"/>
                  <a:pt x="676" y="517"/>
                </a:cubicBezTo>
                <a:cubicBezTo>
                  <a:pt x="677" y="519"/>
                  <a:pt x="674" y="517"/>
                  <a:pt x="675" y="516"/>
                </a:cubicBezTo>
                <a:close/>
                <a:moveTo>
                  <a:pt x="674" y="502"/>
                </a:moveTo>
                <a:cubicBezTo>
                  <a:pt x="675" y="502"/>
                  <a:pt x="676" y="504"/>
                  <a:pt x="676" y="505"/>
                </a:cubicBezTo>
                <a:cubicBezTo>
                  <a:pt x="675" y="505"/>
                  <a:pt x="675" y="503"/>
                  <a:pt x="674" y="502"/>
                </a:cubicBezTo>
                <a:close/>
                <a:moveTo>
                  <a:pt x="675" y="481"/>
                </a:moveTo>
                <a:cubicBezTo>
                  <a:pt x="674" y="481"/>
                  <a:pt x="674" y="480"/>
                  <a:pt x="674" y="480"/>
                </a:cubicBezTo>
                <a:cubicBezTo>
                  <a:pt x="675" y="479"/>
                  <a:pt x="675" y="480"/>
                  <a:pt x="675" y="481"/>
                </a:cubicBezTo>
                <a:close/>
                <a:moveTo>
                  <a:pt x="672" y="412"/>
                </a:moveTo>
                <a:cubicBezTo>
                  <a:pt x="675" y="413"/>
                  <a:pt x="672" y="417"/>
                  <a:pt x="670" y="416"/>
                </a:cubicBezTo>
                <a:cubicBezTo>
                  <a:pt x="670" y="416"/>
                  <a:pt x="670" y="411"/>
                  <a:pt x="672" y="412"/>
                </a:cubicBezTo>
                <a:close/>
                <a:moveTo>
                  <a:pt x="668" y="453"/>
                </a:moveTo>
                <a:cubicBezTo>
                  <a:pt x="669" y="453"/>
                  <a:pt x="668" y="454"/>
                  <a:pt x="667" y="453"/>
                </a:cubicBezTo>
                <a:cubicBezTo>
                  <a:pt x="667" y="453"/>
                  <a:pt x="668" y="452"/>
                  <a:pt x="668" y="453"/>
                </a:cubicBezTo>
                <a:close/>
                <a:moveTo>
                  <a:pt x="667" y="446"/>
                </a:moveTo>
                <a:cubicBezTo>
                  <a:pt x="665" y="447"/>
                  <a:pt x="668" y="444"/>
                  <a:pt x="667" y="446"/>
                </a:cubicBezTo>
                <a:close/>
                <a:moveTo>
                  <a:pt x="673" y="492"/>
                </a:moveTo>
                <a:cubicBezTo>
                  <a:pt x="672" y="498"/>
                  <a:pt x="665" y="495"/>
                  <a:pt x="665" y="490"/>
                </a:cubicBezTo>
                <a:cubicBezTo>
                  <a:pt x="665" y="482"/>
                  <a:pt x="674" y="486"/>
                  <a:pt x="673" y="492"/>
                </a:cubicBezTo>
                <a:close/>
                <a:moveTo>
                  <a:pt x="664" y="429"/>
                </a:moveTo>
                <a:cubicBezTo>
                  <a:pt x="665" y="429"/>
                  <a:pt x="665" y="430"/>
                  <a:pt x="664" y="430"/>
                </a:cubicBezTo>
                <a:cubicBezTo>
                  <a:pt x="662" y="430"/>
                  <a:pt x="663" y="427"/>
                  <a:pt x="664" y="429"/>
                </a:cubicBezTo>
                <a:close/>
                <a:moveTo>
                  <a:pt x="663" y="455"/>
                </a:moveTo>
                <a:cubicBezTo>
                  <a:pt x="663" y="455"/>
                  <a:pt x="662" y="456"/>
                  <a:pt x="662" y="456"/>
                </a:cubicBezTo>
                <a:cubicBezTo>
                  <a:pt x="662" y="456"/>
                  <a:pt x="662" y="455"/>
                  <a:pt x="663" y="455"/>
                </a:cubicBezTo>
                <a:close/>
                <a:moveTo>
                  <a:pt x="661" y="411"/>
                </a:moveTo>
                <a:cubicBezTo>
                  <a:pt x="661" y="411"/>
                  <a:pt x="661" y="411"/>
                  <a:pt x="661" y="410"/>
                </a:cubicBezTo>
                <a:cubicBezTo>
                  <a:pt x="661" y="410"/>
                  <a:pt x="661" y="410"/>
                  <a:pt x="661" y="410"/>
                </a:cubicBezTo>
                <a:cubicBezTo>
                  <a:pt x="661" y="410"/>
                  <a:pt x="661" y="411"/>
                  <a:pt x="661" y="411"/>
                </a:cubicBezTo>
                <a:close/>
                <a:moveTo>
                  <a:pt x="633" y="545"/>
                </a:moveTo>
                <a:cubicBezTo>
                  <a:pt x="633" y="545"/>
                  <a:pt x="633" y="545"/>
                  <a:pt x="633" y="545"/>
                </a:cubicBezTo>
                <a:cubicBezTo>
                  <a:pt x="633" y="545"/>
                  <a:pt x="632" y="544"/>
                  <a:pt x="633" y="545"/>
                </a:cubicBezTo>
                <a:close/>
                <a:moveTo>
                  <a:pt x="633" y="509"/>
                </a:moveTo>
                <a:cubicBezTo>
                  <a:pt x="632" y="508"/>
                  <a:pt x="633" y="507"/>
                  <a:pt x="634" y="507"/>
                </a:cubicBezTo>
                <a:cubicBezTo>
                  <a:pt x="635" y="507"/>
                  <a:pt x="635" y="510"/>
                  <a:pt x="633" y="509"/>
                </a:cubicBezTo>
                <a:close/>
                <a:moveTo>
                  <a:pt x="635" y="516"/>
                </a:moveTo>
                <a:cubicBezTo>
                  <a:pt x="634" y="517"/>
                  <a:pt x="634" y="516"/>
                  <a:pt x="634" y="516"/>
                </a:cubicBezTo>
                <a:cubicBezTo>
                  <a:pt x="634" y="515"/>
                  <a:pt x="635" y="516"/>
                  <a:pt x="635" y="516"/>
                </a:cubicBezTo>
                <a:close/>
                <a:moveTo>
                  <a:pt x="637" y="522"/>
                </a:moveTo>
                <a:cubicBezTo>
                  <a:pt x="638" y="522"/>
                  <a:pt x="639" y="528"/>
                  <a:pt x="639" y="529"/>
                </a:cubicBezTo>
                <a:cubicBezTo>
                  <a:pt x="638" y="534"/>
                  <a:pt x="636" y="523"/>
                  <a:pt x="637" y="522"/>
                </a:cubicBezTo>
                <a:close/>
                <a:moveTo>
                  <a:pt x="639" y="541"/>
                </a:moveTo>
                <a:cubicBezTo>
                  <a:pt x="639" y="541"/>
                  <a:pt x="640" y="539"/>
                  <a:pt x="640" y="541"/>
                </a:cubicBezTo>
                <a:cubicBezTo>
                  <a:pt x="640" y="540"/>
                  <a:pt x="640" y="542"/>
                  <a:pt x="639" y="541"/>
                </a:cubicBezTo>
                <a:close/>
                <a:moveTo>
                  <a:pt x="641" y="545"/>
                </a:moveTo>
                <a:cubicBezTo>
                  <a:pt x="638" y="545"/>
                  <a:pt x="640" y="542"/>
                  <a:pt x="642" y="543"/>
                </a:cubicBezTo>
                <a:cubicBezTo>
                  <a:pt x="643" y="543"/>
                  <a:pt x="642" y="546"/>
                  <a:pt x="641" y="545"/>
                </a:cubicBezTo>
                <a:close/>
                <a:moveTo>
                  <a:pt x="652" y="501"/>
                </a:moveTo>
                <a:cubicBezTo>
                  <a:pt x="652" y="501"/>
                  <a:pt x="651" y="499"/>
                  <a:pt x="652" y="500"/>
                </a:cubicBezTo>
                <a:cubicBezTo>
                  <a:pt x="652" y="500"/>
                  <a:pt x="653" y="501"/>
                  <a:pt x="652" y="501"/>
                </a:cubicBezTo>
                <a:close/>
                <a:moveTo>
                  <a:pt x="655" y="533"/>
                </a:moveTo>
                <a:cubicBezTo>
                  <a:pt x="654" y="529"/>
                  <a:pt x="654" y="522"/>
                  <a:pt x="654" y="518"/>
                </a:cubicBezTo>
                <a:cubicBezTo>
                  <a:pt x="654" y="520"/>
                  <a:pt x="654" y="517"/>
                  <a:pt x="654" y="517"/>
                </a:cubicBezTo>
                <a:cubicBezTo>
                  <a:pt x="656" y="517"/>
                  <a:pt x="655" y="519"/>
                  <a:pt x="655" y="521"/>
                </a:cubicBezTo>
                <a:cubicBezTo>
                  <a:pt x="655" y="523"/>
                  <a:pt x="656" y="529"/>
                  <a:pt x="655" y="533"/>
                </a:cubicBezTo>
                <a:close/>
                <a:moveTo>
                  <a:pt x="659" y="476"/>
                </a:moveTo>
                <a:cubicBezTo>
                  <a:pt x="659" y="479"/>
                  <a:pt x="659" y="474"/>
                  <a:pt x="659" y="476"/>
                </a:cubicBezTo>
                <a:close/>
                <a:moveTo>
                  <a:pt x="659" y="479"/>
                </a:moveTo>
                <a:cubicBezTo>
                  <a:pt x="660" y="482"/>
                  <a:pt x="659" y="477"/>
                  <a:pt x="659" y="479"/>
                </a:cubicBezTo>
                <a:close/>
                <a:moveTo>
                  <a:pt x="659" y="492"/>
                </a:moveTo>
                <a:cubicBezTo>
                  <a:pt x="659" y="492"/>
                  <a:pt x="659" y="493"/>
                  <a:pt x="659" y="493"/>
                </a:cubicBezTo>
                <a:cubicBezTo>
                  <a:pt x="660" y="495"/>
                  <a:pt x="658" y="493"/>
                  <a:pt x="659" y="492"/>
                </a:cubicBezTo>
                <a:close/>
                <a:moveTo>
                  <a:pt x="658" y="525"/>
                </a:moveTo>
                <a:cubicBezTo>
                  <a:pt x="659" y="525"/>
                  <a:pt x="659" y="526"/>
                  <a:pt x="658" y="526"/>
                </a:cubicBezTo>
                <a:cubicBezTo>
                  <a:pt x="657" y="526"/>
                  <a:pt x="658" y="525"/>
                  <a:pt x="658" y="525"/>
                </a:cubicBezTo>
                <a:close/>
                <a:moveTo>
                  <a:pt x="655" y="464"/>
                </a:moveTo>
                <a:cubicBezTo>
                  <a:pt x="654" y="464"/>
                  <a:pt x="654" y="461"/>
                  <a:pt x="655" y="461"/>
                </a:cubicBezTo>
                <a:cubicBezTo>
                  <a:pt x="656" y="461"/>
                  <a:pt x="656" y="464"/>
                  <a:pt x="655" y="464"/>
                </a:cubicBezTo>
                <a:close/>
                <a:moveTo>
                  <a:pt x="654" y="423"/>
                </a:moveTo>
                <a:cubicBezTo>
                  <a:pt x="654" y="423"/>
                  <a:pt x="654" y="423"/>
                  <a:pt x="653" y="423"/>
                </a:cubicBezTo>
                <a:cubicBezTo>
                  <a:pt x="653" y="422"/>
                  <a:pt x="653" y="422"/>
                  <a:pt x="653" y="422"/>
                </a:cubicBezTo>
                <a:cubicBezTo>
                  <a:pt x="653" y="422"/>
                  <a:pt x="653" y="423"/>
                  <a:pt x="654" y="423"/>
                </a:cubicBezTo>
                <a:close/>
                <a:moveTo>
                  <a:pt x="655" y="454"/>
                </a:moveTo>
                <a:cubicBezTo>
                  <a:pt x="653" y="452"/>
                  <a:pt x="649" y="448"/>
                  <a:pt x="649" y="445"/>
                </a:cubicBezTo>
                <a:cubicBezTo>
                  <a:pt x="651" y="449"/>
                  <a:pt x="654" y="450"/>
                  <a:pt x="655" y="454"/>
                </a:cubicBezTo>
                <a:close/>
                <a:moveTo>
                  <a:pt x="648" y="439"/>
                </a:moveTo>
                <a:cubicBezTo>
                  <a:pt x="648" y="439"/>
                  <a:pt x="648" y="440"/>
                  <a:pt x="648" y="440"/>
                </a:cubicBezTo>
                <a:cubicBezTo>
                  <a:pt x="647" y="440"/>
                  <a:pt x="647" y="438"/>
                  <a:pt x="648" y="439"/>
                </a:cubicBezTo>
                <a:close/>
                <a:moveTo>
                  <a:pt x="647" y="500"/>
                </a:moveTo>
                <a:cubicBezTo>
                  <a:pt x="648" y="501"/>
                  <a:pt x="648" y="502"/>
                  <a:pt x="647" y="502"/>
                </a:cubicBezTo>
                <a:cubicBezTo>
                  <a:pt x="643" y="503"/>
                  <a:pt x="646" y="496"/>
                  <a:pt x="647" y="500"/>
                </a:cubicBezTo>
                <a:close/>
                <a:moveTo>
                  <a:pt x="646" y="457"/>
                </a:moveTo>
                <a:cubicBezTo>
                  <a:pt x="646" y="457"/>
                  <a:pt x="646" y="458"/>
                  <a:pt x="646" y="458"/>
                </a:cubicBezTo>
                <a:cubicBezTo>
                  <a:pt x="644" y="459"/>
                  <a:pt x="645" y="456"/>
                  <a:pt x="646" y="457"/>
                </a:cubicBezTo>
                <a:close/>
                <a:moveTo>
                  <a:pt x="642" y="405"/>
                </a:moveTo>
                <a:cubicBezTo>
                  <a:pt x="642" y="406"/>
                  <a:pt x="643" y="406"/>
                  <a:pt x="642" y="406"/>
                </a:cubicBezTo>
                <a:cubicBezTo>
                  <a:pt x="642" y="407"/>
                  <a:pt x="642" y="405"/>
                  <a:pt x="642" y="405"/>
                </a:cubicBezTo>
                <a:close/>
                <a:moveTo>
                  <a:pt x="642" y="528"/>
                </a:moveTo>
                <a:cubicBezTo>
                  <a:pt x="645" y="524"/>
                  <a:pt x="650" y="530"/>
                  <a:pt x="651" y="533"/>
                </a:cubicBezTo>
                <a:cubicBezTo>
                  <a:pt x="651" y="543"/>
                  <a:pt x="638" y="533"/>
                  <a:pt x="642" y="528"/>
                </a:cubicBezTo>
                <a:close/>
                <a:moveTo>
                  <a:pt x="641" y="494"/>
                </a:moveTo>
                <a:cubicBezTo>
                  <a:pt x="640" y="493"/>
                  <a:pt x="640" y="491"/>
                  <a:pt x="641" y="490"/>
                </a:cubicBezTo>
                <a:cubicBezTo>
                  <a:pt x="641" y="491"/>
                  <a:pt x="641" y="492"/>
                  <a:pt x="641" y="494"/>
                </a:cubicBezTo>
                <a:close/>
                <a:moveTo>
                  <a:pt x="641" y="488"/>
                </a:moveTo>
                <a:cubicBezTo>
                  <a:pt x="641" y="488"/>
                  <a:pt x="641" y="488"/>
                  <a:pt x="641" y="488"/>
                </a:cubicBezTo>
                <a:cubicBezTo>
                  <a:pt x="641" y="488"/>
                  <a:pt x="641" y="488"/>
                  <a:pt x="641" y="488"/>
                </a:cubicBezTo>
                <a:cubicBezTo>
                  <a:pt x="641" y="488"/>
                  <a:pt x="641" y="488"/>
                  <a:pt x="641" y="488"/>
                </a:cubicBezTo>
                <a:close/>
                <a:moveTo>
                  <a:pt x="641" y="452"/>
                </a:moveTo>
                <a:cubicBezTo>
                  <a:pt x="641" y="452"/>
                  <a:pt x="641" y="452"/>
                  <a:pt x="641" y="452"/>
                </a:cubicBezTo>
                <a:cubicBezTo>
                  <a:pt x="641" y="454"/>
                  <a:pt x="640" y="450"/>
                  <a:pt x="641" y="452"/>
                </a:cubicBezTo>
                <a:close/>
                <a:moveTo>
                  <a:pt x="641" y="478"/>
                </a:moveTo>
                <a:cubicBezTo>
                  <a:pt x="641" y="478"/>
                  <a:pt x="641" y="479"/>
                  <a:pt x="641" y="479"/>
                </a:cubicBezTo>
                <a:cubicBezTo>
                  <a:pt x="641" y="479"/>
                  <a:pt x="641" y="479"/>
                  <a:pt x="641" y="480"/>
                </a:cubicBezTo>
                <a:cubicBezTo>
                  <a:pt x="641" y="480"/>
                  <a:pt x="641" y="481"/>
                  <a:pt x="641" y="480"/>
                </a:cubicBezTo>
                <a:cubicBezTo>
                  <a:pt x="641" y="480"/>
                  <a:pt x="641" y="479"/>
                  <a:pt x="641" y="479"/>
                </a:cubicBezTo>
                <a:cubicBezTo>
                  <a:pt x="641" y="479"/>
                  <a:pt x="641" y="479"/>
                  <a:pt x="641" y="479"/>
                </a:cubicBezTo>
                <a:cubicBezTo>
                  <a:pt x="641" y="479"/>
                  <a:pt x="641" y="478"/>
                  <a:pt x="641" y="478"/>
                </a:cubicBezTo>
                <a:close/>
                <a:moveTo>
                  <a:pt x="641" y="482"/>
                </a:moveTo>
                <a:cubicBezTo>
                  <a:pt x="641" y="483"/>
                  <a:pt x="641" y="485"/>
                  <a:pt x="641" y="487"/>
                </a:cubicBezTo>
                <a:cubicBezTo>
                  <a:pt x="640" y="486"/>
                  <a:pt x="640" y="484"/>
                  <a:pt x="641" y="482"/>
                </a:cubicBezTo>
                <a:close/>
                <a:moveTo>
                  <a:pt x="640" y="442"/>
                </a:moveTo>
                <a:cubicBezTo>
                  <a:pt x="639" y="440"/>
                  <a:pt x="634" y="435"/>
                  <a:pt x="634" y="432"/>
                </a:cubicBezTo>
                <a:cubicBezTo>
                  <a:pt x="636" y="435"/>
                  <a:pt x="639" y="439"/>
                  <a:pt x="640" y="442"/>
                </a:cubicBezTo>
                <a:close/>
                <a:moveTo>
                  <a:pt x="633" y="488"/>
                </a:moveTo>
                <a:cubicBezTo>
                  <a:pt x="634" y="488"/>
                  <a:pt x="634" y="489"/>
                  <a:pt x="634" y="489"/>
                </a:cubicBezTo>
                <a:cubicBezTo>
                  <a:pt x="634" y="492"/>
                  <a:pt x="630" y="488"/>
                  <a:pt x="633" y="488"/>
                </a:cubicBezTo>
                <a:close/>
                <a:moveTo>
                  <a:pt x="633" y="524"/>
                </a:moveTo>
                <a:cubicBezTo>
                  <a:pt x="634" y="524"/>
                  <a:pt x="634" y="526"/>
                  <a:pt x="632" y="526"/>
                </a:cubicBezTo>
                <a:cubicBezTo>
                  <a:pt x="631" y="526"/>
                  <a:pt x="631" y="524"/>
                  <a:pt x="633" y="524"/>
                </a:cubicBezTo>
                <a:close/>
                <a:moveTo>
                  <a:pt x="582" y="488"/>
                </a:moveTo>
                <a:cubicBezTo>
                  <a:pt x="583" y="489"/>
                  <a:pt x="581" y="487"/>
                  <a:pt x="582" y="488"/>
                </a:cubicBezTo>
                <a:close/>
                <a:moveTo>
                  <a:pt x="583" y="573"/>
                </a:moveTo>
                <a:cubicBezTo>
                  <a:pt x="585" y="572"/>
                  <a:pt x="587" y="574"/>
                  <a:pt x="589" y="575"/>
                </a:cubicBezTo>
                <a:cubicBezTo>
                  <a:pt x="587" y="575"/>
                  <a:pt x="585" y="574"/>
                  <a:pt x="583" y="573"/>
                </a:cubicBezTo>
                <a:close/>
                <a:moveTo>
                  <a:pt x="590" y="563"/>
                </a:moveTo>
                <a:cubicBezTo>
                  <a:pt x="591" y="564"/>
                  <a:pt x="590" y="565"/>
                  <a:pt x="590" y="563"/>
                </a:cubicBezTo>
                <a:close/>
                <a:moveTo>
                  <a:pt x="590" y="549"/>
                </a:moveTo>
                <a:cubicBezTo>
                  <a:pt x="588" y="548"/>
                  <a:pt x="590" y="547"/>
                  <a:pt x="590" y="549"/>
                </a:cubicBezTo>
                <a:close/>
                <a:moveTo>
                  <a:pt x="595" y="560"/>
                </a:moveTo>
                <a:cubicBezTo>
                  <a:pt x="594" y="559"/>
                  <a:pt x="594" y="557"/>
                  <a:pt x="595" y="555"/>
                </a:cubicBezTo>
                <a:cubicBezTo>
                  <a:pt x="596" y="556"/>
                  <a:pt x="595" y="558"/>
                  <a:pt x="595" y="560"/>
                </a:cubicBezTo>
                <a:close/>
                <a:moveTo>
                  <a:pt x="603" y="595"/>
                </a:moveTo>
                <a:cubicBezTo>
                  <a:pt x="600" y="596"/>
                  <a:pt x="600" y="592"/>
                  <a:pt x="603" y="595"/>
                </a:cubicBezTo>
                <a:close/>
                <a:moveTo>
                  <a:pt x="607" y="583"/>
                </a:moveTo>
                <a:cubicBezTo>
                  <a:pt x="603" y="584"/>
                  <a:pt x="604" y="579"/>
                  <a:pt x="604" y="577"/>
                </a:cubicBezTo>
                <a:cubicBezTo>
                  <a:pt x="607" y="576"/>
                  <a:pt x="611" y="582"/>
                  <a:pt x="607" y="583"/>
                </a:cubicBezTo>
                <a:close/>
                <a:moveTo>
                  <a:pt x="606" y="564"/>
                </a:moveTo>
                <a:cubicBezTo>
                  <a:pt x="608" y="564"/>
                  <a:pt x="609" y="565"/>
                  <a:pt x="610" y="567"/>
                </a:cubicBezTo>
                <a:cubicBezTo>
                  <a:pt x="610" y="567"/>
                  <a:pt x="610" y="567"/>
                  <a:pt x="610" y="567"/>
                </a:cubicBezTo>
                <a:cubicBezTo>
                  <a:pt x="610" y="567"/>
                  <a:pt x="610" y="567"/>
                  <a:pt x="610" y="567"/>
                </a:cubicBezTo>
                <a:cubicBezTo>
                  <a:pt x="611" y="568"/>
                  <a:pt x="612" y="569"/>
                  <a:pt x="612" y="569"/>
                </a:cubicBezTo>
                <a:cubicBezTo>
                  <a:pt x="613" y="569"/>
                  <a:pt x="613" y="569"/>
                  <a:pt x="613" y="570"/>
                </a:cubicBezTo>
                <a:cubicBezTo>
                  <a:pt x="613" y="570"/>
                  <a:pt x="613" y="570"/>
                  <a:pt x="613" y="570"/>
                </a:cubicBezTo>
                <a:cubicBezTo>
                  <a:pt x="613" y="570"/>
                  <a:pt x="613" y="570"/>
                  <a:pt x="613" y="570"/>
                </a:cubicBezTo>
                <a:cubicBezTo>
                  <a:pt x="613" y="570"/>
                  <a:pt x="613" y="570"/>
                  <a:pt x="613" y="571"/>
                </a:cubicBezTo>
                <a:cubicBezTo>
                  <a:pt x="613" y="570"/>
                  <a:pt x="612" y="570"/>
                  <a:pt x="612" y="570"/>
                </a:cubicBezTo>
                <a:cubicBezTo>
                  <a:pt x="610" y="568"/>
                  <a:pt x="608" y="565"/>
                  <a:pt x="606" y="564"/>
                </a:cubicBezTo>
                <a:close/>
                <a:moveTo>
                  <a:pt x="613" y="568"/>
                </a:moveTo>
                <a:cubicBezTo>
                  <a:pt x="611" y="567"/>
                  <a:pt x="613" y="565"/>
                  <a:pt x="613" y="568"/>
                </a:cubicBezTo>
                <a:close/>
                <a:moveTo>
                  <a:pt x="616" y="579"/>
                </a:moveTo>
                <a:cubicBezTo>
                  <a:pt x="612" y="580"/>
                  <a:pt x="611" y="573"/>
                  <a:pt x="613" y="572"/>
                </a:cubicBezTo>
                <a:cubicBezTo>
                  <a:pt x="616" y="570"/>
                  <a:pt x="618" y="575"/>
                  <a:pt x="618" y="576"/>
                </a:cubicBezTo>
                <a:cubicBezTo>
                  <a:pt x="618" y="578"/>
                  <a:pt x="617" y="579"/>
                  <a:pt x="616" y="579"/>
                </a:cubicBezTo>
                <a:close/>
                <a:moveTo>
                  <a:pt x="615" y="543"/>
                </a:moveTo>
                <a:cubicBezTo>
                  <a:pt x="616" y="543"/>
                  <a:pt x="617" y="543"/>
                  <a:pt x="617" y="544"/>
                </a:cubicBezTo>
                <a:cubicBezTo>
                  <a:pt x="618" y="547"/>
                  <a:pt x="613" y="545"/>
                  <a:pt x="615" y="543"/>
                </a:cubicBezTo>
                <a:close/>
                <a:moveTo>
                  <a:pt x="615" y="515"/>
                </a:moveTo>
                <a:cubicBezTo>
                  <a:pt x="616" y="515"/>
                  <a:pt x="616" y="516"/>
                  <a:pt x="616" y="516"/>
                </a:cubicBezTo>
                <a:cubicBezTo>
                  <a:pt x="617" y="518"/>
                  <a:pt x="614" y="516"/>
                  <a:pt x="615" y="515"/>
                </a:cubicBezTo>
                <a:close/>
                <a:moveTo>
                  <a:pt x="617" y="556"/>
                </a:moveTo>
                <a:cubicBezTo>
                  <a:pt x="617" y="556"/>
                  <a:pt x="617" y="556"/>
                  <a:pt x="617" y="556"/>
                </a:cubicBezTo>
                <a:cubicBezTo>
                  <a:pt x="615" y="555"/>
                  <a:pt x="618" y="555"/>
                  <a:pt x="617" y="556"/>
                </a:cubicBezTo>
                <a:close/>
                <a:moveTo>
                  <a:pt x="618" y="554"/>
                </a:moveTo>
                <a:cubicBezTo>
                  <a:pt x="618" y="553"/>
                  <a:pt x="618" y="555"/>
                  <a:pt x="618" y="555"/>
                </a:cubicBezTo>
                <a:cubicBezTo>
                  <a:pt x="618" y="556"/>
                  <a:pt x="616" y="555"/>
                  <a:pt x="618" y="554"/>
                </a:cubicBezTo>
                <a:close/>
                <a:moveTo>
                  <a:pt x="618" y="537"/>
                </a:moveTo>
                <a:cubicBezTo>
                  <a:pt x="617" y="536"/>
                  <a:pt x="617" y="533"/>
                  <a:pt x="619" y="534"/>
                </a:cubicBezTo>
                <a:cubicBezTo>
                  <a:pt x="620" y="534"/>
                  <a:pt x="620" y="538"/>
                  <a:pt x="618" y="537"/>
                </a:cubicBezTo>
                <a:close/>
                <a:moveTo>
                  <a:pt x="621" y="553"/>
                </a:moveTo>
                <a:cubicBezTo>
                  <a:pt x="619" y="554"/>
                  <a:pt x="620" y="549"/>
                  <a:pt x="621" y="552"/>
                </a:cubicBezTo>
                <a:cubicBezTo>
                  <a:pt x="622" y="552"/>
                  <a:pt x="622" y="553"/>
                  <a:pt x="621" y="553"/>
                </a:cubicBezTo>
                <a:close/>
                <a:moveTo>
                  <a:pt x="623" y="544"/>
                </a:moveTo>
                <a:cubicBezTo>
                  <a:pt x="622" y="543"/>
                  <a:pt x="624" y="543"/>
                  <a:pt x="623" y="544"/>
                </a:cubicBezTo>
                <a:close/>
                <a:moveTo>
                  <a:pt x="624" y="553"/>
                </a:moveTo>
                <a:cubicBezTo>
                  <a:pt x="625" y="554"/>
                  <a:pt x="623" y="551"/>
                  <a:pt x="624" y="553"/>
                </a:cubicBezTo>
                <a:close/>
                <a:moveTo>
                  <a:pt x="624" y="503"/>
                </a:moveTo>
                <a:cubicBezTo>
                  <a:pt x="622" y="502"/>
                  <a:pt x="623" y="497"/>
                  <a:pt x="626" y="497"/>
                </a:cubicBezTo>
                <a:cubicBezTo>
                  <a:pt x="629" y="498"/>
                  <a:pt x="627" y="505"/>
                  <a:pt x="624" y="503"/>
                </a:cubicBezTo>
                <a:close/>
                <a:moveTo>
                  <a:pt x="628" y="419"/>
                </a:moveTo>
                <a:cubicBezTo>
                  <a:pt x="629" y="420"/>
                  <a:pt x="628" y="421"/>
                  <a:pt x="627" y="420"/>
                </a:cubicBezTo>
                <a:cubicBezTo>
                  <a:pt x="627" y="419"/>
                  <a:pt x="628" y="419"/>
                  <a:pt x="628" y="419"/>
                </a:cubicBezTo>
                <a:close/>
                <a:moveTo>
                  <a:pt x="628" y="466"/>
                </a:moveTo>
                <a:cubicBezTo>
                  <a:pt x="629" y="467"/>
                  <a:pt x="627" y="472"/>
                  <a:pt x="624" y="469"/>
                </a:cubicBezTo>
                <a:cubicBezTo>
                  <a:pt x="623" y="468"/>
                  <a:pt x="626" y="465"/>
                  <a:pt x="628" y="466"/>
                </a:cubicBezTo>
                <a:close/>
                <a:moveTo>
                  <a:pt x="624" y="448"/>
                </a:moveTo>
                <a:cubicBezTo>
                  <a:pt x="627" y="450"/>
                  <a:pt x="625" y="451"/>
                  <a:pt x="624" y="448"/>
                </a:cubicBezTo>
                <a:close/>
                <a:moveTo>
                  <a:pt x="624" y="438"/>
                </a:moveTo>
                <a:cubicBezTo>
                  <a:pt x="625" y="439"/>
                  <a:pt x="623" y="437"/>
                  <a:pt x="624" y="438"/>
                </a:cubicBezTo>
                <a:close/>
                <a:moveTo>
                  <a:pt x="625" y="439"/>
                </a:moveTo>
                <a:cubicBezTo>
                  <a:pt x="628" y="439"/>
                  <a:pt x="628" y="444"/>
                  <a:pt x="625" y="444"/>
                </a:cubicBezTo>
                <a:cubicBezTo>
                  <a:pt x="623" y="444"/>
                  <a:pt x="623" y="439"/>
                  <a:pt x="625" y="439"/>
                </a:cubicBezTo>
                <a:close/>
                <a:moveTo>
                  <a:pt x="623" y="483"/>
                </a:moveTo>
                <a:cubicBezTo>
                  <a:pt x="624" y="484"/>
                  <a:pt x="622" y="484"/>
                  <a:pt x="623" y="483"/>
                </a:cubicBezTo>
                <a:close/>
                <a:moveTo>
                  <a:pt x="621" y="454"/>
                </a:moveTo>
                <a:cubicBezTo>
                  <a:pt x="622" y="454"/>
                  <a:pt x="621" y="455"/>
                  <a:pt x="621" y="455"/>
                </a:cubicBezTo>
                <a:cubicBezTo>
                  <a:pt x="620" y="454"/>
                  <a:pt x="621" y="454"/>
                  <a:pt x="621" y="454"/>
                </a:cubicBezTo>
                <a:close/>
                <a:moveTo>
                  <a:pt x="618" y="462"/>
                </a:moveTo>
                <a:cubicBezTo>
                  <a:pt x="618" y="462"/>
                  <a:pt x="619" y="463"/>
                  <a:pt x="619" y="463"/>
                </a:cubicBezTo>
                <a:cubicBezTo>
                  <a:pt x="618" y="464"/>
                  <a:pt x="618" y="461"/>
                  <a:pt x="618" y="462"/>
                </a:cubicBezTo>
                <a:close/>
                <a:moveTo>
                  <a:pt x="615" y="421"/>
                </a:moveTo>
                <a:cubicBezTo>
                  <a:pt x="616" y="421"/>
                  <a:pt x="616" y="422"/>
                  <a:pt x="616" y="422"/>
                </a:cubicBezTo>
                <a:cubicBezTo>
                  <a:pt x="615" y="423"/>
                  <a:pt x="615" y="421"/>
                  <a:pt x="615" y="421"/>
                </a:cubicBezTo>
                <a:close/>
                <a:moveTo>
                  <a:pt x="625" y="495"/>
                </a:moveTo>
                <a:cubicBezTo>
                  <a:pt x="624" y="495"/>
                  <a:pt x="622" y="497"/>
                  <a:pt x="621" y="496"/>
                </a:cubicBezTo>
                <a:cubicBezTo>
                  <a:pt x="620" y="495"/>
                  <a:pt x="622" y="494"/>
                  <a:pt x="621" y="493"/>
                </a:cubicBezTo>
                <a:cubicBezTo>
                  <a:pt x="620" y="490"/>
                  <a:pt x="616" y="488"/>
                  <a:pt x="615" y="485"/>
                </a:cubicBezTo>
                <a:cubicBezTo>
                  <a:pt x="618" y="487"/>
                  <a:pt x="621" y="491"/>
                  <a:pt x="625" y="495"/>
                </a:cubicBezTo>
                <a:close/>
                <a:moveTo>
                  <a:pt x="612" y="402"/>
                </a:moveTo>
                <a:cubicBezTo>
                  <a:pt x="613" y="401"/>
                  <a:pt x="614" y="403"/>
                  <a:pt x="614" y="403"/>
                </a:cubicBezTo>
                <a:cubicBezTo>
                  <a:pt x="614" y="406"/>
                  <a:pt x="610" y="403"/>
                  <a:pt x="612" y="402"/>
                </a:cubicBezTo>
                <a:close/>
                <a:moveTo>
                  <a:pt x="612" y="522"/>
                </a:moveTo>
                <a:cubicBezTo>
                  <a:pt x="613" y="522"/>
                  <a:pt x="613" y="524"/>
                  <a:pt x="612" y="524"/>
                </a:cubicBezTo>
                <a:cubicBezTo>
                  <a:pt x="611" y="523"/>
                  <a:pt x="611" y="522"/>
                  <a:pt x="612" y="522"/>
                </a:cubicBezTo>
                <a:close/>
                <a:moveTo>
                  <a:pt x="612" y="517"/>
                </a:moveTo>
                <a:cubicBezTo>
                  <a:pt x="613" y="519"/>
                  <a:pt x="612" y="516"/>
                  <a:pt x="612" y="517"/>
                </a:cubicBezTo>
                <a:close/>
                <a:moveTo>
                  <a:pt x="613" y="502"/>
                </a:moveTo>
                <a:cubicBezTo>
                  <a:pt x="613" y="503"/>
                  <a:pt x="614" y="504"/>
                  <a:pt x="613" y="505"/>
                </a:cubicBezTo>
                <a:cubicBezTo>
                  <a:pt x="613" y="504"/>
                  <a:pt x="612" y="503"/>
                  <a:pt x="613" y="502"/>
                </a:cubicBezTo>
                <a:close/>
                <a:moveTo>
                  <a:pt x="612" y="484"/>
                </a:moveTo>
                <a:cubicBezTo>
                  <a:pt x="613" y="484"/>
                  <a:pt x="614" y="487"/>
                  <a:pt x="612" y="487"/>
                </a:cubicBezTo>
                <a:cubicBezTo>
                  <a:pt x="610" y="486"/>
                  <a:pt x="611" y="484"/>
                  <a:pt x="612" y="484"/>
                </a:cubicBezTo>
                <a:close/>
                <a:moveTo>
                  <a:pt x="611" y="489"/>
                </a:moveTo>
                <a:cubicBezTo>
                  <a:pt x="612" y="488"/>
                  <a:pt x="612" y="490"/>
                  <a:pt x="612" y="490"/>
                </a:cubicBezTo>
                <a:cubicBezTo>
                  <a:pt x="613" y="493"/>
                  <a:pt x="609" y="489"/>
                  <a:pt x="611" y="489"/>
                </a:cubicBezTo>
                <a:close/>
                <a:moveTo>
                  <a:pt x="609" y="556"/>
                </a:moveTo>
                <a:cubicBezTo>
                  <a:pt x="612" y="553"/>
                  <a:pt x="618" y="559"/>
                  <a:pt x="614" y="562"/>
                </a:cubicBezTo>
                <a:cubicBezTo>
                  <a:pt x="615" y="561"/>
                  <a:pt x="617" y="563"/>
                  <a:pt x="616" y="564"/>
                </a:cubicBezTo>
                <a:cubicBezTo>
                  <a:pt x="615" y="566"/>
                  <a:pt x="612" y="563"/>
                  <a:pt x="614" y="562"/>
                </a:cubicBezTo>
                <a:cubicBezTo>
                  <a:pt x="611" y="563"/>
                  <a:pt x="607" y="558"/>
                  <a:pt x="609" y="556"/>
                </a:cubicBezTo>
                <a:close/>
                <a:moveTo>
                  <a:pt x="607" y="532"/>
                </a:moveTo>
                <a:cubicBezTo>
                  <a:pt x="607" y="532"/>
                  <a:pt x="608" y="533"/>
                  <a:pt x="608" y="533"/>
                </a:cubicBezTo>
                <a:cubicBezTo>
                  <a:pt x="607" y="534"/>
                  <a:pt x="607" y="532"/>
                  <a:pt x="607" y="532"/>
                </a:cubicBezTo>
                <a:close/>
                <a:moveTo>
                  <a:pt x="607" y="517"/>
                </a:moveTo>
                <a:cubicBezTo>
                  <a:pt x="607" y="517"/>
                  <a:pt x="606" y="517"/>
                  <a:pt x="606" y="517"/>
                </a:cubicBezTo>
                <a:cubicBezTo>
                  <a:pt x="606" y="517"/>
                  <a:pt x="606" y="517"/>
                  <a:pt x="606" y="517"/>
                </a:cubicBezTo>
                <a:cubicBezTo>
                  <a:pt x="606" y="517"/>
                  <a:pt x="607" y="517"/>
                  <a:pt x="607" y="517"/>
                </a:cubicBezTo>
                <a:close/>
                <a:moveTo>
                  <a:pt x="606" y="571"/>
                </a:moveTo>
                <a:cubicBezTo>
                  <a:pt x="606" y="570"/>
                  <a:pt x="606" y="570"/>
                  <a:pt x="606" y="570"/>
                </a:cubicBezTo>
                <a:cubicBezTo>
                  <a:pt x="606" y="571"/>
                  <a:pt x="607" y="572"/>
                  <a:pt x="606" y="571"/>
                </a:cubicBezTo>
                <a:close/>
                <a:moveTo>
                  <a:pt x="605" y="461"/>
                </a:moveTo>
                <a:cubicBezTo>
                  <a:pt x="605" y="461"/>
                  <a:pt x="606" y="462"/>
                  <a:pt x="605" y="462"/>
                </a:cubicBezTo>
                <a:cubicBezTo>
                  <a:pt x="605" y="463"/>
                  <a:pt x="605" y="461"/>
                  <a:pt x="605" y="461"/>
                </a:cubicBezTo>
                <a:close/>
                <a:moveTo>
                  <a:pt x="602" y="525"/>
                </a:moveTo>
                <a:cubicBezTo>
                  <a:pt x="603" y="527"/>
                  <a:pt x="604" y="530"/>
                  <a:pt x="604" y="534"/>
                </a:cubicBezTo>
                <a:cubicBezTo>
                  <a:pt x="603" y="531"/>
                  <a:pt x="602" y="528"/>
                  <a:pt x="602" y="525"/>
                </a:cubicBezTo>
                <a:close/>
                <a:moveTo>
                  <a:pt x="604" y="450"/>
                </a:moveTo>
                <a:cubicBezTo>
                  <a:pt x="604" y="450"/>
                  <a:pt x="604" y="450"/>
                  <a:pt x="604" y="450"/>
                </a:cubicBezTo>
                <a:cubicBezTo>
                  <a:pt x="603" y="450"/>
                  <a:pt x="604" y="450"/>
                  <a:pt x="604" y="450"/>
                </a:cubicBezTo>
                <a:close/>
                <a:moveTo>
                  <a:pt x="604" y="477"/>
                </a:moveTo>
                <a:cubicBezTo>
                  <a:pt x="603" y="476"/>
                  <a:pt x="604" y="475"/>
                  <a:pt x="604" y="477"/>
                </a:cubicBezTo>
                <a:close/>
                <a:moveTo>
                  <a:pt x="602" y="450"/>
                </a:moveTo>
                <a:cubicBezTo>
                  <a:pt x="602" y="450"/>
                  <a:pt x="601" y="450"/>
                  <a:pt x="601" y="450"/>
                </a:cubicBezTo>
                <a:cubicBezTo>
                  <a:pt x="599" y="450"/>
                  <a:pt x="603" y="448"/>
                  <a:pt x="602" y="450"/>
                </a:cubicBezTo>
                <a:close/>
                <a:moveTo>
                  <a:pt x="601" y="516"/>
                </a:moveTo>
                <a:cubicBezTo>
                  <a:pt x="602" y="518"/>
                  <a:pt x="602" y="521"/>
                  <a:pt x="602" y="522"/>
                </a:cubicBezTo>
                <a:cubicBezTo>
                  <a:pt x="602" y="522"/>
                  <a:pt x="600" y="518"/>
                  <a:pt x="601" y="516"/>
                </a:cubicBezTo>
                <a:close/>
                <a:moveTo>
                  <a:pt x="597" y="521"/>
                </a:moveTo>
                <a:cubicBezTo>
                  <a:pt x="598" y="521"/>
                  <a:pt x="598" y="522"/>
                  <a:pt x="599" y="522"/>
                </a:cubicBezTo>
                <a:cubicBezTo>
                  <a:pt x="599" y="523"/>
                  <a:pt x="597" y="522"/>
                  <a:pt x="597" y="521"/>
                </a:cubicBezTo>
                <a:close/>
                <a:moveTo>
                  <a:pt x="597" y="542"/>
                </a:moveTo>
                <a:cubicBezTo>
                  <a:pt x="598" y="545"/>
                  <a:pt x="593" y="542"/>
                  <a:pt x="595" y="540"/>
                </a:cubicBezTo>
                <a:cubicBezTo>
                  <a:pt x="596" y="539"/>
                  <a:pt x="597" y="541"/>
                  <a:pt x="597" y="542"/>
                </a:cubicBezTo>
                <a:close/>
                <a:moveTo>
                  <a:pt x="594" y="433"/>
                </a:moveTo>
                <a:cubicBezTo>
                  <a:pt x="593" y="434"/>
                  <a:pt x="594" y="431"/>
                  <a:pt x="594" y="433"/>
                </a:cubicBezTo>
                <a:close/>
                <a:moveTo>
                  <a:pt x="595" y="451"/>
                </a:moveTo>
                <a:cubicBezTo>
                  <a:pt x="595" y="451"/>
                  <a:pt x="595" y="452"/>
                  <a:pt x="596" y="453"/>
                </a:cubicBezTo>
                <a:cubicBezTo>
                  <a:pt x="596" y="455"/>
                  <a:pt x="592" y="452"/>
                  <a:pt x="595" y="451"/>
                </a:cubicBezTo>
                <a:close/>
                <a:moveTo>
                  <a:pt x="595" y="520"/>
                </a:moveTo>
                <a:cubicBezTo>
                  <a:pt x="595" y="520"/>
                  <a:pt x="595" y="520"/>
                  <a:pt x="594" y="519"/>
                </a:cubicBezTo>
                <a:cubicBezTo>
                  <a:pt x="594" y="519"/>
                  <a:pt x="594" y="519"/>
                  <a:pt x="594" y="519"/>
                </a:cubicBezTo>
                <a:cubicBezTo>
                  <a:pt x="594" y="519"/>
                  <a:pt x="595" y="520"/>
                  <a:pt x="595" y="520"/>
                </a:cubicBezTo>
                <a:close/>
                <a:moveTo>
                  <a:pt x="595" y="538"/>
                </a:moveTo>
                <a:cubicBezTo>
                  <a:pt x="595" y="543"/>
                  <a:pt x="590" y="531"/>
                  <a:pt x="590" y="529"/>
                </a:cubicBezTo>
                <a:cubicBezTo>
                  <a:pt x="591" y="532"/>
                  <a:pt x="589" y="528"/>
                  <a:pt x="589" y="527"/>
                </a:cubicBezTo>
                <a:cubicBezTo>
                  <a:pt x="591" y="527"/>
                  <a:pt x="592" y="531"/>
                  <a:pt x="592" y="531"/>
                </a:cubicBezTo>
                <a:cubicBezTo>
                  <a:pt x="593" y="533"/>
                  <a:pt x="595" y="536"/>
                  <a:pt x="595" y="538"/>
                </a:cubicBezTo>
                <a:close/>
                <a:moveTo>
                  <a:pt x="590" y="422"/>
                </a:moveTo>
                <a:cubicBezTo>
                  <a:pt x="589" y="421"/>
                  <a:pt x="591" y="423"/>
                  <a:pt x="590" y="422"/>
                </a:cubicBezTo>
                <a:close/>
                <a:moveTo>
                  <a:pt x="591" y="452"/>
                </a:moveTo>
                <a:cubicBezTo>
                  <a:pt x="591" y="452"/>
                  <a:pt x="591" y="454"/>
                  <a:pt x="590" y="454"/>
                </a:cubicBezTo>
                <a:cubicBezTo>
                  <a:pt x="589" y="454"/>
                  <a:pt x="590" y="452"/>
                  <a:pt x="591" y="452"/>
                </a:cubicBezTo>
                <a:close/>
                <a:moveTo>
                  <a:pt x="588" y="505"/>
                </a:moveTo>
                <a:cubicBezTo>
                  <a:pt x="590" y="505"/>
                  <a:pt x="591" y="509"/>
                  <a:pt x="590" y="510"/>
                </a:cubicBezTo>
                <a:cubicBezTo>
                  <a:pt x="588" y="511"/>
                  <a:pt x="587" y="507"/>
                  <a:pt x="588" y="505"/>
                </a:cubicBezTo>
                <a:close/>
                <a:moveTo>
                  <a:pt x="589" y="546"/>
                </a:moveTo>
                <a:cubicBezTo>
                  <a:pt x="589" y="545"/>
                  <a:pt x="589" y="545"/>
                  <a:pt x="589" y="545"/>
                </a:cubicBezTo>
                <a:cubicBezTo>
                  <a:pt x="589" y="545"/>
                  <a:pt x="589" y="545"/>
                  <a:pt x="589" y="546"/>
                </a:cubicBezTo>
                <a:cubicBezTo>
                  <a:pt x="589" y="546"/>
                  <a:pt x="589" y="546"/>
                  <a:pt x="589" y="546"/>
                </a:cubicBezTo>
                <a:cubicBezTo>
                  <a:pt x="589" y="546"/>
                  <a:pt x="589" y="546"/>
                  <a:pt x="589" y="546"/>
                </a:cubicBezTo>
                <a:close/>
                <a:moveTo>
                  <a:pt x="590" y="552"/>
                </a:moveTo>
                <a:cubicBezTo>
                  <a:pt x="589" y="552"/>
                  <a:pt x="587" y="550"/>
                  <a:pt x="587" y="549"/>
                </a:cubicBezTo>
                <a:cubicBezTo>
                  <a:pt x="589" y="549"/>
                  <a:pt x="588" y="551"/>
                  <a:pt x="590" y="552"/>
                </a:cubicBezTo>
                <a:close/>
                <a:moveTo>
                  <a:pt x="587" y="548"/>
                </a:moveTo>
                <a:cubicBezTo>
                  <a:pt x="586" y="545"/>
                  <a:pt x="587" y="549"/>
                  <a:pt x="587" y="548"/>
                </a:cubicBezTo>
                <a:close/>
                <a:moveTo>
                  <a:pt x="586" y="410"/>
                </a:moveTo>
                <a:cubicBezTo>
                  <a:pt x="586" y="410"/>
                  <a:pt x="586" y="410"/>
                  <a:pt x="586" y="410"/>
                </a:cubicBezTo>
                <a:cubicBezTo>
                  <a:pt x="586" y="410"/>
                  <a:pt x="586" y="410"/>
                  <a:pt x="586" y="410"/>
                </a:cubicBezTo>
                <a:close/>
                <a:moveTo>
                  <a:pt x="586" y="566"/>
                </a:moveTo>
                <a:cubicBezTo>
                  <a:pt x="585" y="565"/>
                  <a:pt x="587" y="568"/>
                  <a:pt x="586" y="566"/>
                </a:cubicBezTo>
                <a:close/>
                <a:moveTo>
                  <a:pt x="585" y="530"/>
                </a:moveTo>
                <a:cubicBezTo>
                  <a:pt x="586" y="530"/>
                  <a:pt x="586" y="532"/>
                  <a:pt x="585" y="531"/>
                </a:cubicBezTo>
                <a:cubicBezTo>
                  <a:pt x="584" y="531"/>
                  <a:pt x="585" y="530"/>
                  <a:pt x="585" y="530"/>
                </a:cubicBezTo>
                <a:close/>
                <a:moveTo>
                  <a:pt x="583" y="469"/>
                </a:moveTo>
                <a:cubicBezTo>
                  <a:pt x="583" y="469"/>
                  <a:pt x="584" y="470"/>
                  <a:pt x="583" y="470"/>
                </a:cubicBezTo>
                <a:cubicBezTo>
                  <a:pt x="583" y="471"/>
                  <a:pt x="583" y="468"/>
                  <a:pt x="583" y="469"/>
                </a:cubicBezTo>
                <a:close/>
                <a:moveTo>
                  <a:pt x="582" y="481"/>
                </a:moveTo>
                <a:cubicBezTo>
                  <a:pt x="582" y="481"/>
                  <a:pt x="582" y="482"/>
                  <a:pt x="582" y="482"/>
                </a:cubicBezTo>
                <a:cubicBezTo>
                  <a:pt x="584" y="484"/>
                  <a:pt x="580" y="480"/>
                  <a:pt x="582" y="481"/>
                </a:cubicBezTo>
                <a:close/>
                <a:moveTo>
                  <a:pt x="574" y="537"/>
                </a:moveTo>
                <a:cubicBezTo>
                  <a:pt x="573" y="535"/>
                  <a:pt x="575" y="538"/>
                  <a:pt x="574" y="537"/>
                </a:cubicBezTo>
                <a:close/>
                <a:moveTo>
                  <a:pt x="577" y="514"/>
                </a:moveTo>
                <a:cubicBezTo>
                  <a:pt x="576" y="514"/>
                  <a:pt x="576" y="510"/>
                  <a:pt x="575" y="509"/>
                </a:cubicBezTo>
                <a:cubicBezTo>
                  <a:pt x="578" y="509"/>
                  <a:pt x="576" y="512"/>
                  <a:pt x="577" y="514"/>
                </a:cubicBezTo>
                <a:close/>
                <a:moveTo>
                  <a:pt x="579" y="552"/>
                </a:moveTo>
                <a:cubicBezTo>
                  <a:pt x="577" y="553"/>
                  <a:pt x="576" y="548"/>
                  <a:pt x="576" y="546"/>
                </a:cubicBezTo>
                <a:cubicBezTo>
                  <a:pt x="578" y="547"/>
                  <a:pt x="581" y="552"/>
                  <a:pt x="579" y="552"/>
                </a:cubicBezTo>
                <a:close/>
                <a:moveTo>
                  <a:pt x="577" y="515"/>
                </a:moveTo>
                <a:cubicBezTo>
                  <a:pt x="578" y="522"/>
                  <a:pt x="580" y="527"/>
                  <a:pt x="581" y="534"/>
                </a:cubicBezTo>
                <a:cubicBezTo>
                  <a:pt x="579" y="528"/>
                  <a:pt x="577" y="522"/>
                  <a:pt x="577" y="515"/>
                </a:cubicBezTo>
                <a:close/>
                <a:moveTo>
                  <a:pt x="580" y="426"/>
                </a:moveTo>
                <a:cubicBezTo>
                  <a:pt x="581" y="426"/>
                  <a:pt x="581" y="427"/>
                  <a:pt x="581" y="427"/>
                </a:cubicBezTo>
                <a:cubicBezTo>
                  <a:pt x="582" y="429"/>
                  <a:pt x="579" y="427"/>
                  <a:pt x="580" y="426"/>
                </a:cubicBezTo>
                <a:close/>
                <a:moveTo>
                  <a:pt x="578" y="464"/>
                </a:moveTo>
                <a:cubicBezTo>
                  <a:pt x="577" y="465"/>
                  <a:pt x="577" y="464"/>
                  <a:pt x="577" y="464"/>
                </a:cubicBezTo>
                <a:cubicBezTo>
                  <a:pt x="578" y="463"/>
                  <a:pt x="578" y="464"/>
                  <a:pt x="578" y="464"/>
                </a:cubicBezTo>
                <a:close/>
                <a:moveTo>
                  <a:pt x="576" y="475"/>
                </a:moveTo>
                <a:cubicBezTo>
                  <a:pt x="576" y="474"/>
                  <a:pt x="577" y="477"/>
                  <a:pt x="576" y="475"/>
                </a:cubicBezTo>
                <a:close/>
                <a:moveTo>
                  <a:pt x="576" y="497"/>
                </a:moveTo>
                <a:cubicBezTo>
                  <a:pt x="576" y="497"/>
                  <a:pt x="576" y="498"/>
                  <a:pt x="576" y="498"/>
                </a:cubicBezTo>
                <a:cubicBezTo>
                  <a:pt x="576" y="499"/>
                  <a:pt x="576" y="497"/>
                  <a:pt x="576" y="497"/>
                </a:cubicBezTo>
                <a:close/>
                <a:moveTo>
                  <a:pt x="576" y="507"/>
                </a:moveTo>
                <a:cubicBezTo>
                  <a:pt x="577" y="507"/>
                  <a:pt x="577" y="508"/>
                  <a:pt x="576" y="508"/>
                </a:cubicBezTo>
                <a:cubicBezTo>
                  <a:pt x="574" y="509"/>
                  <a:pt x="575" y="505"/>
                  <a:pt x="576" y="507"/>
                </a:cubicBezTo>
                <a:close/>
                <a:moveTo>
                  <a:pt x="575" y="486"/>
                </a:moveTo>
                <a:cubicBezTo>
                  <a:pt x="575" y="485"/>
                  <a:pt x="576" y="488"/>
                  <a:pt x="575" y="486"/>
                </a:cubicBezTo>
                <a:close/>
                <a:moveTo>
                  <a:pt x="573" y="519"/>
                </a:moveTo>
                <a:cubicBezTo>
                  <a:pt x="574" y="524"/>
                  <a:pt x="577" y="528"/>
                  <a:pt x="576" y="533"/>
                </a:cubicBezTo>
                <a:cubicBezTo>
                  <a:pt x="573" y="530"/>
                  <a:pt x="572" y="524"/>
                  <a:pt x="573" y="519"/>
                </a:cubicBezTo>
                <a:close/>
                <a:moveTo>
                  <a:pt x="556" y="517"/>
                </a:moveTo>
                <a:cubicBezTo>
                  <a:pt x="556" y="517"/>
                  <a:pt x="556" y="516"/>
                  <a:pt x="556" y="516"/>
                </a:cubicBezTo>
                <a:cubicBezTo>
                  <a:pt x="554" y="516"/>
                  <a:pt x="557" y="515"/>
                  <a:pt x="556" y="517"/>
                </a:cubicBezTo>
                <a:close/>
                <a:moveTo>
                  <a:pt x="559" y="486"/>
                </a:moveTo>
                <a:cubicBezTo>
                  <a:pt x="558" y="486"/>
                  <a:pt x="559" y="485"/>
                  <a:pt x="559" y="485"/>
                </a:cubicBezTo>
                <a:cubicBezTo>
                  <a:pt x="559" y="485"/>
                  <a:pt x="559" y="486"/>
                  <a:pt x="559" y="486"/>
                </a:cubicBezTo>
                <a:close/>
                <a:moveTo>
                  <a:pt x="561" y="516"/>
                </a:moveTo>
                <a:cubicBezTo>
                  <a:pt x="560" y="516"/>
                  <a:pt x="560" y="515"/>
                  <a:pt x="560" y="515"/>
                </a:cubicBezTo>
                <a:cubicBezTo>
                  <a:pt x="562" y="514"/>
                  <a:pt x="563" y="517"/>
                  <a:pt x="561" y="516"/>
                </a:cubicBezTo>
                <a:close/>
                <a:moveTo>
                  <a:pt x="572" y="517"/>
                </a:moveTo>
                <a:cubicBezTo>
                  <a:pt x="572" y="517"/>
                  <a:pt x="567" y="506"/>
                  <a:pt x="569" y="506"/>
                </a:cubicBezTo>
                <a:cubicBezTo>
                  <a:pt x="569" y="505"/>
                  <a:pt x="572" y="514"/>
                  <a:pt x="572" y="515"/>
                </a:cubicBezTo>
                <a:cubicBezTo>
                  <a:pt x="572" y="515"/>
                  <a:pt x="572" y="516"/>
                  <a:pt x="572" y="517"/>
                </a:cubicBezTo>
                <a:close/>
                <a:moveTo>
                  <a:pt x="569" y="480"/>
                </a:moveTo>
                <a:cubicBezTo>
                  <a:pt x="570" y="480"/>
                  <a:pt x="570" y="480"/>
                  <a:pt x="570" y="480"/>
                </a:cubicBezTo>
                <a:cubicBezTo>
                  <a:pt x="571" y="482"/>
                  <a:pt x="567" y="479"/>
                  <a:pt x="569" y="480"/>
                </a:cubicBezTo>
                <a:close/>
                <a:moveTo>
                  <a:pt x="570" y="451"/>
                </a:moveTo>
                <a:cubicBezTo>
                  <a:pt x="570" y="451"/>
                  <a:pt x="570" y="452"/>
                  <a:pt x="570" y="453"/>
                </a:cubicBezTo>
                <a:cubicBezTo>
                  <a:pt x="568" y="454"/>
                  <a:pt x="568" y="449"/>
                  <a:pt x="570" y="451"/>
                </a:cubicBezTo>
                <a:close/>
                <a:moveTo>
                  <a:pt x="569" y="528"/>
                </a:moveTo>
                <a:cubicBezTo>
                  <a:pt x="569" y="528"/>
                  <a:pt x="569" y="529"/>
                  <a:pt x="569" y="529"/>
                </a:cubicBezTo>
                <a:cubicBezTo>
                  <a:pt x="567" y="529"/>
                  <a:pt x="569" y="526"/>
                  <a:pt x="569" y="528"/>
                </a:cubicBezTo>
                <a:close/>
                <a:moveTo>
                  <a:pt x="567" y="520"/>
                </a:moveTo>
                <a:cubicBezTo>
                  <a:pt x="567" y="520"/>
                  <a:pt x="567" y="519"/>
                  <a:pt x="567" y="519"/>
                </a:cubicBezTo>
                <a:cubicBezTo>
                  <a:pt x="568" y="519"/>
                  <a:pt x="567" y="521"/>
                  <a:pt x="567" y="520"/>
                </a:cubicBezTo>
                <a:close/>
                <a:moveTo>
                  <a:pt x="567" y="511"/>
                </a:moveTo>
                <a:cubicBezTo>
                  <a:pt x="566" y="511"/>
                  <a:pt x="566" y="509"/>
                  <a:pt x="566" y="508"/>
                </a:cubicBezTo>
                <a:cubicBezTo>
                  <a:pt x="567" y="509"/>
                  <a:pt x="567" y="510"/>
                  <a:pt x="567" y="511"/>
                </a:cubicBezTo>
                <a:close/>
                <a:moveTo>
                  <a:pt x="566" y="507"/>
                </a:moveTo>
                <a:cubicBezTo>
                  <a:pt x="565" y="506"/>
                  <a:pt x="567" y="504"/>
                  <a:pt x="566" y="507"/>
                </a:cubicBezTo>
                <a:close/>
                <a:moveTo>
                  <a:pt x="565" y="501"/>
                </a:moveTo>
                <a:cubicBezTo>
                  <a:pt x="565" y="501"/>
                  <a:pt x="565" y="501"/>
                  <a:pt x="565" y="501"/>
                </a:cubicBezTo>
                <a:cubicBezTo>
                  <a:pt x="565" y="501"/>
                  <a:pt x="565" y="501"/>
                  <a:pt x="565" y="500"/>
                </a:cubicBezTo>
                <a:cubicBezTo>
                  <a:pt x="565" y="501"/>
                  <a:pt x="565" y="501"/>
                  <a:pt x="565" y="501"/>
                </a:cubicBezTo>
                <a:close/>
                <a:moveTo>
                  <a:pt x="565" y="508"/>
                </a:moveTo>
                <a:cubicBezTo>
                  <a:pt x="566" y="510"/>
                  <a:pt x="562" y="508"/>
                  <a:pt x="564" y="507"/>
                </a:cubicBezTo>
                <a:cubicBezTo>
                  <a:pt x="564" y="507"/>
                  <a:pt x="565" y="507"/>
                  <a:pt x="565" y="508"/>
                </a:cubicBezTo>
                <a:close/>
                <a:moveTo>
                  <a:pt x="564" y="502"/>
                </a:moveTo>
                <a:cubicBezTo>
                  <a:pt x="564" y="502"/>
                  <a:pt x="564" y="503"/>
                  <a:pt x="564" y="503"/>
                </a:cubicBezTo>
                <a:cubicBezTo>
                  <a:pt x="565" y="505"/>
                  <a:pt x="561" y="503"/>
                  <a:pt x="564" y="502"/>
                </a:cubicBezTo>
                <a:close/>
                <a:moveTo>
                  <a:pt x="560" y="494"/>
                </a:moveTo>
                <a:cubicBezTo>
                  <a:pt x="562" y="492"/>
                  <a:pt x="564" y="496"/>
                  <a:pt x="564" y="496"/>
                </a:cubicBezTo>
                <a:cubicBezTo>
                  <a:pt x="565" y="501"/>
                  <a:pt x="557" y="496"/>
                  <a:pt x="560" y="494"/>
                </a:cubicBezTo>
                <a:close/>
                <a:moveTo>
                  <a:pt x="557" y="439"/>
                </a:moveTo>
                <a:cubicBezTo>
                  <a:pt x="557" y="440"/>
                  <a:pt x="556" y="438"/>
                  <a:pt x="557" y="439"/>
                </a:cubicBezTo>
                <a:close/>
                <a:moveTo>
                  <a:pt x="555" y="457"/>
                </a:moveTo>
                <a:cubicBezTo>
                  <a:pt x="556" y="456"/>
                  <a:pt x="558" y="461"/>
                  <a:pt x="558" y="460"/>
                </a:cubicBezTo>
                <a:cubicBezTo>
                  <a:pt x="558" y="462"/>
                  <a:pt x="558" y="464"/>
                  <a:pt x="559" y="467"/>
                </a:cubicBezTo>
                <a:cubicBezTo>
                  <a:pt x="560" y="471"/>
                  <a:pt x="564" y="476"/>
                  <a:pt x="564" y="480"/>
                </a:cubicBezTo>
                <a:cubicBezTo>
                  <a:pt x="560" y="478"/>
                  <a:pt x="561" y="472"/>
                  <a:pt x="559" y="469"/>
                </a:cubicBezTo>
                <a:cubicBezTo>
                  <a:pt x="558" y="468"/>
                  <a:pt x="556" y="462"/>
                  <a:pt x="555" y="459"/>
                </a:cubicBezTo>
                <a:cubicBezTo>
                  <a:pt x="555" y="458"/>
                  <a:pt x="553" y="457"/>
                  <a:pt x="555" y="457"/>
                </a:cubicBezTo>
                <a:close/>
                <a:moveTo>
                  <a:pt x="549" y="528"/>
                </a:moveTo>
                <a:cubicBezTo>
                  <a:pt x="549" y="527"/>
                  <a:pt x="550" y="527"/>
                  <a:pt x="550" y="528"/>
                </a:cubicBezTo>
                <a:cubicBezTo>
                  <a:pt x="551" y="529"/>
                  <a:pt x="549" y="528"/>
                  <a:pt x="549" y="528"/>
                </a:cubicBezTo>
                <a:close/>
                <a:moveTo>
                  <a:pt x="540" y="511"/>
                </a:moveTo>
                <a:cubicBezTo>
                  <a:pt x="540" y="513"/>
                  <a:pt x="539" y="510"/>
                  <a:pt x="540" y="511"/>
                </a:cubicBezTo>
                <a:close/>
                <a:moveTo>
                  <a:pt x="541" y="554"/>
                </a:moveTo>
                <a:cubicBezTo>
                  <a:pt x="543" y="553"/>
                  <a:pt x="546" y="557"/>
                  <a:pt x="546" y="557"/>
                </a:cubicBezTo>
                <a:cubicBezTo>
                  <a:pt x="546" y="563"/>
                  <a:pt x="538" y="556"/>
                  <a:pt x="541" y="554"/>
                </a:cubicBezTo>
                <a:close/>
                <a:moveTo>
                  <a:pt x="541" y="528"/>
                </a:moveTo>
                <a:cubicBezTo>
                  <a:pt x="541" y="527"/>
                  <a:pt x="543" y="529"/>
                  <a:pt x="542" y="529"/>
                </a:cubicBezTo>
                <a:cubicBezTo>
                  <a:pt x="542" y="529"/>
                  <a:pt x="541" y="529"/>
                  <a:pt x="541" y="528"/>
                </a:cubicBezTo>
                <a:close/>
                <a:moveTo>
                  <a:pt x="549" y="540"/>
                </a:moveTo>
                <a:cubicBezTo>
                  <a:pt x="550" y="541"/>
                  <a:pt x="548" y="539"/>
                  <a:pt x="549" y="540"/>
                </a:cubicBezTo>
                <a:close/>
                <a:moveTo>
                  <a:pt x="548" y="494"/>
                </a:moveTo>
                <a:cubicBezTo>
                  <a:pt x="547" y="494"/>
                  <a:pt x="547" y="493"/>
                  <a:pt x="547" y="492"/>
                </a:cubicBezTo>
                <a:cubicBezTo>
                  <a:pt x="547" y="492"/>
                  <a:pt x="548" y="493"/>
                  <a:pt x="548" y="494"/>
                </a:cubicBezTo>
                <a:close/>
                <a:moveTo>
                  <a:pt x="546" y="541"/>
                </a:moveTo>
                <a:cubicBezTo>
                  <a:pt x="546" y="544"/>
                  <a:pt x="543" y="538"/>
                  <a:pt x="546" y="539"/>
                </a:cubicBezTo>
                <a:cubicBezTo>
                  <a:pt x="546" y="539"/>
                  <a:pt x="546" y="540"/>
                  <a:pt x="546" y="541"/>
                </a:cubicBezTo>
                <a:close/>
                <a:moveTo>
                  <a:pt x="545" y="522"/>
                </a:moveTo>
                <a:cubicBezTo>
                  <a:pt x="545" y="521"/>
                  <a:pt x="546" y="522"/>
                  <a:pt x="546" y="522"/>
                </a:cubicBezTo>
                <a:cubicBezTo>
                  <a:pt x="546" y="523"/>
                  <a:pt x="544" y="522"/>
                  <a:pt x="545" y="522"/>
                </a:cubicBezTo>
                <a:close/>
                <a:moveTo>
                  <a:pt x="545" y="470"/>
                </a:moveTo>
                <a:cubicBezTo>
                  <a:pt x="545" y="468"/>
                  <a:pt x="544" y="467"/>
                  <a:pt x="544" y="465"/>
                </a:cubicBezTo>
                <a:cubicBezTo>
                  <a:pt x="545" y="466"/>
                  <a:pt x="546" y="468"/>
                  <a:pt x="545" y="470"/>
                </a:cubicBezTo>
                <a:close/>
                <a:moveTo>
                  <a:pt x="543" y="518"/>
                </a:moveTo>
                <a:cubicBezTo>
                  <a:pt x="543" y="518"/>
                  <a:pt x="543" y="518"/>
                  <a:pt x="544" y="518"/>
                </a:cubicBezTo>
                <a:cubicBezTo>
                  <a:pt x="545" y="517"/>
                  <a:pt x="546" y="522"/>
                  <a:pt x="543" y="521"/>
                </a:cubicBezTo>
                <a:cubicBezTo>
                  <a:pt x="543" y="521"/>
                  <a:pt x="542" y="520"/>
                  <a:pt x="542" y="519"/>
                </a:cubicBezTo>
                <a:cubicBezTo>
                  <a:pt x="542" y="519"/>
                  <a:pt x="541" y="519"/>
                  <a:pt x="541" y="518"/>
                </a:cubicBezTo>
                <a:cubicBezTo>
                  <a:pt x="541" y="517"/>
                  <a:pt x="543" y="517"/>
                  <a:pt x="543" y="518"/>
                </a:cubicBezTo>
                <a:cubicBezTo>
                  <a:pt x="543" y="518"/>
                  <a:pt x="543" y="518"/>
                  <a:pt x="543" y="518"/>
                </a:cubicBezTo>
                <a:close/>
                <a:moveTo>
                  <a:pt x="541" y="454"/>
                </a:moveTo>
                <a:cubicBezTo>
                  <a:pt x="542" y="456"/>
                  <a:pt x="543" y="459"/>
                  <a:pt x="543" y="461"/>
                </a:cubicBezTo>
                <a:cubicBezTo>
                  <a:pt x="542" y="459"/>
                  <a:pt x="541" y="457"/>
                  <a:pt x="541" y="454"/>
                </a:cubicBezTo>
                <a:close/>
                <a:moveTo>
                  <a:pt x="539" y="439"/>
                </a:moveTo>
                <a:cubicBezTo>
                  <a:pt x="541" y="443"/>
                  <a:pt x="541" y="450"/>
                  <a:pt x="542" y="454"/>
                </a:cubicBezTo>
                <a:cubicBezTo>
                  <a:pt x="540" y="450"/>
                  <a:pt x="540" y="445"/>
                  <a:pt x="539" y="439"/>
                </a:cubicBezTo>
                <a:close/>
                <a:moveTo>
                  <a:pt x="539" y="439"/>
                </a:moveTo>
                <a:cubicBezTo>
                  <a:pt x="538" y="438"/>
                  <a:pt x="538" y="436"/>
                  <a:pt x="538" y="434"/>
                </a:cubicBezTo>
                <a:cubicBezTo>
                  <a:pt x="540" y="435"/>
                  <a:pt x="540" y="437"/>
                  <a:pt x="539" y="439"/>
                </a:cubicBezTo>
                <a:close/>
                <a:moveTo>
                  <a:pt x="539" y="432"/>
                </a:moveTo>
                <a:cubicBezTo>
                  <a:pt x="539" y="433"/>
                  <a:pt x="540" y="433"/>
                  <a:pt x="539" y="434"/>
                </a:cubicBezTo>
                <a:cubicBezTo>
                  <a:pt x="538" y="434"/>
                  <a:pt x="538" y="429"/>
                  <a:pt x="539" y="432"/>
                </a:cubicBezTo>
                <a:close/>
                <a:moveTo>
                  <a:pt x="538" y="420"/>
                </a:moveTo>
                <a:cubicBezTo>
                  <a:pt x="538" y="420"/>
                  <a:pt x="539" y="420"/>
                  <a:pt x="538" y="421"/>
                </a:cubicBezTo>
                <a:cubicBezTo>
                  <a:pt x="537" y="421"/>
                  <a:pt x="537" y="418"/>
                  <a:pt x="538" y="420"/>
                </a:cubicBezTo>
                <a:close/>
                <a:moveTo>
                  <a:pt x="537" y="551"/>
                </a:moveTo>
                <a:cubicBezTo>
                  <a:pt x="538" y="550"/>
                  <a:pt x="539" y="551"/>
                  <a:pt x="539" y="552"/>
                </a:cubicBezTo>
                <a:cubicBezTo>
                  <a:pt x="539" y="554"/>
                  <a:pt x="536" y="553"/>
                  <a:pt x="537" y="551"/>
                </a:cubicBezTo>
                <a:close/>
                <a:moveTo>
                  <a:pt x="535" y="409"/>
                </a:moveTo>
                <a:cubicBezTo>
                  <a:pt x="536" y="409"/>
                  <a:pt x="536" y="411"/>
                  <a:pt x="535" y="409"/>
                </a:cubicBezTo>
                <a:close/>
                <a:moveTo>
                  <a:pt x="535" y="418"/>
                </a:moveTo>
                <a:cubicBezTo>
                  <a:pt x="533" y="417"/>
                  <a:pt x="535" y="416"/>
                  <a:pt x="535" y="418"/>
                </a:cubicBezTo>
                <a:close/>
                <a:moveTo>
                  <a:pt x="534" y="460"/>
                </a:moveTo>
                <a:cubicBezTo>
                  <a:pt x="535" y="460"/>
                  <a:pt x="536" y="461"/>
                  <a:pt x="536" y="461"/>
                </a:cubicBezTo>
                <a:cubicBezTo>
                  <a:pt x="537" y="465"/>
                  <a:pt x="533" y="461"/>
                  <a:pt x="534" y="460"/>
                </a:cubicBezTo>
                <a:close/>
                <a:moveTo>
                  <a:pt x="301" y="28"/>
                </a:moveTo>
                <a:cubicBezTo>
                  <a:pt x="300" y="27"/>
                  <a:pt x="303" y="29"/>
                  <a:pt x="301" y="28"/>
                </a:cubicBezTo>
                <a:close/>
                <a:moveTo>
                  <a:pt x="308" y="19"/>
                </a:moveTo>
                <a:cubicBezTo>
                  <a:pt x="310" y="20"/>
                  <a:pt x="312" y="22"/>
                  <a:pt x="314" y="24"/>
                </a:cubicBezTo>
                <a:cubicBezTo>
                  <a:pt x="311" y="23"/>
                  <a:pt x="310" y="21"/>
                  <a:pt x="308" y="19"/>
                </a:cubicBezTo>
                <a:close/>
                <a:moveTo>
                  <a:pt x="314" y="19"/>
                </a:moveTo>
                <a:cubicBezTo>
                  <a:pt x="314" y="19"/>
                  <a:pt x="314" y="19"/>
                  <a:pt x="314" y="19"/>
                </a:cubicBezTo>
                <a:cubicBezTo>
                  <a:pt x="315" y="20"/>
                  <a:pt x="314" y="19"/>
                  <a:pt x="314" y="19"/>
                </a:cubicBezTo>
                <a:close/>
                <a:moveTo>
                  <a:pt x="286" y="38"/>
                </a:moveTo>
                <a:cubicBezTo>
                  <a:pt x="286" y="38"/>
                  <a:pt x="286" y="38"/>
                  <a:pt x="286" y="38"/>
                </a:cubicBezTo>
                <a:cubicBezTo>
                  <a:pt x="286" y="38"/>
                  <a:pt x="287" y="38"/>
                  <a:pt x="287" y="38"/>
                </a:cubicBezTo>
                <a:cubicBezTo>
                  <a:pt x="287" y="38"/>
                  <a:pt x="287" y="38"/>
                  <a:pt x="286" y="38"/>
                </a:cubicBezTo>
                <a:close/>
                <a:moveTo>
                  <a:pt x="290" y="56"/>
                </a:moveTo>
                <a:cubicBezTo>
                  <a:pt x="291" y="55"/>
                  <a:pt x="292" y="57"/>
                  <a:pt x="290" y="56"/>
                </a:cubicBezTo>
                <a:close/>
                <a:moveTo>
                  <a:pt x="294" y="57"/>
                </a:moveTo>
                <a:cubicBezTo>
                  <a:pt x="292" y="57"/>
                  <a:pt x="293" y="55"/>
                  <a:pt x="294" y="57"/>
                </a:cubicBezTo>
                <a:close/>
                <a:moveTo>
                  <a:pt x="292" y="34"/>
                </a:moveTo>
                <a:cubicBezTo>
                  <a:pt x="293" y="33"/>
                  <a:pt x="294" y="34"/>
                  <a:pt x="294" y="35"/>
                </a:cubicBezTo>
                <a:cubicBezTo>
                  <a:pt x="293" y="35"/>
                  <a:pt x="293" y="34"/>
                  <a:pt x="292" y="34"/>
                </a:cubicBezTo>
                <a:close/>
                <a:moveTo>
                  <a:pt x="301" y="46"/>
                </a:moveTo>
                <a:cubicBezTo>
                  <a:pt x="302" y="47"/>
                  <a:pt x="299" y="45"/>
                  <a:pt x="301" y="46"/>
                </a:cubicBezTo>
                <a:close/>
                <a:moveTo>
                  <a:pt x="300" y="50"/>
                </a:moveTo>
                <a:cubicBezTo>
                  <a:pt x="298" y="49"/>
                  <a:pt x="302" y="52"/>
                  <a:pt x="300" y="50"/>
                </a:cubicBezTo>
                <a:close/>
                <a:moveTo>
                  <a:pt x="301" y="48"/>
                </a:moveTo>
                <a:cubicBezTo>
                  <a:pt x="300" y="48"/>
                  <a:pt x="300" y="47"/>
                  <a:pt x="300" y="47"/>
                </a:cubicBezTo>
                <a:cubicBezTo>
                  <a:pt x="301" y="45"/>
                  <a:pt x="304" y="50"/>
                  <a:pt x="301" y="48"/>
                </a:cubicBezTo>
                <a:close/>
                <a:moveTo>
                  <a:pt x="197" y="116"/>
                </a:moveTo>
                <a:cubicBezTo>
                  <a:pt x="197" y="115"/>
                  <a:pt x="196" y="115"/>
                  <a:pt x="197" y="115"/>
                </a:cubicBezTo>
                <a:cubicBezTo>
                  <a:pt x="198" y="114"/>
                  <a:pt x="199" y="117"/>
                  <a:pt x="197" y="116"/>
                </a:cubicBezTo>
                <a:close/>
                <a:moveTo>
                  <a:pt x="204" y="118"/>
                </a:moveTo>
                <a:cubicBezTo>
                  <a:pt x="205" y="118"/>
                  <a:pt x="206" y="119"/>
                  <a:pt x="205" y="119"/>
                </a:cubicBezTo>
                <a:cubicBezTo>
                  <a:pt x="205" y="120"/>
                  <a:pt x="203" y="119"/>
                  <a:pt x="204" y="118"/>
                </a:cubicBezTo>
                <a:close/>
                <a:moveTo>
                  <a:pt x="201" y="107"/>
                </a:moveTo>
                <a:cubicBezTo>
                  <a:pt x="205" y="105"/>
                  <a:pt x="202" y="110"/>
                  <a:pt x="201" y="107"/>
                </a:cubicBezTo>
                <a:cubicBezTo>
                  <a:pt x="201" y="106"/>
                  <a:pt x="201" y="107"/>
                  <a:pt x="201" y="107"/>
                </a:cubicBezTo>
                <a:close/>
                <a:moveTo>
                  <a:pt x="203" y="122"/>
                </a:moveTo>
                <a:cubicBezTo>
                  <a:pt x="203" y="122"/>
                  <a:pt x="202" y="122"/>
                  <a:pt x="202" y="121"/>
                </a:cubicBezTo>
                <a:cubicBezTo>
                  <a:pt x="202" y="121"/>
                  <a:pt x="202" y="121"/>
                  <a:pt x="202" y="121"/>
                </a:cubicBezTo>
                <a:cubicBezTo>
                  <a:pt x="202" y="120"/>
                  <a:pt x="201" y="119"/>
                  <a:pt x="200" y="118"/>
                </a:cubicBezTo>
                <a:cubicBezTo>
                  <a:pt x="202" y="119"/>
                  <a:pt x="203" y="121"/>
                  <a:pt x="205" y="124"/>
                </a:cubicBezTo>
                <a:cubicBezTo>
                  <a:pt x="204" y="123"/>
                  <a:pt x="203" y="123"/>
                  <a:pt x="203" y="122"/>
                </a:cubicBezTo>
                <a:close/>
                <a:moveTo>
                  <a:pt x="205" y="124"/>
                </a:moveTo>
                <a:cubicBezTo>
                  <a:pt x="206" y="123"/>
                  <a:pt x="207" y="128"/>
                  <a:pt x="205" y="126"/>
                </a:cubicBezTo>
                <a:cubicBezTo>
                  <a:pt x="205" y="125"/>
                  <a:pt x="204" y="125"/>
                  <a:pt x="205" y="124"/>
                </a:cubicBezTo>
                <a:close/>
                <a:moveTo>
                  <a:pt x="205" y="140"/>
                </a:moveTo>
                <a:cubicBezTo>
                  <a:pt x="204" y="140"/>
                  <a:pt x="204" y="139"/>
                  <a:pt x="205" y="139"/>
                </a:cubicBezTo>
                <a:cubicBezTo>
                  <a:pt x="206" y="138"/>
                  <a:pt x="207" y="141"/>
                  <a:pt x="205" y="140"/>
                </a:cubicBezTo>
                <a:close/>
                <a:moveTo>
                  <a:pt x="77" y="199"/>
                </a:moveTo>
                <a:cubicBezTo>
                  <a:pt x="79" y="200"/>
                  <a:pt x="77" y="201"/>
                  <a:pt x="77" y="199"/>
                </a:cubicBezTo>
                <a:close/>
                <a:moveTo>
                  <a:pt x="21" y="249"/>
                </a:moveTo>
                <a:cubicBezTo>
                  <a:pt x="20" y="248"/>
                  <a:pt x="22" y="247"/>
                  <a:pt x="21" y="249"/>
                </a:cubicBezTo>
                <a:close/>
                <a:moveTo>
                  <a:pt x="24" y="252"/>
                </a:moveTo>
                <a:cubicBezTo>
                  <a:pt x="23" y="252"/>
                  <a:pt x="23" y="251"/>
                  <a:pt x="24" y="251"/>
                </a:cubicBezTo>
                <a:cubicBezTo>
                  <a:pt x="24" y="250"/>
                  <a:pt x="24" y="252"/>
                  <a:pt x="24" y="252"/>
                </a:cubicBezTo>
                <a:close/>
                <a:moveTo>
                  <a:pt x="23" y="249"/>
                </a:moveTo>
                <a:cubicBezTo>
                  <a:pt x="23" y="249"/>
                  <a:pt x="24" y="248"/>
                  <a:pt x="24" y="248"/>
                </a:cubicBezTo>
                <a:cubicBezTo>
                  <a:pt x="26" y="247"/>
                  <a:pt x="24" y="251"/>
                  <a:pt x="23" y="249"/>
                </a:cubicBezTo>
                <a:close/>
                <a:moveTo>
                  <a:pt x="26" y="245"/>
                </a:moveTo>
                <a:cubicBezTo>
                  <a:pt x="25" y="245"/>
                  <a:pt x="25" y="244"/>
                  <a:pt x="25" y="244"/>
                </a:cubicBezTo>
                <a:cubicBezTo>
                  <a:pt x="26" y="243"/>
                  <a:pt x="26" y="245"/>
                  <a:pt x="26" y="245"/>
                </a:cubicBezTo>
                <a:close/>
                <a:moveTo>
                  <a:pt x="33" y="251"/>
                </a:moveTo>
                <a:cubicBezTo>
                  <a:pt x="34" y="250"/>
                  <a:pt x="34" y="253"/>
                  <a:pt x="33" y="253"/>
                </a:cubicBezTo>
                <a:cubicBezTo>
                  <a:pt x="33" y="252"/>
                  <a:pt x="33" y="251"/>
                  <a:pt x="33" y="251"/>
                </a:cubicBezTo>
                <a:close/>
                <a:moveTo>
                  <a:pt x="28" y="258"/>
                </a:moveTo>
                <a:cubicBezTo>
                  <a:pt x="28" y="259"/>
                  <a:pt x="27" y="257"/>
                  <a:pt x="27" y="257"/>
                </a:cubicBezTo>
                <a:cubicBezTo>
                  <a:pt x="28" y="256"/>
                  <a:pt x="28" y="258"/>
                  <a:pt x="28" y="258"/>
                </a:cubicBezTo>
                <a:close/>
                <a:moveTo>
                  <a:pt x="29" y="249"/>
                </a:moveTo>
                <a:cubicBezTo>
                  <a:pt x="29" y="248"/>
                  <a:pt x="30" y="249"/>
                  <a:pt x="29" y="250"/>
                </a:cubicBezTo>
                <a:cubicBezTo>
                  <a:pt x="29" y="250"/>
                  <a:pt x="28" y="249"/>
                  <a:pt x="29" y="249"/>
                </a:cubicBezTo>
                <a:close/>
                <a:moveTo>
                  <a:pt x="29" y="275"/>
                </a:moveTo>
                <a:cubicBezTo>
                  <a:pt x="29" y="276"/>
                  <a:pt x="30" y="274"/>
                  <a:pt x="29" y="275"/>
                </a:cubicBezTo>
                <a:close/>
                <a:moveTo>
                  <a:pt x="29" y="247"/>
                </a:moveTo>
                <a:cubicBezTo>
                  <a:pt x="29" y="247"/>
                  <a:pt x="28" y="247"/>
                  <a:pt x="29" y="248"/>
                </a:cubicBezTo>
                <a:cubicBezTo>
                  <a:pt x="28" y="247"/>
                  <a:pt x="28" y="246"/>
                  <a:pt x="28" y="246"/>
                </a:cubicBezTo>
                <a:cubicBezTo>
                  <a:pt x="28" y="246"/>
                  <a:pt x="28" y="245"/>
                  <a:pt x="28" y="245"/>
                </a:cubicBezTo>
                <a:cubicBezTo>
                  <a:pt x="28" y="244"/>
                  <a:pt x="25" y="241"/>
                  <a:pt x="27" y="240"/>
                </a:cubicBezTo>
                <a:cubicBezTo>
                  <a:pt x="31" y="239"/>
                  <a:pt x="30" y="243"/>
                  <a:pt x="30" y="244"/>
                </a:cubicBezTo>
                <a:cubicBezTo>
                  <a:pt x="30" y="244"/>
                  <a:pt x="30" y="245"/>
                  <a:pt x="30" y="245"/>
                </a:cubicBezTo>
                <a:cubicBezTo>
                  <a:pt x="31" y="245"/>
                  <a:pt x="31" y="247"/>
                  <a:pt x="30" y="247"/>
                </a:cubicBezTo>
                <a:cubicBezTo>
                  <a:pt x="30" y="247"/>
                  <a:pt x="30" y="247"/>
                  <a:pt x="30" y="247"/>
                </a:cubicBezTo>
                <a:cubicBezTo>
                  <a:pt x="29" y="247"/>
                  <a:pt x="29" y="247"/>
                  <a:pt x="29" y="247"/>
                </a:cubicBezTo>
                <a:close/>
                <a:moveTo>
                  <a:pt x="30" y="259"/>
                </a:moveTo>
                <a:cubicBezTo>
                  <a:pt x="31" y="258"/>
                  <a:pt x="32" y="262"/>
                  <a:pt x="31" y="262"/>
                </a:cubicBezTo>
                <a:cubicBezTo>
                  <a:pt x="30" y="262"/>
                  <a:pt x="29" y="260"/>
                  <a:pt x="30" y="259"/>
                </a:cubicBezTo>
                <a:close/>
                <a:moveTo>
                  <a:pt x="32" y="282"/>
                </a:moveTo>
                <a:cubicBezTo>
                  <a:pt x="32" y="281"/>
                  <a:pt x="33" y="281"/>
                  <a:pt x="33" y="282"/>
                </a:cubicBezTo>
                <a:cubicBezTo>
                  <a:pt x="33" y="284"/>
                  <a:pt x="29" y="282"/>
                  <a:pt x="32" y="282"/>
                </a:cubicBezTo>
                <a:close/>
                <a:moveTo>
                  <a:pt x="33" y="261"/>
                </a:moveTo>
                <a:cubicBezTo>
                  <a:pt x="33" y="261"/>
                  <a:pt x="32" y="260"/>
                  <a:pt x="33" y="259"/>
                </a:cubicBezTo>
                <a:cubicBezTo>
                  <a:pt x="34" y="259"/>
                  <a:pt x="34" y="261"/>
                  <a:pt x="33" y="261"/>
                </a:cubicBezTo>
                <a:close/>
                <a:moveTo>
                  <a:pt x="34" y="281"/>
                </a:moveTo>
                <a:cubicBezTo>
                  <a:pt x="33" y="279"/>
                  <a:pt x="35" y="278"/>
                  <a:pt x="34" y="281"/>
                </a:cubicBezTo>
                <a:close/>
                <a:moveTo>
                  <a:pt x="35" y="279"/>
                </a:moveTo>
                <a:cubicBezTo>
                  <a:pt x="35" y="280"/>
                  <a:pt x="34" y="277"/>
                  <a:pt x="35" y="277"/>
                </a:cubicBezTo>
                <a:cubicBezTo>
                  <a:pt x="36" y="278"/>
                  <a:pt x="36" y="278"/>
                  <a:pt x="35" y="279"/>
                </a:cubicBezTo>
                <a:close/>
                <a:moveTo>
                  <a:pt x="37" y="226"/>
                </a:moveTo>
                <a:cubicBezTo>
                  <a:pt x="37" y="226"/>
                  <a:pt x="37" y="227"/>
                  <a:pt x="37" y="228"/>
                </a:cubicBezTo>
                <a:cubicBezTo>
                  <a:pt x="37" y="228"/>
                  <a:pt x="36" y="227"/>
                  <a:pt x="37" y="226"/>
                </a:cubicBezTo>
                <a:close/>
                <a:moveTo>
                  <a:pt x="38" y="238"/>
                </a:moveTo>
                <a:cubicBezTo>
                  <a:pt x="37" y="238"/>
                  <a:pt x="37" y="236"/>
                  <a:pt x="38" y="236"/>
                </a:cubicBezTo>
                <a:cubicBezTo>
                  <a:pt x="39" y="235"/>
                  <a:pt x="39" y="238"/>
                  <a:pt x="38" y="238"/>
                </a:cubicBezTo>
                <a:close/>
                <a:moveTo>
                  <a:pt x="40" y="226"/>
                </a:moveTo>
                <a:cubicBezTo>
                  <a:pt x="41" y="226"/>
                  <a:pt x="40" y="228"/>
                  <a:pt x="40" y="228"/>
                </a:cubicBezTo>
                <a:cubicBezTo>
                  <a:pt x="39" y="228"/>
                  <a:pt x="38" y="227"/>
                  <a:pt x="40" y="226"/>
                </a:cubicBezTo>
                <a:close/>
                <a:moveTo>
                  <a:pt x="40" y="265"/>
                </a:moveTo>
                <a:cubicBezTo>
                  <a:pt x="39" y="266"/>
                  <a:pt x="40" y="264"/>
                  <a:pt x="40" y="265"/>
                </a:cubicBezTo>
                <a:close/>
                <a:moveTo>
                  <a:pt x="40" y="249"/>
                </a:moveTo>
                <a:cubicBezTo>
                  <a:pt x="40" y="249"/>
                  <a:pt x="41" y="250"/>
                  <a:pt x="41" y="250"/>
                </a:cubicBezTo>
                <a:cubicBezTo>
                  <a:pt x="40" y="250"/>
                  <a:pt x="40" y="250"/>
                  <a:pt x="40" y="249"/>
                </a:cubicBezTo>
                <a:close/>
                <a:moveTo>
                  <a:pt x="41" y="284"/>
                </a:moveTo>
                <a:cubicBezTo>
                  <a:pt x="40" y="284"/>
                  <a:pt x="39" y="281"/>
                  <a:pt x="40" y="281"/>
                </a:cubicBezTo>
                <a:cubicBezTo>
                  <a:pt x="41" y="280"/>
                  <a:pt x="42" y="283"/>
                  <a:pt x="41" y="284"/>
                </a:cubicBezTo>
                <a:close/>
                <a:moveTo>
                  <a:pt x="40" y="241"/>
                </a:moveTo>
                <a:cubicBezTo>
                  <a:pt x="39" y="241"/>
                  <a:pt x="38" y="238"/>
                  <a:pt x="40" y="237"/>
                </a:cubicBezTo>
                <a:cubicBezTo>
                  <a:pt x="42" y="237"/>
                  <a:pt x="41" y="241"/>
                  <a:pt x="40" y="241"/>
                </a:cubicBezTo>
                <a:close/>
                <a:moveTo>
                  <a:pt x="57" y="241"/>
                </a:moveTo>
                <a:cubicBezTo>
                  <a:pt x="57" y="241"/>
                  <a:pt x="56" y="243"/>
                  <a:pt x="56" y="243"/>
                </a:cubicBezTo>
                <a:cubicBezTo>
                  <a:pt x="56" y="243"/>
                  <a:pt x="56" y="241"/>
                  <a:pt x="57" y="241"/>
                </a:cubicBezTo>
                <a:close/>
                <a:moveTo>
                  <a:pt x="53" y="238"/>
                </a:moveTo>
                <a:cubicBezTo>
                  <a:pt x="56" y="242"/>
                  <a:pt x="53" y="244"/>
                  <a:pt x="53" y="238"/>
                </a:cubicBezTo>
                <a:close/>
                <a:moveTo>
                  <a:pt x="47" y="255"/>
                </a:moveTo>
                <a:cubicBezTo>
                  <a:pt x="46" y="254"/>
                  <a:pt x="48" y="253"/>
                  <a:pt x="47" y="255"/>
                </a:cubicBezTo>
                <a:close/>
                <a:moveTo>
                  <a:pt x="46" y="251"/>
                </a:moveTo>
                <a:cubicBezTo>
                  <a:pt x="47" y="251"/>
                  <a:pt x="47" y="253"/>
                  <a:pt x="46" y="253"/>
                </a:cubicBezTo>
                <a:cubicBezTo>
                  <a:pt x="45" y="253"/>
                  <a:pt x="46" y="251"/>
                  <a:pt x="46" y="251"/>
                </a:cubicBezTo>
                <a:close/>
                <a:moveTo>
                  <a:pt x="42" y="252"/>
                </a:moveTo>
                <a:cubicBezTo>
                  <a:pt x="43" y="251"/>
                  <a:pt x="44" y="254"/>
                  <a:pt x="43" y="254"/>
                </a:cubicBezTo>
                <a:cubicBezTo>
                  <a:pt x="42" y="255"/>
                  <a:pt x="42" y="252"/>
                  <a:pt x="42" y="252"/>
                </a:cubicBezTo>
                <a:close/>
                <a:moveTo>
                  <a:pt x="43" y="259"/>
                </a:moveTo>
                <a:cubicBezTo>
                  <a:pt x="43" y="260"/>
                  <a:pt x="44" y="261"/>
                  <a:pt x="43" y="262"/>
                </a:cubicBezTo>
                <a:cubicBezTo>
                  <a:pt x="42" y="261"/>
                  <a:pt x="42" y="260"/>
                  <a:pt x="43" y="259"/>
                </a:cubicBezTo>
                <a:close/>
                <a:moveTo>
                  <a:pt x="43" y="292"/>
                </a:moveTo>
                <a:cubicBezTo>
                  <a:pt x="43" y="292"/>
                  <a:pt x="43" y="292"/>
                  <a:pt x="44" y="292"/>
                </a:cubicBezTo>
                <a:cubicBezTo>
                  <a:pt x="44" y="292"/>
                  <a:pt x="44" y="292"/>
                  <a:pt x="44" y="292"/>
                </a:cubicBezTo>
                <a:cubicBezTo>
                  <a:pt x="44" y="292"/>
                  <a:pt x="43" y="292"/>
                  <a:pt x="43" y="292"/>
                </a:cubicBezTo>
                <a:close/>
                <a:moveTo>
                  <a:pt x="44" y="265"/>
                </a:moveTo>
                <a:cubicBezTo>
                  <a:pt x="44" y="265"/>
                  <a:pt x="43" y="264"/>
                  <a:pt x="44" y="264"/>
                </a:cubicBezTo>
                <a:cubicBezTo>
                  <a:pt x="44" y="263"/>
                  <a:pt x="45" y="264"/>
                  <a:pt x="44" y="265"/>
                </a:cubicBezTo>
                <a:close/>
                <a:moveTo>
                  <a:pt x="47" y="274"/>
                </a:moveTo>
                <a:cubicBezTo>
                  <a:pt x="46" y="275"/>
                  <a:pt x="44" y="270"/>
                  <a:pt x="46" y="269"/>
                </a:cubicBezTo>
                <a:cubicBezTo>
                  <a:pt x="48" y="269"/>
                  <a:pt x="48" y="274"/>
                  <a:pt x="47" y="274"/>
                </a:cubicBezTo>
                <a:close/>
                <a:moveTo>
                  <a:pt x="48" y="282"/>
                </a:moveTo>
                <a:cubicBezTo>
                  <a:pt x="46" y="280"/>
                  <a:pt x="50" y="279"/>
                  <a:pt x="48" y="282"/>
                </a:cubicBezTo>
                <a:close/>
                <a:moveTo>
                  <a:pt x="51" y="287"/>
                </a:moveTo>
                <a:cubicBezTo>
                  <a:pt x="48" y="289"/>
                  <a:pt x="51" y="281"/>
                  <a:pt x="52" y="285"/>
                </a:cubicBezTo>
                <a:cubicBezTo>
                  <a:pt x="52" y="286"/>
                  <a:pt x="51" y="287"/>
                  <a:pt x="51" y="287"/>
                </a:cubicBezTo>
                <a:close/>
                <a:moveTo>
                  <a:pt x="53" y="285"/>
                </a:moveTo>
                <a:cubicBezTo>
                  <a:pt x="54" y="284"/>
                  <a:pt x="54" y="285"/>
                  <a:pt x="54" y="285"/>
                </a:cubicBezTo>
                <a:cubicBezTo>
                  <a:pt x="53" y="286"/>
                  <a:pt x="54" y="285"/>
                  <a:pt x="53" y="285"/>
                </a:cubicBezTo>
                <a:close/>
                <a:moveTo>
                  <a:pt x="55" y="281"/>
                </a:moveTo>
                <a:cubicBezTo>
                  <a:pt x="54" y="282"/>
                  <a:pt x="56" y="280"/>
                  <a:pt x="55" y="281"/>
                </a:cubicBezTo>
                <a:close/>
                <a:moveTo>
                  <a:pt x="57" y="266"/>
                </a:moveTo>
                <a:cubicBezTo>
                  <a:pt x="56" y="266"/>
                  <a:pt x="54" y="265"/>
                  <a:pt x="54" y="265"/>
                </a:cubicBezTo>
                <a:cubicBezTo>
                  <a:pt x="50" y="263"/>
                  <a:pt x="46" y="255"/>
                  <a:pt x="50" y="252"/>
                </a:cubicBezTo>
                <a:cubicBezTo>
                  <a:pt x="52" y="251"/>
                  <a:pt x="56" y="253"/>
                  <a:pt x="56" y="254"/>
                </a:cubicBezTo>
                <a:cubicBezTo>
                  <a:pt x="56" y="255"/>
                  <a:pt x="56" y="256"/>
                  <a:pt x="56" y="257"/>
                </a:cubicBezTo>
                <a:cubicBezTo>
                  <a:pt x="56" y="258"/>
                  <a:pt x="57" y="258"/>
                  <a:pt x="57" y="258"/>
                </a:cubicBezTo>
                <a:cubicBezTo>
                  <a:pt x="58" y="260"/>
                  <a:pt x="57" y="262"/>
                  <a:pt x="57" y="264"/>
                </a:cubicBezTo>
                <a:cubicBezTo>
                  <a:pt x="57" y="265"/>
                  <a:pt x="57" y="265"/>
                  <a:pt x="57" y="266"/>
                </a:cubicBezTo>
                <a:close/>
                <a:moveTo>
                  <a:pt x="58" y="333"/>
                </a:moveTo>
                <a:cubicBezTo>
                  <a:pt x="58" y="333"/>
                  <a:pt x="57" y="333"/>
                  <a:pt x="57" y="332"/>
                </a:cubicBezTo>
                <a:cubicBezTo>
                  <a:pt x="57" y="331"/>
                  <a:pt x="58" y="332"/>
                  <a:pt x="58" y="333"/>
                </a:cubicBezTo>
                <a:close/>
                <a:moveTo>
                  <a:pt x="64" y="334"/>
                </a:moveTo>
                <a:cubicBezTo>
                  <a:pt x="63" y="334"/>
                  <a:pt x="63" y="333"/>
                  <a:pt x="64" y="332"/>
                </a:cubicBezTo>
                <a:cubicBezTo>
                  <a:pt x="64" y="332"/>
                  <a:pt x="65" y="334"/>
                  <a:pt x="64" y="334"/>
                </a:cubicBezTo>
                <a:close/>
                <a:moveTo>
                  <a:pt x="70" y="242"/>
                </a:moveTo>
                <a:cubicBezTo>
                  <a:pt x="71" y="242"/>
                  <a:pt x="72" y="242"/>
                  <a:pt x="72" y="243"/>
                </a:cubicBezTo>
                <a:cubicBezTo>
                  <a:pt x="72" y="245"/>
                  <a:pt x="68" y="243"/>
                  <a:pt x="70" y="242"/>
                </a:cubicBezTo>
                <a:close/>
                <a:moveTo>
                  <a:pt x="71" y="259"/>
                </a:moveTo>
                <a:cubicBezTo>
                  <a:pt x="70" y="259"/>
                  <a:pt x="70" y="258"/>
                  <a:pt x="70" y="258"/>
                </a:cubicBezTo>
                <a:cubicBezTo>
                  <a:pt x="71" y="257"/>
                  <a:pt x="71" y="259"/>
                  <a:pt x="71" y="259"/>
                </a:cubicBezTo>
                <a:close/>
                <a:moveTo>
                  <a:pt x="68" y="253"/>
                </a:moveTo>
                <a:cubicBezTo>
                  <a:pt x="69" y="252"/>
                  <a:pt x="69" y="254"/>
                  <a:pt x="68" y="254"/>
                </a:cubicBezTo>
                <a:cubicBezTo>
                  <a:pt x="68" y="254"/>
                  <a:pt x="67" y="253"/>
                  <a:pt x="68" y="253"/>
                </a:cubicBezTo>
                <a:close/>
                <a:moveTo>
                  <a:pt x="68" y="246"/>
                </a:moveTo>
                <a:cubicBezTo>
                  <a:pt x="68" y="246"/>
                  <a:pt x="69" y="247"/>
                  <a:pt x="68" y="247"/>
                </a:cubicBezTo>
                <a:cubicBezTo>
                  <a:pt x="68" y="247"/>
                  <a:pt x="67" y="247"/>
                  <a:pt x="68" y="246"/>
                </a:cubicBezTo>
                <a:close/>
                <a:moveTo>
                  <a:pt x="69" y="248"/>
                </a:moveTo>
                <a:cubicBezTo>
                  <a:pt x="68" y="246"/>
                  <a:pt x="69" y="250"/>
                  <a:pt x="69" y="248"/>
                </a:cubicBezTo>
                <a:close/>
                <a:moveTo>
                  <a:pt x="67" y="243"/>
                </a:moveTo>
                <a:cubicBezTo>
                  <a:pt x="68" y="244"/>
                  <a:pt x="68" y="245"/>
                  <a:pt x="69" y="246"/>
                </a:cubicBezTo>
                <a:cubicBezTo>
                  <a:pt x="68" y="246"/>
                  <a:pt x="67" y="244"/>
                  <a:pt x="67" y="243"/>
                </a:cubicBezTo>
                <a:close/>
                <a:moveTo>
                  <a:pt x="67" y="277"/>
                </a:moveTo>
                <a:cubicBezTo>
                  <a:pt x="69" y="275"/>
                  <a:pt x="70" y="280"/>
                  <a:pt x="70" y="282"/>
                </a:cubicBezTo>
                <a:cubicBezTo>
                  <a:pt x="68" y="281"/>
                  <a:pt x="66" y="279"/>
                  <a:pt x="67" y="277"/>
                </a:cubicBezTo>
                <a:close/>
                <a:moveTo>
                  <a:pt x="66" y="267"/>
                </a:moveTo>
                <a:cubicBezTo>
                  <a:pt x="65" y="267"/>
                  <a:pt x="65" y="266"/>
                  <a:pt x="66" y="266"/>
                </a:cubicBezTo>
                <a:cubicBezTo>
                  <a:pt x="67" y="265"/>
                  <a:pt x="66" y="267"/>
                  <a:pt x="66" y="267"/>
                </a:cubicBezTo>
                <a:close/>
                <a:moveTo>
                  <a:pt x="64" y="237"/>
                </a:moveTo>
                <a:cubicBezTo>
                  <a:pt x="65" y="236"/>
                  <a:pt x="66" y="239"/>
                  <a:pt x="65" y="239"/>
                </a:cubicBezTo>
                <a:cubicBezTo>
                  <a:pt x="64" y="239"/>
                  <a:pt x="64" y="238"/>
                  <a:pt x="64" y="237"/>
                </a:cubicBezTo>
                <a:close/>
                <a:moveTo>
                  <a:pt x="64" y="255"/>
                </a:moveTo>
                <a:cubicBezTo>
                  <a:pt x="64" y="255"/>
                  <a:pt x="65" y="256"/>
                  <a:pt x="64" y="257"/>
                </a:cubicBezTo>
                <a:cubicBezTo>
                  <a:pt x="64" y="256"/>
                  <a:pt x="64" y="256"/>
                  <a:pt x="64" y="255"/>
                </a:cubicBezTo>
                <a:close/>
                <a:moveTo>
                  <a:pt x="64" y="265"/>
                </a:moveTo>
                <a:cubicBezTo>
                  <a:pt x="64" y="265"/>
                  <a:pt x="64" y="265"/>
                  <a:pt x="64" y="265"/>
                </a:cubicBezTo>
                <a:cubicBezTo>
                  <a:pt x="65" y="264"/>
                  <a:pt x="62" y="267"/>
                  <a:pt x="64" y="265"/>
                </a:cubicBezTo>
                <a:close/>
                <a:moveTo>
                  <a:pt x="63" y="259"/>
                </a:moveTo>
                <a:cubicBezTo>
                  <a:pt x="64" y="258"/>
                  <a:pt x="64" y="259"/>
                  <a:pt x="64" y="259"/>
                </a:cubicBezTo>
                <a:cubicBezTo>
                  <a:pt x="64" y="260"/>
                  <a:pt x="63" y="259"/>
                  <a:pt x="63" y="259"/>
                </a:cubicBezTo>
                <a:close/>
                <a:moveTo>
                  <a:pt x="59" y="265"/>
                </a:moveTo>
                <a:cubicBezTo>
                  <a:pt x="60" y="265"/>
                  <a:pt x="61" y="268"/>
                  <a:pt x="60" y="269"/>
                </a:cubicBezTo>
                <a:cubicBezTo>
                  <a:pt x="59" y="269"/>
                  <a:pt x="58" y="266"/>
                  <a:pt x="59" y="265"/>
                </a:cubicBezTo>
                <a:close/>
                <a:moveTo>
                  <a:pt x="67" y="342"/>
                </a:moveTo>
                <a:cubicBezTo>
                  <a:pt x="66" y="343"/>
                  <a:pt x="65" y="341"/>
                  <a:pt x="66" y="341"/>
                </a:cubicBezTo>
                <a:cubicBezTo>
                  <a:pt x="67" y="341"/>
                  <a:pt x="67" y="342"/>
                  <a:pt x="67" y="342"/>
                </a:cubicBezTo>
                <a:close/>
                <a:moveTo>
                  <a:pt x="70" y="301"/>
                </a:moveTo>
                <a:cubicBezTo>
                  <a:pt x="70" y="301"/>
                  <a:pt x="69" y="301"/>
                  <a:pt x="69" y="301"/>
                </a:cubicBezTo>
                <a:cubicBezTo>
                  <a:pt x="68" y="302"/>
                  <a:pt x="66" y="299"/>
                  <a:pt x="65" y="297"/>
                </a:cubicBezTo>
                <a:cubicBezTo>
                  <a:pt x="65" y="298"/>
                  <a:pt x="65" y="300"/>
                  <a:pt x="65" y="301"/>
                </a:cubicBezTo>
                <a:cubicBezTo>
                  <a:pt x="65" y="306"/>
                  <a:pt x="63" y="297"/>
                  <a:pt x="63" y="297"/>
                </a:cubicBezTo>
                <a:cubicBezTo>
                  <a:pt x="62" y="291"/>
                  <a:pt x="61" y="287"/>
                  <a:pt x="60" y="282"/>
                </a:cubicBezTo>
                <a:cubicBezTo>
                  <a:pt x="60" y="281"/>
                  <a:pt x="59" y="274"/>
                  <a:pt x="60" y="273"/>
                </a:cubicBezTo>
                <a:cubicBezTo>
                  <a:pt x="61" y="272"/>
                  <a:pt x="62" y="281"/>
                  <a:pt x="63" y="284"/>
                </a:cubicBezTo>
                <a:cubicBezTo>
                  <a:pt x="63" y="288"/>
                  <a:pt x="63" y="291"/>
                  <a:pt x="64" y="293"/>
                </a:cubicBezTo>
                <a:cubicBezTo>
                  <a:pt x="64" y="291"/>
                  <a:pt x="65" y="289"/>
                  <a:pt x="68" y="289"/>
                </a:cubicBezTo>
                <a:cubicBezTo>
                  <a:pt x="73" y="289"/>
                  <a:pt x="72" y="297"/>
                  <a:pt x="70" y="301"/>
                </a:cubicBezTo>
                <a:close/>
                <a:moveTo>
                  <a:pt x="72" y="283"/>
                </a:moveTo>
                <a:cubicBezTo>
                  <a:pt x="72" y="283"/>
                  <a:pt x="72" y="283"/>
                  <a:pt x="72" y="283"/>
                </a:cubicBezTo>
                <a:cubicBezTo>
                  <a:pt x="74" y="282"/>
                  <a:pt x="70" y="285"/>
                  <a:pt x="72" y="283"/>
                </a:cubicBezTo>
                <a:close/>
                <a:moveTo>
                  <a:pt x="25" y="317"/>
                </a:moveTo>
                <a:cubicBezTo>
                  <a:pt x="27" y="317"/>
                  <a:pt x="26" y="320"/>
                  <a:pt x="25" y="320"/>
                </a:cubicBezTo>
                <a:cubicBezTo>
                  <a:pt x="24" y="321"/>
                  <a:pt x="23" y="317"/>
                  <a:pt x="25" y="317"/>
                </a:cubicBezTo>
                <a:close/>
                <a:moveTo>
                  <a:pt x="24" y="294"/>
                </a:moveTo>
                <a:cubicBezTo>
                  <a:pt x="26" y="293"/>
                  <a:pt x="25" y="296"/>
                  <a:pt x="24" y="296"/>
                </a:cubicBezTo>
                <a:cubicBezTo>
                  <a:pt x="23" y="296"/>
                  <a:pt x="23" y="295"/>
                  <a:pt x="24" y="294"/>
                </a:cubicBezTo>
                <a:close/>
                <a:moveTo>
                  <a:pt x="8" y="242"/>
                </a:moveTo>
                <a:cubicBezTo>
                  <a:pt x="9" y="241"/>
                  <a:pt x="9" y="244"/>
                  <a:pt x="8" y="243"/>
                </a:cubicBezTo>
                <a:cubicBezTo>
                  <a:pt x="8" y="243"/>
                  <a:pt x="8" y="242"/>
                  <a:pt x="8" y="242"/>
                </a:cubicBezTo>
                <a:close/>
                <a:moveTo>
                  <a:pt x="2" y="238"/>
                </a:moveTo>
                <a:cubicBezTo>
                  <a:pt x="2" y="237"/>
                  <a:pt x="0" y="239"/>
                  <a:pt x="2" y="238"/>
                </a:cubicBezTo>
                <a:close/>
                <a:moveTo>
                  <a:pt x="2" y="242"/>
                </a:moveTo>
                <a:cubicBezTo>
                  <a:pt x="2" y="242"/>
                  <a:pt x="2" y="241"/>
                  <a:pt x="2" y="241"/>
                </a:cubicBezTo>
                <a:cubicBezTo>
                  <a:pt x="3" y="240"/>
                  <a:pt x="3" y="242"/>
                  <a:pt x="2" y="242"/>
                </a:cubicBezTo>
                <a:close/>
                <a:moveTo>
                  <a:pt x="3" y="351"/>
                </a:moveTo>
                <a:cubicBezTo>
                  <a:pt x="2" y="353"/>
                  <a:pt x="4" y="350"/>
                  <a:pt x="3" y="351"/>
                </a:cubicBezTo>
                <a:close/>
                <a:moveTo>
                  <a:pt x="3" y="442"/>
                </a:moveTo>
                <a:cubicBezTo>
                  <a:pt x="3" y="442"/>
                  <a:pt x="3" y="442"/>
                  <a:pt x="3" y="442"/>
                </a:cubicBezTo>
                <a:cubicBezTo>
                  <a:pt x="4" y="441"/>
                  <a:pt x="1" y="445"/>
                  <a:pt x="3" y="442"/>
                </a:cubicBezTo>
                <a:close/>
                <a:moveTo>
                  <a:pt x="11" y="295"/>
                </a:moveTo>
                <a:cubicBezTo>
                  <a:pt x="13" y="295"/>
                  <a:pt x="12" y="300"/>
                  <a:pt x="11" y="299"/>
                </a:cubicBezTo>
                <a:cubicBezTo>
                  <a:pt x="9" y="299"/>
                  <a:pt x="10" y="295"/>
                  <a:pt x="11" y="295"/>
                </a:cubicBezTo>
                <a:close/>
                <a:moveTo>
                  <a:pt x="9" y="283"/>
                </a:moveTo>
                <a:cubicBezTo>
                  <a:pt x="12" y="283"/>
                  <a:pt x="10" y="288"/>
                  <a:pt x="8" y="288"/>
                </a:cubicBezTo>
                <a:cubicBezTo>
                  <a:pt x="6" y="288"/>
                  <a:pt x="7" y="283"/>
                  <a:pt x="9" y="283"/>
                </a:cubicBezTo>
                <a:close/>
                <a:moveTo>
                  <a:pt x="5" y="239"/>
                </a:moveTo>
                <a:cubicBezTo>
                  <a:pt x="6" y="239"/>
                  <a:pt x="6" y="243"/>
                  <a:pt x="5" y="243"/>
                </a:cubicBezTo>
                <a:cubicBezTo>
                  <a:pt x="4" y="243"/>
                  <a:pt x="3" y="239"/>
                  <a:pt x="5" y="239"/>
                </a:cubicBezTo>
                <a:close/>
                <a:moveTo>
                  <a:pt x="5" y="282"/>
                </a:moveTo>
                <a:cubicBezTo>
                  <a:pt x="4" y="281"/>
                  <a:pt x="7" y="281"/>
                  <a:pt x="5" y="282"/>
                </a:cubicBezTo>
                <a:close/>
                <a:moveTo>
                  <a:pt x="6" y="383"/>
                </a:moveTo>
                <a:cubicBezTo>
                  <a:pt x="5" y="382"/>
                  <a:pt x="7" y="381"/>
                  <a:pt x="6" y="383"/>
                </a:cubicBezTo>
                <a:close/>
                <a:moveTo>
                  <a:pt x="7" y="413"/>
                </a:moveTo>
                <a:cubicBezTo>
                  <a:pt x="7" y="414"/>
                  <a:pt x="7" y="414"/>
                  <a:pt x="7" y="413"/>
                </a:cubicBezTo>
                <a:close/>
                <a:moveTo>
                  <a:pt x="7" y="412"/>
                </a:moveTo>
                <a:cubicBezTo>
                  <a:pt x="6" y="411"/>
                  <a:pt x="8" y="410"/>
                  <a:pt x="7" y="412"/>
                </a:cubicBezTo>
                <a:close/>
                <a:moveTo>
                  <a:pt x="11" y="364"/>
                </a:moveTo>
                <a:cubicBezTo>
                  <a:pt x="9" y="362"/>
                  <a:pt x="12" y="361"/>
                  <a:pt x="11" y="364"/>
                </a:cubicBezTo>
                <a:close/>
                <a:moveTo>
                  <a:pt x="11" y="360"/>
                </a:moveTo>
                <a:cubicBezTo>
                  <a:pt x="10" y="360"/>
                  <a:pt x="11" y="359"/>
                  <a:pt x="11" y="358"/>
                </a:cubicBezTo>
                <a:cubicBezTo>
                  <a:pt x="12" y="359"/>
                  <a:pt x="11" y="360"/>
                  <a:pt x="11" y="360"/>
                </a:cubicBezTo>
                <a:close/>
                <a:moveTo>
                  <a:pt x="12" y="342"/>
                </a:moveTo>
                <a:cubicBezTo>
                  <a:pt x="11" y="344"/>
                  <a:pt x="9" y="343"/>
                  <a:pt x="7" y="345"/>
                </a:cubicBezTo>
                <a:cubicBezTo>
                  <a:pt x="4" y="343"/>
                  <a:pt x="3" y="336"/>
                  <a:pt x="6" y="332"/>
                </a:cubicBezTo>
                <a:cubicBezTo>
                  <a:pt x="10" y="324"/>
                  <a:pt x="16" y="336"/>
                  <a:pt x="12" y="342"/>
                </a:cubicBezTo>
                <a:close/>
                <a:moveTo>
                  <a:pt x="13" y="293"/>
                </a:moveTo>
                <a:cubicBezTo>
                  <a:pt x="12" y="293"/>
                  <a:pt x="12" y="291"/>
                  <a:pt x="13" y="291"/>
                </a:cubicBezTo>
                <a:cubicBezTo>
                  <a:pt x="14" y="292"/>
                  <a:pt x="14" y="294"/>
                  <a:pt x="13" y="293"/>
                </a:cubicBezTo>
                <a:close/>
                <a:moveTo>
                  <a:pt x="20" y="292"/>
                </a:moveTo>
                <a:cubicBezTo>
                  <a:pt x="19" y="292"/>
                  <a:pt x="18" y="288"/>
                  <a:pt x="20" y="288"/>
                </a:cubicBezTo>
                <a:cubicBezTo>
                  <a:pt x="22" y="288"/>
                  <a:pt x="21" y="292"/>
                  <a:pt x="20" y="292"/>
                </a:cubicBezTo>
                <a:close/>
                <a:moveTo>
                  <a:pt x="21" y="325"/>
                </a:moveTo>
                <a:cubicBezTo>
                  <a:pt x="21" y="325"/>
                  <a:pt x="20" y="324"/>
                  <a:pt x="21" y="324"/>
                </a:cubicBezTo>
                <a:cubicBezTo>
                  <a:pt x="22" y="324"/>
                  <a:pt x="22" y="325"/>
                  <a:pt x="21" y="325"/>
                </a:cubicBezTo>
                <a:close/>
                <a:moveTo>
                  <a:pt x="22" y="295"/>
                </a:moveTo>
                <a:cubicBezTo>
                  <a:pt x="21" y="296"/>
                  <a:pt x="21" y="293"/>
                  <a:pt x="21" y="293"/>
                </a:cubicBezTo>
                <a:cubicBezTo>
                  <a:pt x="22" y="292"/>
                  <a:pt x="23" y="295"/>
                  <a:pt x="22" y="295"/>
                </a:cubicBezTo>
                <a:close/>
                <a:moveTo>
                  <a:pt x="26" y="373"/>
                </a:moveTo>
                <a:cubicBezTo>
                  <a:pt x="25" y="372"/>
                  <a:pt x="28" y="371"/>
                  <a:pt x="26" y="373"/>
                </a:cubicBezTo>
                <a:close/>
                <a:moveTo>
                  <a:pt x="27" y="459"/>
                </a:moveTo>
                <a:cubicBezTo>
                  <a:pt x="26" y="458"/>
                  <a:pt x="28" y="457"/>
                  <a:pt x="27" y="459"/>
                </a:cubicBezTo>
                <a:close/>
                <a:moveTo>
                  <a:pt x="31" y="330"/>
                </a:moveTo>
                <a:cubicBezTo>
                  <a:pt x="32" y="329"/>
                  <a:pt x="32" y="332"/>
                  <a:pt x="31" y="332"/>
                </a:cubicBezTo>
                <a:cubicBezTo>
                  <a:pt x="31" y="332"/>
                  <a:pt x="31" y="330"/>
                  <a:pt x="31" y="330"/>
                </a:cubicBezTo>
                <a:close/>
                <a:moveTo>
                  <a:pt x="31" y="465"/>
                </a:moveTo>
                <a:cubicBezTo>
                  <a:pt x="30" y="463"/>
                  <a:pt x="30" y="461"/>
                  <a:pt x="31" y="458"/>
                </a:cubicBezTo>
                <a:cubicBezTo>
                  <a:pt x="32" y="460"/>
                  <a:pt x="31" y="463"/>
                  <a:pt x="31" y="465"/>
                </a:cubicBezTo>
                <a:close/>
                <a:moveTo>
                  <a:pt x="33" y="366"/>
                </a:moveTo>
                <a:cubicBezTo>
                  <a:pt x="32" y="360"/>
                  <a:pt x="31" y="354"/>
                  <a:pt x="31" y="348"/>
                </a:cubicBezTo>
                <a:cubicBezTo>
                  <a:pt x="33" y="353"/>
                  <a:pt x="33" y="362"/>
                  <a:pt x="35" y="369"/>
                </a:cubicBezTo>
                <a:cubicBezTo>
                  <a:pt x="36" y="374"/>
                  <a:pt x="33" y="367"/>
                  <a:pt x="33" y="366"/>
                </a:cubicBezTo>
                <a:close/>
                <a:moveTo>
                  <a:pt x="35" y="330"/>
                </a:moveTo>
                <a:cubicBezTo>
                  <a:pt x="36" y="331"/>
                  <a:pt x="35" y="331"/>
                  <a:pt x="35" y="330"/>
                </a:cubicBezTo>
                <a:close/>
                <a:moveTo>
                  <a:pt x="46" y="336"/>
                </a:moveTo>
                <a:cubicBezTo>
                  <a:pt x="46" y="336"/>
                  <a:pt x="46" y="337"/>
                  <a:pt x="46" y="337"/>
                </a:cubicBezTo>
                <a:cubicBezTo>
                  <a:pt x="46" y="338"/>
                  <a:pt x="45" y="337"/>
                  <a:pt x="46" y="336"/>
                </a:cubicBezTo>
                <a:close/>
                <a:moveTo>
                  <a:pt x="39" y="421"/>
                </a:moveTo>
                <a:cubicBezTo>
                  <a:pt x="38" y="420"/>
                  <a:pt x="40" y="419"/>
                  <a:pt x="39" y="421"/>
                </a:cubicBezTo>
                <a:close/>
                <a:moveTo>
                  <a:pt x="40" y="416"/>
                </a:moveTo>
                <a:cubicBezTo>
                  <a:pt x="38" y="417"/>
                  <a:pt x="39" y="414"/>
                  <a:pt x="39" y="414"/>
                </a:cubicBezTo>
                <a:cubicBezTo>
                  <a:pt x="40" y="414"/>
                  <a:pt x="39" y="415"/>
                  <a:pt x="40" y="416"/>
                </a:cubicBezTo>
                <a:close/>
                <a:moveTo>
                  <a:pt x="43" y="333"/>
                </a:moveTo>
                <a:cubicBezTo>
                  <a:pt x="43" y="333"/>
                  <a:pt x="42" y="334"/>
                  <a:pt x="42" y="334"/>
                </a:cubicBezTo>
                <a:cubicBezTo>
                  <a:pt x="41" y="335"/>
                  <a:pt x="42" y="332"/>
                  <a:pt x="43" y="333"/>
                </a:cubicBezTo>
                <a:close/>
                <a:moveTo>
                  <a:pt x="43" y="405"/>
                </a:moveTo>
                <a:cubicBezTo>
                  <a:pt x="43" y="407"/>
                  <a:pt x="44" y="410"/>
                  <a:pt x="43" y="411"/>
                </a:cubicBezTo>
                <a:cubicBezTo>
                  <a:pt x="42" y="411"/>
                  <a:pt x="42" y="407"/>
                  <a:pt x="43" y="405"/>
                </a:cubicBezTo>
                <a:close/>
                <a:moveTo>
                  <a:pt x="43" y="446"/>
                </a:moveTo>
                <a:cubicBezTo>
                  <a:pt x="43" y="447"/>
                  <a:pt x="42" y="448"/>
                  <a:pt x="43" y="446"/>
                </a:cubicBezTo>
                <a:close/>
                <a:moveTo>
                  <a:pt x="43" y="449"/>
                </a:moveTo>
                <a:cubicBezTo>
                  <a:pt x="43" y="449"/>
                  <a:pt x="44" y="450"/>
                  <a:pt x="44" y="450"/>
                </a:cubicBezTo>
                <a:cubicBezTo>
                  <a:pt x="43" y="451"/>
                  <a:pt x="42" y="450"/>
                  <a:pt x="43" y="449"/>
                </a:cubicBezTo>
                <a:close/>
                <a:moveTo>
                  <a:pt x="43" y="404"/>
                </a:moveTo>
                <a:cubicBezTo>
                  <a:pt x="42" y="404"/>
                  <a:pt x="43" y="394"/>
                  <a:pt x="43" y="395"/>
                </a:cubicBezTo>
                <a:cubicBezTo>
                  <a:pt x="44" y="397"/>
                  <a:pt x="45" y="401"/>
                  <a:pt x="43" y="404"/>
                </a:cubicBezTo>
                <a:close/>
                <a:moveTo>
                  <a:pt x="44" y="379"/>
                </a:moveTo>
                <a:cubicBezTo>
                  <a:pt x="44" y="379"/>
                  <a:pt x="44" y="379"/>
                  <a:pt x="44" y="379"/>
                </a:cubicBezTo>
                <a:cubicBezTo>
                  <a:pt x="44" y="379"/>
                  <a:pt x="44" y="379"/>
                  <a:pt x="44" y="379"/>
                </a:cubicBezTo>
                <a:cubicBezTo>
                  <a:pt x="44" y="379"/>
                  <a:pt x="44" y="379"/>
                  <a:pt x="44" y="379"/>
                </a:cubicBezTo>
                <a:close/>
                <a:moveTo>
                  <a:pt x="46" y="410"/>
                </a:moveTo>
                <a:cubicBezTo>
                  <a:pt x="44" y="409"/>
                  <a:pt x="44" y="404"/>
                  <a:pt x="47" y="405"/>
                </a:cubicBezTo>
                <a:cubicBezTo>
                  <a:pt x="49" y="406"/>
                  <a:pt x="48" y="410"/>
                  <a:pt x="46" y="410"/>
                </a:cubicBezTo>
                <a:close/>
                <a:moveTo>
                  <a:pt x="48" y="365"/>
                </a:moveTo>
                <a:cubicBezTo>
                  <a:pt x="45" y="365"/>
                  <a:pt x="45" y="360"/>
                  <a:pt x="47" y="360"/>
                </a:cubicBezTo>
                <a:cubicBezTo>
                  <a:pt x="50" y="360"/>
                  <a:pt x="49" y="365"/>
                  <a:pt x="48" y="365"/>
                </a:cubicBezTo>
                <a:close/>
                <a:moveTo>
                  <a:pt x="52" y="444"/>
                </a:moveTo>
                <a:cubicBezTo>
                  <a:pt x="51" y="444"/>
                  <a:pt x="50" y="442"/>
                  <a:pt x="51" y="441"/>
                </a:cubicBezTo>
                <a:cubicBezTo>
                  <a:pt x="52" y="440"/>
                  <a:pt x="52" y="444"/>
                  <a:pt x="52" y="444"/>
                </a:cubicBezTo>
                <a:close/>
                <a:moveTo>
                  <a:pt x="55" y="387"/>
                </a:moveTo>
                <a:cubicBezTo>
                  <a:pt x="56" y="388"/>
                  <a:pt x="55" y="389"/>
                  <a:pt x="55" y="390"/>
                </a:cubicBezTo>
                <a:cubicBezTo>
                  <a:pt x="55" y="389"/>
                  <a:pt x="54" y="388"/>
                  <a:pt x="55" y="387"/>
                </a:cubicBezTo>
                <a:close/>
                <a:moveTo>
                  <a:pt x="54" y="397"/>
                </a:moveTo>
                <a:cubicBezTo>
                  <a:pt x="55" y="396"/>
                  <a:pt x="55" y="399"/>
                  <a:pt x="54" y="399"/>
                </a:cubicBezTo>
                <a:cubicBezTo>
                  <a:pt x="54" y="400"/>
                  <a:pt x="52" y="397"/>
                  <a:pt x="54" y="397"/>
                </a:cubicBezTo>
                <a:close/>
                <a:moveTo>
                  <a:pt x="55" y="464"/>
                </a:moveTo>
                <a:cubicBezTo>
                  <a:pt x="54" y="459"/>
                  <a:pt x="54" y="453"/>
                  <a:pt x="54" y="448"/>
                </a:cubicBezTo>
                <a:cubicBezTo>
                  <a:pt x="56" y="453"/>
                  <a:pt x="56" y="459"/>
                  <a:pt x="55" y="464"/>
                </a:cubicBezTo>
                <a:close/>
                <a:moveTo>
                  <a:pt x="57" y="480"/>
                </a:moveTo>
                <a:cubicBezTo>
                  <a:pt x="56" y="476"/>
                  <a:pt x="56" y="471"/>
                  <a:pt x="56" y="467"/>
                </a:cubicBezTo>
                <a:cubicBezTo>
                  <a:pt x="56" y="471"/>
                  <a:pt x="58" y="475"/>
                  <a:pt x="57" y="480"/>
                </a:cubicBezTo>
                <a:close/>
                <a:moveTo>
                  <a:pt x="64" y="450"/>
                </a:moveTo>
                <a:cubicBezTo>
                  <a:pt x="63" y="451"/>
                  <a:pt x="64" y="449"/>
                  <a:pt x="64" y="450"/>
                </a:cubicBezTo>
                <a:close/>
                <a:moveTo>
                  <a:pt x="71" y="454"/>
                </a:moveTo>
                <a:cubicBezTo>
                  <a:pt x="72" y="455"/>
                  <a:pt x="70" y="456"/>
                  <a:pt x="71" y="454"/>
                </a:cubicBezTo>
                <a:close/>
                <a:moveTo>
                  <a:pt x="75" y="408"/>
                </a:moveTo>
                <a:cubicBezTo>
                  <a:pt x="75" y="408"/>
                  <a:pt x="75" y="408"/>
                  <a:pt x="75" y="408"/>
                </a:cubicBezTo>
                <a:cubicBezTo>
                  <a:pt x="75" y="408"/>
                  <a:pt x="75" y="408"/>
                  <a:pt x="75" y="408"/>
                </a:cubicBezTo>
                <a:cubicBezTo>
                  <a:pt x="75" y="408"/>
                  <a:pt x="75" y="408"/>
                  <a:pt x="75" y="408"/>
                </a:cubicBezTo>
                <a:close/>
                <a:moveTo>
                  <a:pt x="80" y="382"/>
                </a:moveTo>
                <a:cubicBezTo>
                  <a:pt x="80" y="382"/>
                  <a:pt x="80" y="382"/>
                  <a:pt x="80" y="382"/>
                </a:cubicBezTo>
                <a:cubicBezTo>
                  <a:pt x="80" y="382"/>
                  <a:pt x="80" y="382"/>
                  <a:pt x="80" y="382"/>
                </a:cubicBezTo>
                <a:cubicBezTo>
                  <a:pt x="80" y="382"/>
                  <a:pt x="80" y="382"/>
                  <a:pt x="80" y="382"/>
                </a:cubicBezTo>
                <a:close/>
                <a:moveTo>
                  <a:pt x="78" y="214"/>
                </a:moveTo>
                <a:cubicBezTo>
                  <a:pt x="78" y="214"/>
                  <a:pt x="78" y="212"/>
                  <a:pt x="78" y="212"/>
                </a:cubicBezTo>
                <a:cubicBezTo>
                  <a:pt x="78" y="211"/>
                  <a:pt x="79" y="213"/>
                  <a:pt x="78" y="214"/>
                </a:cubicBezTo>
                <a:close/>
                <a:moveTo>
                  <a:pt x="78" y="214"/>
                </a:moveTo>
                <a:cubicBezTo>
                  <a:pt x="79" y="214"/>
                  <a:pt x="78" y="216"/>
                  <a:pt x="78" y="216"/>
                </a:cubicBezTo>
                <a:cubicBezTo>
                  <a:pt x="78" y="216"/>
                  <a:pt x="77" y="215"/>
                  <a:pt x="78" y="214"/>
                </a:cubicBezTo>
                <a:close/>
                <a:moveTo>
                  <a:pt x="76" y="204"/>
                </a:moveTo>
                <a:cubicBezTo>
                  <a:pt x="77" y="205"/>
                  <a:pt x="77" y="206"/>
                  <a:pt x="77" y="208"/>
                </a:cubicBezTo>
                <a:cubicBezTo>
                  <a:pt x="77" y="207"/>
                  <a:pt x="75" y="206"/>
                  <a:pt x="76" y="204"/>
                </a:cubicBezTo>
                <a:close/>
                <a:moveTo>
                  <a:pt x="76" y="221"/>
                </a:moveTo>
                <a:cubicBezTo>
                  <a:pt x="76" y="221"/>
                  <a:pt x="76" y="221"/>
                  <a:pt x="76" y="221"/>
                </a:cubicBezTo>
                <a:cubicBezTo>
                  <a:pt x="76" y="222"/>
                  <a:pt x="75" y="221"/>
                  <a:pt x="76" y="221"/>
                </a:cubicBezTo>
                <a:close/>
                <a:moveTo>
                  <a:pt x="77" y="253"/>
                </a:moveTo>
                <a:cubicBezTo>
                  <a:pt x="77" y="254"/>
                  <a:pt x="75" y="251"/>
                  <a:pt x="76" y="251"/>
                </a:cubicBezTo>
                <a:cubicBezTo>
                  <a:pt x="77" y="251"/>
                  <a:pt x="78" y="253"/>
                  <a:pt x="77" y="253"/>
                </a:cubicBezTo>
                <a:close/>
                <a:moveTo>
                  <a:pt x="76" y="260"/>
                </a:moveTo>
                <a:cubicBezTo>
                  <a:pt x="79" y="259"/>
                  <a:pt x="79" y="264"/>
                  <a:pt x="77" y="265"/>
                </a:cubicBezTo>
                <a:cubicBezTo>
                  <a:pt x="75" y="266"/>
                  <a:pt x="74" y="261"/>
                  <a:pt x="76" y="260"/>
                </a:cubicBezTo>
                <a:close/>
                <a:moveTo>
                  <a:pt x="78" y="258"/>
                </a:moveTo>
                <a:cubicBezTo>
                  <a:pt x="77" y="257"/>
                  <a:pt x="79" y="256"/>
                  <a:pt x="78" y="258"/>
                </a:cubicBezTo>
                <a:close/>
                <a:moveTo>
                  <a:pt x="76" y="353"/>
                </a:moveTo>
                <a:cubicBezTo>
                  <a:pt x="75" y="353"/>
                  <a:pt x="74" y="351"/>
                  <a:pt x="75" y="351"/>
                </a:cubicBezTo>
                <a:cubicBezTo>
                  <a:pt x="75" y="351"/>
                  <a:pt x="76" y="353"/>
                  <a:pt x="76" y="353"/>
                </a:cubicBezTo>
                <a:close/>
                <a:moveTo>
                  <a:pt x="79" y="279"/>
                </a:moveTo>
                <a:cubicBezTo>
                  <a:pt x="79" y="278"/>
                  <a:pt x="81" y="279"/>
                  <a:pt x="81" y="278"/>
                </a:cubicBezTo>
                <a:cubicBezTo>
                  <a:pt x="81" y="277"/>
                  <a:pt x="80" y="276"/>
                  <a:pt x="79" y="276"/>
                </a:cubicBezTo>
                <a:cubicBezTo>
                  <a:pt x="78" y="276"/>
                  <a:pt x="78" y="278"/>
                  <a:pt x="77" y="277"/>
                </a:cubicBezTo>
                <a:cubicBezTo>
                  <a:pt x="78" y="278"/>
                  <a:pt x="77" y="279"/>
                  <a:pt x="77" y="277"/>
                </a:cubicBezTo>
                <a:cubicBezTo>
                  <a:pt x="76" y="277"/>
                  <a:pt x="77" y="276"/>
                  <a:pt x="77" y="275"/>
                </a:cubicBezTo>
                <a:cubicBezTo>
                  <a:pt x="76" y="274"/>
                  <a:pt x="76" y="274"/>
                  <a:pt x="76" y="272"/>
                </a:cubicBezTo>
                <a:cubicBezTo>
                  <a:pt x="76" y="271"/>
                  <a:pt x="79" y="267"/>
                  <a:pt x="81" y="270"/>
                </a:cubicBezTo>
                <a:cubicBezTo>
                  <a:pt x="82" y="273"/>
                  <a:pt x="83" y="278"/>
                  <a:pt x="81" y="280"/>
                </a:cubicBezTo>
                <a:cubicBezTo>
                  <a:pt x="81" y="281"/>
                  <a:pt x="78" y="281"/>
                  <a:pt x="79" y="279"/>
                </a:cubicBezTo>
                <a:close/>
                <a:moveTo>
                  <a:pt x="82" y="357"/>
                </a:moveTo>
                <a:cubicBezTo>
                  <a:pt x="82" y="358"/>
                  <a:pt x="82" y="358"/>
                  <a:pt x="82" y="359"/>
                </a:cubicBezTo>
                <a:cubicBezTo>
                  <a:pt x="82" y="359"/>
                  <a:pt x="82" y="358"/>
                  <a:pt x="82" y="357"/>
                </a:cubicBezTo>
                <a:close/>
                <a:moveTo>
                  <a:pt x="81" y="298"/>
                </a:moveTo>
                <a:cubicBezTo>
                  <a:pt x="82" y="299"/>
                  <a:pt x="83" y="302"/>
                  <a:pt x="83" y="304"/>
                </a:cubicBezTo>
                <a:cubicBezTo>
                  <a:pt x="81" y="302"/>
                  <a:pt x="82" y="300"/>
                  <a:pt x="81" y="298"/>
                </a:cubicBezTo>
                <a:close/>
                <a:moveTo>
                  <a:pt x="81" y="240"/>
                </a:moveTo>
                <a:cubicBezTo>
                  <a:pt x="83" y="236"/>
                  <a:pt x="78" y="238"/>
                  <a:pt x="77" y="238"/>
                </a:cubicBezTo>
                <a:cubicBezTo>
                  <a:pt x="76" y="236"/>
                  <a:pt x="78" y="233"/>
                  <a:pt x="78" y="230"/>
                </a:cubicBezTo>
                <a:cubicBezTo>
                  <a:pt x="78" y="229"/>
                  <a:pt x="76" y="224"/>
                  <a:pt x="77" y="223"/>
                </a:cubicBezTo>
                <a:cubicBezTo>
                  <a:pt x="79" y="223"/>
                  <a:pt x="79" y="229"/>
                  <a:pt x="79" y="229"/>
                </a:cubicBezTo>
                <a:cubicBezTo>
                  <a:pt x="80" y="230"/>
                  <a:pt x="83" y="226"/>
                  <a:pt x="84" y="226"/>
                </a:cubicBezTo>
                <a:cubicBezTo>
                  <a:pt x="92" y="224"/>
                  <a:pt x="89" y="237"/>
                  <a:pt x="87" y="241"/>
                </a:cubicBezTo>
                <a:cubicBezTo>
                  <a:pt x="84" y="246"/>
                  <a:pt x="86" y="236"/>
                  <a:pt x="81" y="240"/>
                </a:cubicBezTo>
                <a:close/>
                <a:moveTo>
                  <a:pt x="83" y="303"/>
                </a:moveTo>
                <a:cubicBezTo>
                  <a:pt x="83" y="302"/>
                  <a:pt x="85" y="304"/>
                  <a:pt x="84" y="304"/>
                </a:cubicBezTo>
                <a:cubicBezTo>
                  <a:pt x="84" y="304"/>
                  <a:pt x="83" y="303"/>
                  <a:pt x="83" y="303"/>
                </a:cubicBezTo>
                <a:close/>
                <a:moveTo>
                  <a:pt x="84" y="307"/>
                </a:moveTo>
                <a:cubicBezTo>
                  <a:pt x="83" y="306"/>
                  <a:pt x="84" y="305"/>
                  <a:pt x="84" y="307"/>
                </a:cubicBezTo>
                <a:close/>
                <a:moveTo>
                  <a:pt x="85" y="311"/>
                </a:moveTo>
                <a:cubicBezTo>
                  <a:pt x="84" y="311"/>
                  <a:pt x="84" y="309"/>
                  <a:pt x="84" y="308"/>
                </a:cubicBezTo>
                <a:cubicBezTo>
                  <a:pt x="84" y="309"/>
                  <a:pt x="85" y="310"/>
                  <a:pt x="85" y="311"/>
                </a:cubicBezTo>
                <a:close/>
                <a:moveTo>
                  <a:pt x="83" y="365"/>
                </a:moveTo>
                <a:cubicBezTo>
                  <a:pt x="84" y="366"/>
                  <a:pt x="83" y="367"/>
                  <a:pt x="84" y="368"/>
                </a:cubicBezTo>
                <a:cubicBezTo>
                  <a:pt x="83" y="368"/>
                  <a:pt x="83" y="366"/>
                  <a:pt x="83" y="365"/>
                </a:cubicBezTo>
                <a:close/>
                <a:moveTo>
                  <a:pt x="84" y="329"/>
                </a:moveTo>
                <a:cubicBezTo>
                  <a:pt x="85" y="329"/>
                  <a:pt x="86" y="330"/>
                  <a:pt x="85" y="331"/>
                </a:cubicBezTo>
                <a:cubicBezTo>
                  <a:pt x="84" y="331"/>
                  <a:pt x="84" y="329"/>
                  <a:pt x="84" y="329"/>
                </a:cubicBezTo>
                <a:close/>
                <a:moveTo>
                  <a:pt x="85" y="377"/>
                </a:moveTo>
                <a:cubicBezTo>
                  <a:pt x="84" y="377"/>
                  <a:pt x="85" y="376"/>
                  <a:pt x="85" y="375"/>
                </a:cubicBezTo>
                <a:cubicBezTo>
                  <a:pt x="84" y="374"/>
                  <a:pt x="85" y="376"/>
                  <a:pt x="85" y="377"/>
                </a:cubicBezTo>
                <a:close/>
                <a:moveTo>
                  <a:pt x="85" y="378"/>
                </a:moveTo>
                <a:cubicBezTo>
                  <a:pt x="85" y="378"/>
                  <a:pt x="85" y="379"/>
                  <a:pt x="85" y="380"/>
                </a:cubicBezTo>
                <a:cubicBezTo>
                  <a:pt x="85" y="380"/>
                  <a:pt x="85" y="378"/>
                  <a:pt x="85" y="378"/>
                </a:cubicBezTo>
                <a:close/>
                <a:moveTo>
                  <a:pt x="86" y="260"/>
                </a:moveTo>
                <a:cubicBezTo>
                  <a:pt x="84" y="260"/>
                  <a:pt x="83" y="256"/>
                  <a:pt x="87" y="256"/>
                </a:cubicBezTo>
                <a:cubicBezTo>
                  <a:pt x="89" y="256"/>
                  <a:pt x="88" y="261"/>
                  <a:pt x="86" y="260"/>
                </a:cubicBezTo>
                <a:close/>
                <a:moveTo>
                  <a:pt x="90" y="332"/>
                </a:moveTo>
                <a:cubicBezTo>
                  <a:pt x="89" y="332"/>
                  <a:pt x="88" y="328"/>
                  <a:pt x="90" y="328"/>
                </a:cubicBezTo>
                <a:cubicBezTo>
                  <a:pt x="90" y="328"/>
                  <a:pt x="90" y="331"/>
                  <a:pt x="90" y="332"/>
                </a:cubicBezTo>
                <a:close/>
                <a:moveTo>
                  <a:pt x="91" y="222"/>
                </a:moveTo>
                <a:cubicBezTo>
                  <a:pt x="91" y="223"/>
                  <a:pt x="91" y="224"/>
                  <a:pt x="91" y="225"/>
                </a:cubicBezTo>
                <a:cubicBezTo>
                  <a:pt x="90" y="224"/>
                  <a:pt x="90" y="223"/>
                  <a:pt x="91" y="222"/>
                </a:cubicBezTo>
                <a:close/>
                <a:moveTo>
                  <a:pt x="91" y="228"/>
                </a:moveTo>
                <a:cubicBezTo>
                  <a:pt x="91" y="229"/>
                  <a:pt x="90" y="228"/>
                  <a:pt x="91" y="227"/>
                </a:cubicBezTo>
                <a:cubicBezTo>
                  <a:pt x="91" y="227"/>
                  <a:pt x="92" y="228"/>
                  <a:pt x="91" y="228"/>
                </a:cubicBezTo>
                <a:close/>
                <a:moveTo>
                  <a:pt x="158" y="205"/>
                </a:moveTo>
                <a:cubicBezTo>
                  <a:pt x="159" y="205"/>
                  <a:pt x="159" y="208"/>
                  <a:pt x="158" y="208"/>
                </a:cubicBezTo>
                <a:cubicBezTo>
                  <a:pt x="158" y="208"/>
                  <a:pt x="157" y="206"/>
                  <a:pt x="158" y="205"/>
                </a:cubicBezTo>
                <a:close/>
                <a:moveTo>
                  <a:pt x="154" y="169"/>
                </a:moveTo>
                <a:cubicBezTo>
                  <a:pt x="155" y="168"/>
                  <a:pt x="155" y="171"/>
                  <a:pt x="154" y="171"/>
                </a:cubicBezTo>
                <a:cubicBezTo>
                  <a:pt x="154" y="171"/>
                  <a:pt x="153" y="170"/>
                  <a:pt x="154" y="169"/>
                </a:cubicBezTo>
                <a:close/>
                <a:moveTo>
                  <a:pt x="155" y="227"/>
                </a:moveTo>
                <a:cubicBezTo>
                  <a:pt x="154" y="227"/>
                  <a:pt x="153" y="225"/>
                  <a:pt x="154" y="225"/>
                </a:cubicBezTo>
                <a:cubicBezTo>
                  <a:pt x="155" y="224"/>
                  <a:pt x="155" y="227"/>
                  <a:pt x="155" y="227"/>
                </a:cubicBezTo>
                <a:close/>
                <a:moveTo>
                  <a:pt x="154" y="181"/>
                </a:moveTo>
                <a:cubicBezTo>
                  <a:pt x="154" y="181"/>
                  <a:pt x="155" y="182"/>
                  <a:pt x="154" y="182"/>
                </a:cubicBezTo>
                <a:cubicBezTo>
                  <a:pt x="153" y="183"/>
                  <a:pt x="153" y="182"/>
                  <a:pt x="154" y="181"/>
                </a:cubicBezTo>
                <a:close/>
                <a:moveTo>
                  <a:pt x="150" y="242"/>
                </a:moveTo>
                <a:cubicBezTo>
                  <a:pt x="149" y="242"/>
                  <a:pt x="150" y="241"/>
                  <a:pt x="150" y="241"/>
                </a:cubicBezTo>
                <a:cubicBezTo>
                  <a:pt x="150" y="240"/>
                  <a:pt x="150" y="242"/>
                  <a:pt x="150" y="242"/>
                </a:cubicBezTo>
                <a:close/>
                <a:moveTo>
                  <a:pt x="149" y="249"/>
                </a:moveTo>
                <a:cubicBezTo>
                  <a:pt x="149" y="249"/>
                  <a:pt x="150" y="251"/>
                  <a:pt x="150" y="251"/>
                </a:cubicBezTo>
                <a:cubicBezTo>
                  <a:pt x="149" y="251"/>
                  <a:pt x="149" y="249"/>
                  <a:pt x="149" y="249"/>
                </a:cubicBezTo>
                <a:close/>
                <a:moveTo>
                  <a:pt x="150" y="301"/>
                </a:moveTo>
                <a:cubicBezTo>
                  <a:pt x="149" y="300"/>
                  <a:pt x="149" y="299"/>
                  <a:pt x="149" y="299"/>
                </a:cubicBezTo>
                <a:cubicBezTo>
                  <a:pt x="149" y="299"/>
                  <a:pt x="150" y="300"/>
                  <a:pt x="150" y="301"/>
                </a:cubicBezTo>
                <a:close/>
                <a:moveTo>
                  <a:pt x="149" y="200"/>
                </a:moveTo>
                <a:cubicBezTo>
                  <a:pt x="151" y="199"/>
                  <a:pt x="150" y="203"/>
                  <a:pt x="149" y="203"/>
                </a:cubicBezTo>
                <a:cubicBezTo>
                  <a:pt x="148" y="202"/>
                  <a:pt x="148" y="200"/>
                  <a:pt x="149" y="200"/>
                </a:cubicBezTo>
                <a:close/>
                <a:moveTo>
                  <a:pt x="148" y="231"/>
                </a:moveTo>
                <a:cubicBezTo>
                  <a:pt x="148" y="232"/>
                  <a:pt x="147" y="231"/>
                  <a:pt x="147" y="231"/>
                </a:cubicBezTo>
                <a:cubicBezTo>
                  <a:pt x="147" y="231"/>
                  <a:pt x="148" y="231"/>
                  <a:pt x="148" y="231"/>
                </a:cubicBezTo>
                <a:close/>
                <a:moveTo>
                  <a:pt x="147" y="333"/>
                </a:moveTo>
                <a:cubicBezTo>
                  <a:pt x="146" y="334"/>
                  <a:pt x="149" y="333"/>
                  <a:pt x="147" y="333"/>
                </a:cubicBezTo>
                <a:close/>
                <a:moveTo>
                  <a:pt x="146" y="173"/>
                </a:moveTo>
                <a:cubicBezTo>
                  <a:pt x="146" y="173"/>
                  <a:pt x="146" y="172"/>
                  <a:pt x="146" y="172"/>
                </a:cubicBezTo>
                <a:cubicBezTo>
                  <a:pt x="148" y="172"/>
                  <a:pt x="144" y="175"/>
                  <a:pt x="146" y="173"/>
                </a:cubicBezTo>
                <a:close/>
                <a:moveTo>
                  <a:pt x="145" y="190"/>
                </a:moveTo>
                <a:cubicBezTo>
                  <a:pt x="145" y="190"/>
                  <a:pt x="146" y="190"/>
                  <a:pt x="146" y="190"/>
                </a:cubicBezTo>
                <a:cubicBezTo>
                  <a:pt x="148" y="189"/>
                  <a:pt x="144" y="192"/>
                  <a:pt x="145" y="190"/>
                </a:cubicBezTo>
                <a:close/>
                <a:moveTo>
                  <a:pt x="144" y="178"/>
                </a:moveTo>
                <a:cubicBezTo>
                  <a:pt x="145" y="178"/>
                  <a:pt x="145" y="180"/>
                  <a:pt x="144" y="180"/>
                </a:cubicBezTo>
                <a:cubicBezTo>
                  <a:pt x="144" y="180"/>
                  <a:pt x="143" y="178"/>
                  <a:pt x="144" y="178"/>
                </a:cubicBezTo>
                <a:close/>
                <a:moveTo>
                  <a:pt x="145" y="222"/>
                </a:moveTo>
                <a:cubicBezTo>
                  <a:pt x="145" y="221"/>
                  <a:pt x="146" y="220"/>
                  <a:pt x="147" y="221"/>
                </a:cubicBezTo>
                <a:cubicBezTo>
                  <a:pt x="148" y="221"/>
                  <a:pt x="148" y="224"/>
                  <a:pt x="147" y="224"/>
                </a:cubicBezTo>
                <a:cubicBezTo>
                  <a:pt x="146" y="224"/>
                  <a:pt x="146" y="223"/>
                  <a:pt x="145" y="222"/>
                </a:cubicBezTo>
                <a:cubicBezTo>
                  <a:pt x="145" y="222"/>
                  <a:pt x="145" y="222"/>
                  <a:pt x="145" y="222"/>
                </a:cubicBezTo>
                <a:cubicBezTo>
                  <a:pt x="144" y="221"/>
                  <a:pt x="144" y="219"/>
                  <a:pt x="143" y="217"/>
                </a:cubicBezTo>
                <a:cubicBezTo>
                  <a:pt x="144" y="218"/>
                  <a:pt x="145" y="220"/>
                  <a:pt x="145" y="222"/>
                </a:cubicBezTo>
                <a:close/>
                <a:moveTo>
                  <a:pt x="145" y="245"/>
                </a:moveTo>
                <a:cubicBezTo>
                  <a:pt x="147" y="244"/>
                  <a:pt x="146" y="248"/>
                  <a:pt x="145" y="248"/>
                </a:cubicBezTo>
                <a:cubicBezTo>
                  <a:pt x="144" y="248"/>
                  <a:pt x="143" y="246"/>
                  <a:pt x="145" y="245"/>
                </a:cubicBezTo>
                <a:close/>
                <a:moveTo>
                  <a:pt x="145" y="314"/>
                </a:moveTo>
                <a:cubicBezTo>
                  <a:pt x="145" y="314"/>
                  <a:pt x="144" y="313"/>
                  <a:pt x="144" y="312"/>
                </a:cubicBezTo>
                <a:cubicBezTo>
                  <a:pt x="144" y="311"/>
                  <a:pt x="145" y="314"/>
                  <a:pt x="145" y="314"/>
                </a:cubicBezTo>
                <a:close/>
                <a:moveTo>
                  <a:pt x="141" y="194"/>
                </a:moveTo>
                <a:cubicBezTo>
                  <a:pt x="141" y="194"/>
                  <a:pt x="140" y="193"/>
                  <a:pt x="140" y="193"/>
                </a:cubicBezTo>
                <a:cubicBezTo>
                  <a:pt x="140" y="192"/>
                  <a:pt x="142" y="194"/>
                  <a:pt x="141" y="194"/>
                </a:cubicBezTo>
                <a:close/>
                <a:moveTo>
                  <a:pt x="142" y="199"/>
                </a:moveTo>
                <a:cubicBezTo>
                  <a:pt x="141" y="199"/>
                  <a:pt x="141" y="198"/>
                  <a:pt x="141" y="197"/>
                </a:cubicBezTo>
                <a:cubicBezTo>
                  <a:pt x="141" y="197"/>
                  <a:pt x="142" y="198"/>
                  <a:pt x="142" y="199"/>
                </a:cubicBezTo>
                <a:close/>
                <a:moveTo>
                  <a:pt x="142" y="216"/>
                </a:moveTo>
                <a:cubicBezTo>
                  <a:pt x="141" y="214"/>
                  <a:pt x="140" y="211"/>
                  <a:pt x="139" y="209"/>
                </a:cubicBezTo>
                <a:cubicBezTo>
                  <a:pt x="141" y="210"/>
                  <a:pt x="142" y="214"/>
                  <a:pt x="142" y="216"/>
                </a:cubicBezTo>
                <a:close/>
                <a:moveTo>
                  <a:pt x="141" y="232"/>
                </a:moveTo>
                <a:cubicBezTo>
                  <a:pt x="141" y="233"/>
                  <a:pt x="141" y="231"/>
                  <a:pt x="141" y="232"/>
                </a:cubicBezTo>
                <a:close/>
                <a:moveTo>
                  <a:pt x="140" y="226"/>
                </a:moveTo>
                <a:cubicBezTo>
                  <a:pt x="139" y="224"/>
                  <a:pt x="140" y="224"/>
                  <a:pt x="140" y="226"/>
                </a:cubicBezTo>
                <a:close/>
                <a:moveTo>
                  <a:pt x="134" y="215"/>
                </a:moveTo>
                <a:cubicBezTo>
                  <a:pt x="134" y="216"/>
                  <a:pt x="133" y="215"/>
                  <a:pt x="133" y="215"/>
                </a:cubicBezTo>
                <a:cubicBezTo>
                  <a:pt x="133" y="214"/>
                  <a:pt x="134" y="215"/>
                  <a:pt x="134" y="215"/>
                </a:cubicBezTo>
                <a:close/>
                <a:moveTo>
                  <a:pt x="128" y="205"/>
                </a:moveTo>
                <a:cubicBezTo>
                  <a:pt x="128" y="203"/>
                  <a:pt x="128" y="202"/>
                  <a:pt x="130" y="202"/>
                </a:cubicBezTo>
                <a:cubicBezTo>
                  <a:pt x="131" y="202"/>
                  <a:pt x="132" y="206"/>
                  <a:pt x="131" y="207"/>
                </a:cubicBezTo>
                <a:cubicBezTo>
                  <a:pt x="130" y="208"/>
                  <a:pt x="130" y="207"/>
                  <a:pt x="129" y="207"/>
                </a:cubicBezTo>
                <a:cubicBezTo>
                  <a:pt x="129" y="207"/>
                  <a:pt x="129" y="207"/>
                  <a:pt x="129" y="207"/>
                </a:cubicBezTo>
                <a:cubicBezTo>
                  <a:pt x="128" y="207"/>
                  <a:pt x="127" y="205"/>
                  <a:pt x="128" y="205"/>
                </a:cubicBezTo>
                <a:close/>
                <a:moveTo>
                  <a:pt x="131" y="346"/>
                </a:moveTo>
                <a:cubicBezTo>
                  <a:pt x="133" y="346"/>
                  <a:pt x="132" y="348"/>
                  <a:pt x="131" y="346"/>
                </a:cubicBezTo>
                <a:close/>
                <a:moveTo>
                  <a:pt x="128" y="352"/>
                </a:moveTo>
                <a:cubicBezTo>
                  <a:pt x="129" y="352"/>
                  <a:pt x="129" y="353"/>
                  <a:pt x="129" y="353"/>
                </a:cubicBezTo>
                <a:cubicBezTo>
                  <a:pt x="128" y="354"/>
                  <a:pt x="128" y="353"/>
                  <a:pt x="128" y="352"/>
                </a:cubicBezTo>
                <a:close/>
                <a:moveTo>
                  <a:pt x="128" y="244"/>
                </a:moveTo>
                <a:cubicBezTo>
                  <a:pt x="128" y="243"/>
                  <a:pt x="129" y="245"/>
                  <a:pt x="129" y="246"/>
                </a:cubicBezTo>
                <a:cubicBezTo>
                  <a:pt x="128" y="245"/>
                  <a:pt x="129" y="245"/>
                  <a:pt x="128" y="244"/>
                </a:cubicBezTo>
                <a:close/>
                <a:moveTo>
                  <a:pt x="128" y="274"/>
                </a:moveTo>
                <a:cubicBezTo>
                  <a:pt x="129" y="275"/>
                  <a:pt x="129" y="276"/>
                  <a:pt x="130" y="277"/>
                </a:cubicBezTo>
                <a:cubicBezTo>
                  <a:pt x="129" y="277"/>
                  <a:pt x="128" y="275"/>
                  <a:pt x="128" y="274"/>
                </a:cubicBezTo>
                <a:close/>
                <a:moveTo>
                  <a:pt x="129" y="246"/>
                </a:moveTo>
                <a:cubicBezTo>
                  <a:pt x="132" y="246"/>
                  <a:pt x="128" y="249"/>
                  <a:pt x="129" y="247"/>
                </a:cubicBezTo>
                <a:cubicBezTo>
                  <a:pt x="129" y="247"/>
                  <a:pt x="129" y="246"/>
                  <a:pt x="129" y="246"/>
                </a:cubicBezTo>
                <a:close/>
                <a:moveTo>
                  <a:pt x="129" y="241"/>
                </a:moveTo>
                <a:cubicBezTo>
                  <a:pt x="130" y="240"/>
                  <a:pt x="130" y="242"/>
                  <a:pt x="130" y="242"/>
                </a:cubicBezTo>
                <a:cubicBezTo>
                  <a:pt x="130" y="242"/>
                  <a:pt x="129" y="241"/>
                  <a:pt x="129" y="241"/>
                </a:cubicBezTo>
                <a:close/>
                <a:moveTo>
                  <a:pt x="130" y="275"/>
                </a:moveTo>
                <a:cubicBezTo>
                  <a:pt x="129" y="274"/>
                  <a:pt x="130" y="273"/>
                  <a:pt x="130" y="274"/>
                </a:cubicBezTo>
                <a:cubicBezTo>
                  <a:pt x="131" y="274"/>
                  <a:pt x="131" y="275"/>
                  <a:pt x="130" y="275"/>
                </a:cubicBezTo>
                <a:close/>
                <a:moveTo>
                  <a:pt x="128" y="210"/>
                </a:moveTo>
                <a:cubicBezTo>
                  <a:pt x="127" y="210"/>
                  <a:pt x="127" y="208"/>
                  <a:pt x="127" y="207"/>
                </a:cubicBezTo>
                <a:cubicBezTo>
                  <a:pt x="128" y="208"/>
                  <a:pt x="128" y="209"/>
                  <a:pt x="128" y="210"/>
                </a:cubicBezTo>
                <a:close/>
                <a:moveTo>
                  <a:pt x="126" y="269"/>
                </a:moveTo>
                <a:cubicBezTo>
                  <a:pt x="127" y="270"/>
                  <a:pt x="128" y="271"/>
                  <a:pt x="128" y="273"/>
                </a:cubicBezTo>
                <a:cubicBezTo>
                  <a:pt x="127" y="272"/>
                  <a:pt x="126" y="271"/>
                  <a:pt x="126" y="269"/>
                </a:cubicBezTo>
                <a:close/>
                <a:moveTo>
                  <a:pt x="123" y="221"/>
                </a:moveTo>
                <a:cubicBezTo>
                  <a:pt x="123" y="221"/>
                  <a:pt x="124" y="221"/>
                  <a:pt x="124" y="222"/>
                </a:cubicBezTo>
                <a:cubicBezTo>
                  <a:pt x="124" y="222"/>
                  <a:pt x="122" y="222"/>
                  <a:pt x="123" y="221"/>
                </a:cubicBezTo>
                <a:close/>
                <a:moveTo>
                  <a:pt x="125" y="273"/>
                </a:moveTo>
                <a:cubicBezTo>
                  <a:pt x="123" y="272"/>
                  <a:pt x="123" y="271"/>
                  <a:pt x="123" y="270"/>
                </a:cubicBezTo>
                <a:cubicBezTo>
                  <a:pt x="124" y="270"/>
                  <a:pt x="125" y="272"/>
                  <a:pt x="125" y="273"/>
                </a:cubicBezTo>
                <a:close/>
                <a:moveTo>
                  <a:pt x="119" y="230"/>
                </a:moveTo>
                <a:cubicBezTo>
                  <a:pt x="119" y="231"/>
                  <a:pt x="119" y="230"/>
                  <a:pt x="119" y="230"/>
                </a:cubicBezTo>
                <a:cubicBezTo>
                  <a:pt x="116" y="228"/>
                  <a:pt x="120" y="229"/>
                  <a:pt x="119" y="230"/>
                </a:cubicBezTo>
                <a:close/>
                <a:moveTo>
                  <a:pt x="116" y="209"/>
                </a:moveTo>
                <a:cubicBezTo>
                  <a:pt x="117" y="209"/>
                  <a:pt x="117" y="211"/>
                  <a:pt x="117" y="211"/>
                </a:cubicBezTo>
                <a:cubicBezTo>
                  <a:pt x="117" y="211"/>
                  <a:pt x="116" y="210"/>
                  <a:pt x="116" y="209"/>
                </a:cubicBezTo>
                <a:close/>
                <a:moveTo>
                  <a:pt x="117" y="220"/>
                </a:moveTo>
                <a:cubicBezTo>
                  <a:pt x="118" y="221"/>
                  <a:pt x="118" y="223"/>
                  <a:pt x="118" y="224"/>
                </a:cubicBezTo>
                <a:cubicBezTo>
                  <a:pt x="118" y="226"/>
                  <a:pt x="119" y="228"/>
                  <a:pt x="118" y="228"/>
                </a:cubicBezTo>
                <a:cubicBezTo>
                  <a:pt x="118" y="228"/>
                  <a:pt x="118" y="228"/>
                  <a:pt x="118" y="227"/>
                </a:cubicBezTo>
                <a:cubicBezTo>
                  <a:pt x="118" y="228"/>
                  <a:pt x="118" y="228"/>
                  <a:pt x="118" y="228"/>
                </a:cubicBezTo>
                <a:cubicBezTo>
                  <a:pt x="118" y="228"/>
                  <a:pt x="117" y="229"/>
                  <a:pt x="117" y="229"/>
                </a:cubicBezTo>
                <a:cubicBezTo>
                  <a:pt x="116" y="229"/>
                  <a:pt x="111" y="224"/>
                  <a:pt x="112" y="221"/>
                </a:cubicBezTo>
                <a:cubicBezTo>
                  <a:pt x="112" y="219"/>
                  <a:pt x="115" y="218"/>
                  <a:pt x="117" y="220"/>
                </a:cubicBezTo>
                <a:close/>
                <a:moveTo>
                  <a:pt x="114" y="428"/>
                </a:moveTo>
                <a:cubicBezTo>
                  <a:pt x="114" y="430"/>
                  <a:pt x="112" y="427"/>
                  <a:pt x="112" y="425"/>
                </a:cubicBezTo>
                <a:cubicBezTo>
                  <a:pt x="111" y="421"/>
                  <a:pt x="110" y="416"/>
                  <a:pt x="110" y="413"/>
                </a:cubicBezTo>
                <a:cubicBezTo>
                  <a:pt x="110" y="413"/>
                  <a:pt x="110" y="411"/>
                  <a:pt x="110" y="411"/>
                </a:cubicBezTo>
                <a:cubicBezTo>
                  <a:pt x="111" y="411"/>
                  <a:pt x="114" y="426"/>
                  <a:pt x="114" y="428"/>
                </a:cubicBezTo>
                <a:close/>
                <a:moveTo>
                  <a:pt x="111" y="324"/>
                </a:moveTo>
                <a:cubicBezTo>
                  <a:pt x="110" y="325"/>
                  <a:pt x="111" y="323"/>
                  <a:pt x="111" y="324"/>
                </a:cubicBezTo>
                <a:close/>
                <a:moveTo>
                  <a:pt x="113" y="271"/>
                </a:moveTo>
                <a:cubicBezTo>
                  <a:pt x="115" y="271"/>
                  <a:pt x="117" y="274"/>
                  <a:pt x="115" y="276"/>
                </a:cubicBezTo>
                <a:cubicBezTo>
                  <a:pt x="112" y="280"/>
                  <a:pt x="109" y="271"/>
                  <a:pt x="113" y="271"/>
                </a:cubicBezTo>
                <a:close/>
                <a:moveTo>
                  <a:pt x="114" y="252"/>
                </a:moveTo>
                <a:cubicBezTo>
                  <a:pt x="114" y="252"/>
                  <a:pt x="115" y="253"/>
                  <a:pt x="114" y="254"/>
                </a:cubicBezTo>
                <a:cubicBezTo>
                  <a:pt x="113" y="254"/>
                  <a:pt x="113" y="252"/>
                  <a:pt x="114" y="252"/>
                </a:cubicBezTo>
                <a:close/>
                <a:moveTo>
                  <a:pt x="115" y="374"/>
                </a:moveTo>
                <a:cubicBezTo>
                  <a:pt x="117" y="374"/>
                  <a:pt x="117" y="378"/>
                  <a:pt x="115" y="378"/>
                </a:cubicBezTo>
                <a:cubicBezTo>
                  <a:pt x="115" y="378"/>
                  <a:pt x="113" y="375"/>
                  <a:pt x="115" y="374"/>
                </a:cubicBezTo>
                <a:close/>
                <a:moveTo>
                  <a:pt x="115" y="266"/>
                </a:moveTo>
                <a:cubicBezTo>
                  <a:pt x="118" y="267"/>
                  <a:pt x="116" y="270"/>
                  <a:pt x="115" y="266"/>
                </a:cubicBezTo>
                <a:close/>
                <a:moveTo>
                  <a:pt x="110" y="225"/>
                </a:moveTo>
                <a:cubicBezTo>
                  <a:pt x="112" y="225"/>
                  <a:pt x="110" y="226"/>
                  <a:pt x="110" y="225"/>
                </a:cubicBezTo>
                <a:close/>
                <a:moveTo>
                  <a:pt x="108" y="237"/>
                </a:moveTo>
                <a:cubicBezTo>
                  <a:pt x="106" y="236"/>
                  <a:pt x="109" y="235"/>
                  <a:pt x="108" y="237"/>
                </a:cubicBezTo>
                <a:close/>
                <a:moveTo>
                  <a:pt x="106" y="237"/>
                </a:moveTo>
                <a:cubicBezTo>
                  <a:pt x="107" y="236"/>
                  <a:pt x="108" y="238"/>
                  <a:pt x="107" y="239"/>
                </a:cubicBezTo>
                <a:cubicBezTo>
                  <a:pt x="106" y="239"/>
                  <a:pt x="106" y="237"/>
                  <a:pt x="106" y="237"/>
                </a:cubicBezTo>
                <a:close/>
                <a:moveTo>
                  <a:pt x="97" y="223"/>
                </a:moveTo>
                <a:cubicBezTo>
                  <a:pt x="98" y="223"/>
                  <a:pt x="98" y="225"/>
                  <a:pt x="96" y="225"/>
                </a:cubicBezTo>
                <a:cubicBezTo>
                  <a:pt x="95" y="224"/>
                  <a:pt x="96" y="223"/>
                  <a:pt x="97" y="223"/>
                </a:cubicBezTo>
                <a:close/>
                <a:moveTo>
                  <a:pt x="96" y="249"/>
                </a:moveTo>
                <a:cubicBezTo>
                  <a:pt x="97" y="250"/>
                  <a:pt x="96" y="250"/>
                  <a:pt x="96" y="249"/>
                </a:cubicBezTo>
                <a:close/>
                <a:moveTo>
                  <a:pt x="96" y="195"/>
                </a:moveTo>
                <a:cubicBezTo>
                  <a:pt x="96" y="195"/>
                  <a:pt x="96" y="196"/>
                  <a:pt x="96" y="197"/>
                </a:cubicBezTo>
                <a:cubicBezTo>
                  <a:pt x="96" y="197"/>
                  <a:pt x="95" y="196"/>
                  <a:pt x="96" y="195"/>
                </a:cubicBezTo>
                <a:close/>
                <a:moveTo>
                  <a:pt x="93" y="195"/>
                </a:moveTo>
                <a:cubicBezTo>
                  <a:pt x="94" y="195"/>
                  <a:pt x="93" y="195"/>
                  <a:pt x="93" y="195"/>
                </a:cubicBezTo>
                <a:cubicBezTo>
                  <a:pt x="93" y="195"/>
                  <a:pt x="93" y="195"/>
                  <a:pt x="93" y="195"/>
                </a:cubicBezTo>
                <a:close/>
                <a:moveTo>
                  <a:pt x="93" y="195"/>
                </a:moveTo>
                <a:cubicBezTo>
                  <a:pt x="93" y="196"/>
                  <a:pt x="93" y="196"/>
                  <a:pt x="93" y="195"/>
                </a:cubicBezTo>
                <a:close/>
                <a:moveTo>
                  <a:pt x="92" y="212"/>
                </a:moveTo>
                <a:cubicBezTo>
                  <a:pt x="91" y="213"/>
                  <a:pt x="90" y="211"/>
                  <a:pt x="89" y="211"/>
                </a:cubicBezTo>
                <a:cubicBezTo>
                  <a:pt x="88" y="207"/>
                  <a:pt x="94" y="209"/>
                  <a:pt x="92" y="212"/>
                </a:cubicBezTo>
                <a:close/>
                <a:moveTo>
                  <a:pt x="92" y="259"/>
                </a:moveTo>
                <a:cubicBezTo>
                  <a:pt x="91" y="259"/>
                  <a:pt x="93" y="251"/>
                  <a:pt x="92" y="248"/>
                </a:cubicBezTo>
                <a:cubicBezTo>
                  <a:pt x="94" y="249"/>
                  <a:pt x="93" y="260"/>
                  <a:pt x="92" y="259"/>
                </a:cubicBezTo>
                <a:close/>
                <a:moveTo>
                  <a:pt x="93" y="228"/>
                </a:moveTo>
                <a:cubicBezTo>
                  <a:pt x="91" y="227"/>
                  <a:pt x="93" y="226"/>
                  <a:pt x="93" y="228"/>
                </a:cubicBezTo>
                <a:close/>
                <a:moveTo>
                  <a:pt x="92" y="225"/>
                </a:moveTo>
                <a:cubicBezTo>
                  <a:pt x="92" y="225"/>
                  <a:pt x="92" y="223"/>
                  <a:pt x="92" y="223"/>
                </a:cubicBezTo>
                <a:cubicBezTo>
                  <a:pt x="93" y="223"/>
                  <a:pt x="93" y="226"/>
                  <a:pt x="92" y="225"/>
                </a:cubicBezTo>
                <a:close/>
                <a:moveTo>
                  <a:pt x="94" y="198"/>
                </a:moveTo>
                <a:cubicBezTo>
                  <a:pt x="95" y="198"/>
                  <a:pt x="95" y="199"/>
                  <a:pt x="95" y="199"/>
                </a:cubicBezTo>
                <a:cubicBezTo>
                  <a:pt x="95" y="199"/>
                  <a:pt x="93" y="200"/>
                  <a:pt x="93" y="200"/>
                </a:cubicBezTo>
                <a:cubicBezTo>
                  <a:pt x="92" y="200"/>
                  <a:pt x="92" y="198"/>
                  <a:pt x="94" y="198"/>
                </a:cubicBezTo>
                <a:close/>
                <a:moveTo>
                  <a:pt x="94" y="407"/>
                </a:moveTo>
                <a:cubicBezTo>
                  <a:pt x="95" y="409"/>
                  <a:pt x="93" y="409"/>
                  <a:pt x="94" y="407"/>
                </a:cubicBezTo>
                <a:close/>
                <a:moveTo>
                  <a:pt x="96" y="275"/>
                </a:moveTo>
                <a:cubicBezTo>
                  <a:pt x="95" y="275"/>
                  <a:pt x="95" y="273"/>
                  <a:pt x="95" y="272"/>
                </a:cubicBezTo>
                <a:cubicBezTo>
                  <a:pt x="97" y="271"/>
                  <a:pt x="97" y="275"/>
                  <a:pt x="96" y="275"/>
                </a:cubicBezTo>
                <a:close/>
                <a:moveTo>
                  <a:pt x="95" y="257"/>
                </a:moveTo>
                <a:cubicBezTo>
                  <a:pt x="97" y="257"/>
                  <a:pt x="98" y="260"/>
                  <a:pt x="98" y="262"/>
                </a:cubicBezTo>
                <a:cubicBezTo>
                  <a:pt x="97" y="260"/>
                  <a:pt x="96" y="259"/>
                  <a:pt x="95" y="257"/>
                </a:cubicBezTo>
                <a:close/>
                <a:moveTo>
                  <a:pt x="99" y="345"/>
                </a:moveTo>
                <a:cubicBezTo>
                  <a:pt x="98" y="346"/>
                  <a:pt x="98" y="344"/>
                  <a:pt x="98" y="344"/>
                </a:cubicBezTo>
                <a:cubicBezTo>
                  <a:pt x="99" y="344"/>
                  <a:pt x="99" y="345"/>
                  <a:pt x="99" y="345"/>
                </a:cubicBezTo>
                <a:close/>
                <a:moveTo>
                  <a:pt x="99" y="391"/>
                </a:moveTo>
                <a:cubicBezTo>
                  <a:pt x="100" y="393"/>
                  <a:pt x="99" y="393"/>
                  <a:pt x="99" y="391"/>
                </a:cubicBezTo>
                <a:close/>
                <a:moveTo>
                  <a:pt x="98" y="263"/>
                </a:moveTo>
                <a:cubicBezTo>
                  <a:pt x="99" y="265"/>
                  <a:pt x="100" y="266"/>
                  <a:pt x="100" y="268"/>
                </a:cubicBezTo>
                <a:cubicBezTo>
                  <a:pt x="100" y="267"/>
                  <a:pt x="99" y="265"/>
                  <a:pt x="98" y="263"/>
                </a:cubicBezTo>
                <a:close/>
                <a:moveTo>
                  <a:pt x="100" y="245"/>
                </a:moveTo>
                <a:cubicBezTo>
                  <a:pt x="98" y="243"/>
                  <a:pt x="100" y="243"/>
                  <a:pt x="100" y="245"/>
                </a:cubicBezTo>
                <a:close/>
                <a:moveTo>
                  <a:pt x="98" y="231"/>
                </a:moveTo>
                <a:cubicBezTo>
                  <a:pt x="97" y="231"/>
                  <a:pt x="98" y="227"/>
                  <a:pt x="99" y="227"/>
                </a:cubicBezTo>
                <a:cubicBezTo>
                  <a:pt x="101" y="227"/>
                  <a:pt x="101" y="232"/>
                  <a:pt x="98" y="231"/>
                </a:cubicBezTo>
                <a:close/>
                <a:moveTo>
                  <a:pt x="99" y="205"/>
                </a:moveTo>
                <a:cubicBezTo>
                  <a:pt x="99" y="204"/>
                  <a:pt x="100" y="206"/>
                  <a:pt x="99" y="206"/>
                </a:cubicBezTo>
                <a:cubicBezTo>
                  <a:pt x="99" y="206"/>
                  <a:pt x="99" y="205"/>
                  <a:pt x="99" y="205"/>
                </a:cubicBezTo>
                <a:close/>
                <a:moveTo>
                  <a:pt x="102" y="420"/>
                </a:moveTo>
                <a:cubicBezTo>
                  <a:pt x="102" y="420"/>
                  <a:pt x="102" y="420"/>
                  <a:pt x="102" y="420"/>
                </a:cubicBezTo>
                <a:cubicBezTo>
                  <a:pt x="102" y="420"/>
                  <a:pt x="102" y="420"/>
                  <a:pt x="102" y="420"/>
                </a:cubicBezTo>
                <a:cubicBezTo>
                  <a:pt x="102" y="420"/>
                  <a:pt x="102" y="420"/>
                  <a:pt x="102" y="420"/>
                </a:cubicBezTo>
                <a:close/>
                <a:moveTo>
                  <a:pt x="101" y="348"/>
                </a:moveTo>
                <a:cubicBezTo>
                  <a:pt x="99" y="349"/>
                  <a:pt x="102" y="346"/>
                  <a:pt x="102" y="347"/>
                </a:cubicBezTo>
                <a:cubicBezTo>
                  <a:pt x="102" y="348"/>
                  <a:pt x="102" y="348"/>
                  <a:pt x="101" y="348"/>
                </a:cubicBezTo>
                <a:close/>
                <a:moveTo>
                  <a:pt x="102" y="273"/>
                </a:moveTo>
                <a:cubicBezTo>
                  <a:pt x="101" y="273"/>
                  <a:pt x="101" y="271"/>
                  <a:pt x="101" y="270"/>
                </a:cubicBezTo>
                <a:cubicBezTo>
                  <a:pt x="102" y="270"/>
                  <a:pt x="103" y="273"/>
                  <a:pt x="102" y="273"/>
                </a:cubicBezTo>
                <a:close/>
                <a:moveTo>
                  <a:pt x="102" y="211"/>
                </a:moveTo>
                <a:cubicBezTo>
                  <a:pt x="102" y="210"/>
                  <a:pt x="103" y="210"/>
                  <a:pt x="102" y="210"/>
                </a:cubicBezTo>
                <a:cubicBezTo>
                  <a:pt x="102" y="210"/>
                  <a:pt x="102" y="211"/>
                  <a:pt x="102" y="211"/>
                </a:cubicBezTo>
                <a:close/>
                <a:moveTo>
                  <a:pt x="101" y="211"/>
                </a:moveTo>
                <a:cubicBezTo>
                  <a:pt x="101" y="211"/>
                  <a:pt x="101" y="210"/>
                  <a:pt x="101" y="210"/>
                </a:cubicBezTo>
                <a:cubicBezTo>
                  <a:pt x="101" y="211"/>
                  <a:pt x="100" y="212"/>
                  <a:pt x="101" y="211"/>
                </a:cubicBezTo>
                <a:close/>
                <a:moveTo>
                  <a:pt x="103" y="355"/>
                </a:moveTo>
                <a:cubicBezTo>
                  <a:pt x="102" y="355"/>
                  <a:pt x="102" y="354"/>
                  <a:pt x="102" y="353"/>
                </a:cubicBezTo>
                <a:cubicBezTo>
                  <a:pt x="103" y="354"/>
                  <a:pt x="103" y="354"/>
                  <a:pt x="103" y="355"/>
                </a:cubicBezTo>
                <a:close/>
                <a:moveTo>
                  <a:pt x="105" y="290"/>
                </a:moveTo>
                <a:cubicBezTo>
                  <a:pt x="105" y="291"/>
                  <a:pt x="104" y="291"/>
                  <a:pt x="103" y="290"/>
                </a:cubicBezTo>
                <a:cubicBezTo>
                  <a:pt x="101" y="289"/>
                  <a:pt x="106" y="287"/>
                  <a:pt x="105" y="290"/>
                </a:cubicBezTo>
                <a:close/>
                <a:moveTo>
                  <a:pt x="103" y="252"/>
                </a:moveTo>
                <a:cubicBezTo>
                  <a:pt x="104" y="252"/>
                  <a:pt x="103" y="253"/>
                  <a:pt x="103" y="252"/>
                </a:cubicBezTo>
                <a:close/>
                <a:moveTo>
                  <a:pt x="105" y="207"/>
                </a:moveTo>
                <a:cubicBezTo>
                  <a:pt x="104" y="207"/>
                  <a:pt x="103" y="205"/>
                  <a:pt x="102" y="205"/>
                </a:cubicBezTo>
                <a:cubicBezTo>
                  <a:pt x="102" y="206"/>
                  <a:pt x="103" y="207"/>
                  <a:pt x="102" y="207"/>
                </a:cubicBezTo>
                <a:cubicBezTo>
                  <a:pt x="102" y="206"/>
                  <a:pt x="98" y="203"/>
                  <a:pt x="98" y="200"/>
                </a:cubicBezTo>
                <a:cubicBezTo>
                  <a:pt x="98" y="199"/>
                  <a:pt x="99" y="196"/>
                  <a:pt x="102" y="196"/>
                </a:cubicBezTo>
                <a:cubicBezTo>
                  <a:pt x="103" y="197"/>
                  <a:pt x="106" y="201"/>
                  <a:pt x="106" y="203"/>
                </a:cubicBezTo>
                <a:cubicBezTo>
                  <a:pt x="105" y="204"/>
                  <a:pt x="105" y="205"/>
                  <a:pt x="105" y="206"/>
                </a:cubicBezTo>
                <a:cubicBezTo>
                  <a:pt x="105" y="206"/>
                  <a:pt x="106" y="207"/>
                  <a:pt x="105" y="207"/>
                </a:cubicBezTo>
                <a:close/>
                <a:moveTo>
                  <a:pt x="106" y="270"/>
                </a:moveTo>
                <a:cubicBezTo>
                  <a:pt x="105" y="270"/>
                  <a:pt x="106" y="270"/>
                  <a:pt x="106" y="270"/>
                </a:cubicBezTo>
                <a:close/>
                <a:moveTo>
                  <a:pt x="106" y="271"/>
                </a:moveTo>
                <a:cubicBezTo>
                  <a:pt x="106" y="271"/>
                  <a:pt x="106" y="271"/>
                  <a:pt x="106" y="271"/>
                </a:cubicBezTo>
                <a:cubicBezTo>
                  <a:pt x="106" y="271"/>
                  <a:pt x="106" y="271"/>
                  <a:pt x="106" y="271"/>
                </a:cubicBezTo>
                <a:cubicBezTo>
                  <a:pt x="106" y="271"/>
                  <a:pt x="106" y="271"/>
                  <a:pt x="106" y="271"/>
                </a:cubicBezTo>
                <a:close/>
                <a:moveTo>
                  <a:pt x="107" y="250"/>
                </a:moveTo>
                <a:cubicBezTo>
                  <a:pt x="107" y="249"/>
                  <a:pt x="108" y="250"/>
                  <a:pt x="109" y="250"/>
                </a:cubicBezTo>
                <a:cubicBezTo>
                  <a:pt x="112" y="250"/>
                  <a:pt x="112" y="254"/>
                  <a:pt x="111" y="255"/>
                </a:cubicBezTo>
                <a:cubicBezTo>
                  <a:pt x="111" y="255"/>
                  <a:pt x="111" y="255"/>
                  <a:pt x="111" y="255"/>
                </a:cubicBezTo>
                <a:cubicBezTo>
                  <a:pt x="111" y="255"/>
                  <a:pt x="111" y="255"/>
                  <a:pt x="111" y="255"/>
                </a:cubicBezTo>
                <a:cubicBezTo>
                  <a:pt x="111" y="259"/>
                  <a:pt x="102" y="254"/>
                  <a:pt x="107" y="250"/>
                </a:cubicBezTo>
                <a:close/>
                <a:moveTo>
                  <a:pt x="107" y="458"/>
                </a:moveTo>
                <a:cubicBezTo>
                  <a:pt x="108" y="460"/>
                  <a:pt x="106" y="460"/>
                  <a:pt x="107" y="458"/>
                </a:cubicBezTo>
                <a:close/>
                <a:moveTo>
                  <a:pt x="109" y="360"/>
                </a:moveTo>
                <a:cubicBezTo>
                  <a:pt x="111" y="360"/>
                  <a:pt x="110" y="363"/>
                  <a:pt x="109" y="363"/>
                </a:cubicBezTo>
                <a:cubicBezTo>
                  <a:pt x="108" y="362"/>
                  <a:pt x="108" y="361"/>
                  <a:pt x="109" y="360"/>
                </a:cubicBezTo>
                <a:close/>
                <a:moveTo>
                  <a:pt x="109" y="423"/>
                </a:moveTo>
                <a:cubicBezTo>
                  <a:pt x="109" y="423"/>
                  <a:pt x="108" y="420"/>
                  <a:pt x="110" y="422"/>
                </a:cubicBezTo>
                <a:cubicBezTo>
                  <a:pt x="112" y="425"/>
                  <a:pt x="112" y="431"/>
                  <a:pt x="113" y="435"/>
                </a:cubicBezTo>
                <a:cubicBezTo>
                  <a:pt x="111" y="432"/>
                  <a:pt x="109" y="427"/>
                  <a:pt x="109" y="423"/>
                </a:cubicBezTo>
                <a:close/>
                <a:moveTo>
                  <a:pt x="113" y="436"/>
                </a:moveTo>
                <a:cubicBezTo>
                  <a:pt x="115" y="437"/>
                  <a:pt x="117" y="442"/>
                  <a:pt x="117" y="446"/>
                </a:cubicBezTo>
                <a:cubicBezTo>
                  <a:pt x="115" y="443"/>
                  <a:pt x="114" y="439"/>
                  <a:pt x="113" y="436"/>
                </a:cubicBezTo>
                <a:close/>
                <a:moveTo>
                  <a:pt x="116" y="414"/>
                </a:moveTo>
                <a:cubicBezTo>
                  <a:pt x="116" y="415"/>
                  <a:pt x="114" y="414"/>
                  <a:pt x="116" y="414"/>
                </a:cubicBezTo>
                <a:close/>
                <a:moveTo>
                  <a:pt x="117" y="400"/>
                </a:moveTo>
                <a:cubicBezTo>
                  <a:pt x="115" y="401"/>
                  <a:pt x="112" y="391"/>
                  <a:pt x="116" y="392"/>
                </a:cubicBezTo>
                <a:cubicBezTo>
                  <a:pt x="118" y="393"/>
                  <a:pt x="117" y="396"/>
                  <a:pt x="117" y="397"/>
                </a:cubicBezTo>
                <a:cubicBezTo>
                  <a:pt x="117" y="398"/>
                  <a:pt x="116" y="398"/>
                  <a:pt x="116" y="398"/>
                </a:cubicBezTo>
                <a:cubicBezTo>
                  <a:pt x="116" y="398"/>
                  <a:pt x="118" y="400"/>
                  <a:pt x="117" y="400"/>
                </a:cubicBezTo>
                <a:close/>
                <a:moveTo>
                  <a:pt x="119" y="371"/>
                </a:moveTo>
                <a:cubicBezTo>
                  <a:pt x="117" y="370"/>
                  <a:pt x="120" y="368"/>
                  <a:pt x="119" y="371"/>
                </a:cubicBezTo>
                <a:close/>
                <a:moveTo>
                  <a:pt x="118" y="368"/>
                </a:moveTo>
                <a:cubicBezTo>
                  <a:pt x="118" y="368"/>
                  <a:pt x="117" y="366"/>
                  <a:pt x="118" y="366"/>
                </a:cubicBezTo>
                <a:cubicBezTo>
                  <a:pt x="119" y="365"/>
                  <a:pt x="120" y="369"/>
                  <a:pt x="118" y="368"/>
                </a:cubicBezTo>
                <a:close/>
                <a:moveTo>
                  <a:pt x="119" y="278"/>
                </a:moveTo>
                <a:cubicBezTo>
                  <a:pt x="118" y="278"/>
                  <a:pt x="118" y="277"/>
                  <a:pt x="118" y="276"/>
                </a:cubicBezTo>
                <a:cubicBezTo>
                  <a:pt x="121" y="274"/>
                  <a:pt x="122" y="280"/>
                  <a:pt x="119" y="278"/>
                </a:cubicBezTo>
                <a:close/>
                <a:moveTo>
                  <a:pt x="120" y="239"/>
                </a:moveTo>
                <a:cubicBezTo>
                  <a:pt x="119" y="241"/>
                  <a:pt x="117" y="235"/>
                  <a:pt x="119" y="235"/>
                </a:cubicBezTo>
                <a:cubicBezTo>
                  <a:pt x="121" y="234"/>
                  <a:pt x="122" y="238"/>
                  <a:pt x="120" y="239"/>
                </a:cubicBezTo>
                <a:close/>
                <a:moveTo>
                  <a:pt x="133" y="398"/>
                </a:moveTo>
                <a:cubicBezTo>
                  <a:pt x="131" y="392"/>
                  <a:pt x="130" y="386"/>
                  <a:pt x="128" y="380"/>
                </a:cubicBezTo>
                <a:cubicBezTo>
                  <a:pt x="125" y="375"/>
                  <a:pt x="122" y="370"/>
                  <a:pt x="122" y="364"/>
                </a:cubicBezTo>
                <a:cubicBezTo>
                  <a:pt x="122" y="364"/>
                  <a:pt x="123" y="363"/>
                  <a:pt x="123" y="363"/>
                </a:cubicBezTo>
                <a:cubicBezTo>
                  <a:pt x="124" y="363"/>
                  <a:pt x="128" y="373"/>
                  <a:pt x="128" y="376"/>
                </a:cubicBezTo>
                <a:cubicBezTo>
                  <a:pt x="129" y="381"/>
                  <a:pt x="131" y="385"/>
                  <a:pt x="132" y="390"/>
                </a:cubicBezTo>
                <a:cubicBezTo>
                  <a:pt x="132" y="392"/>
                  <a:pt x="136" y="397"/>
                  <a:pt x="135" y="399"/>
                </a:cubicBezTo>
                <a:cubicBezTo>
                  <a:pt x="135" y="403"/>
                  <a:pt x="133" y="398"/>
                  <a:pt x="133" y="398"/>
                </a:cubicBezTo>
                <a:close/>
                <a:moveTo>
                  <a:pt x="134" y="304"/>
                </a:moveTo>
                <a:cubicBezTo>
                  <a:pt x="134" y="304"/>
                  <a:pt x="133" y="304"/>
                  <a:pt x="133" y="303"/>
                </a:cubicBezTo>
                <a:cubicBezTo>
                  <a:pt x="133" y="303"/>
                  <a:pt x="134" y="304"/>
                  <a:pt x="134" y="304"/>
                </a:cubicBezTo>
                <a:close/>
                <a:moveTo>
                  <a:pt x="134" y="250"/>
                </a:moveTo>
                <a:cubicBezTo>
                  <a:pt x="135" y="250"/>
                  <a:pt x="136" y="254"/>
                  <a:pt x="134" y="254"/>
                </a:cubicBezTo>
                <a:cubicBezTo>
                  <a:pt x="134" y="254"/>
                  <a:pt x="132" y="250"/>
                  <a:pt x="134" y="250"/>
                </a:cubicBezTo>
                <a:close/>
                <a:moveTo>
                  <a:pt x="136" y="417"/>
                </a:moveTo>
                <a:cubicBezTo>
                  <a:pt x="137" y="418"/>
                  <a:pt x="137" y="419"/>
                  <a:pt x="138" y="420"/>
                </a:cubicBezTo>
                <a:cubicBezTo>
                  <a:pt x="137" y="420"/>
                  <a:pt x="136" y="418"/>
                  <a:pt x="136" y="417"/>
                </a:cubicBezTo>
                <a:close/>
                <a:moveTo>
                  <a:pt x="137" y="421"/>
                </a:moveTo>
                <a:cubicBezTo>
                  <a:pt x="137" y="422"/>
                  <a:pt x="138" y="420"/>
                  <a:pt x="137" y="421"/>
                </a:cubicBezTo>
                <a:close/>
                <a:moveTo>
                  <a:pt x="135" y="249"/>
                </a:moveTo>
                <a:cubicBezTo>
                  <a:pt x="136" y="248"/>
                  <a:pt x="133" y="247"/>
                  <a:pt x="132" y="246"/>
                </a:cubicBezTo>
                <a:cubicBezTo>
                  <a:pt x="129" y="238"/>
                  <a:pt x="140" y="237"/>
                  <a:pt x="139" y="245"/>
                </a:cubicBezTo>
                <a:cubicBezTo>
                  <a:pt x="139" y="246"/>
                  <a:pt x="138" y="249"/>
                  <a:pt x="135" y="249"/>
                </a:cubicBezTo>
                <a:close/>
                <a:moveTo>
                  <a:pt x="138" y="250"/>
                </a:moveTo>
                <a:cubicBezTo>
                  <a:pt x="138" y="250"/>
                  <a:pt x="138" y="249"/>
                  <a:pt x="138" y="249"/>
                </a:cubicBezTo>
                <a:cubicBezTo>
                  <a:pt x="139" y="248"/>
                  <a:pt x="139" y="250"/>
                  <a:pt x="138" y="250"/>
                </a:cubicBezTo>
                <a:close/>
                <a:moveTo>
                  <a:pt x="140" y="271"/>
                </a:moveTo>
                <a:cubicBezTo>
                  <a:pt x="140" y="271"/>
                  <a:pt x="140" y="270"/>
                  <a:pt x="140" y="271"/>
                </a:cubicBezTo>
                <a:close/>
                <a:moveTo>
                  <a:pt x="139" y="232"/>
                </a:moveTo>
                <a:cubicBezTo>
                  <a:pt x="140" y="232"/>
                  <a:pt x="141" y="232"/>
                  <a:pt x="141" y="232"/>
                </a:cubicBezTo>
                <a:cubicBezTo>
                  <a:pt x="145" y="235"/>
                  <a:pt x="139" y="234"/>
                  <a:pt x="139" y="232"/>
                </a:cubicBezTo>
                <a:close/>
                <a:moveTo>
                  <a:pt x="142" y="304"/>
                </a:moveTo>
                <a:cubicBezTo>
                  <a:pt x="143" y="306"/>
                  <a:pt x="145" y="309"/>
                  <a:pt x="143" y="310"/>
                </a:cubicBezTo>
                <a:cubicBezTo>
                  <a:pt x="144" y="308"/>
                  <a:pt x="142" y="307"/>
                  <a:pt x="142" y="304"/>
                </a:cubicBezTo>
                <a:close/>
                <a:moveTo>
                  <a:pt x="144" y="445"/>
                </a:moveTo>
                <a:cubicBezTo>
                  <a:pt x="144" y="445"/>
                  <a:pt x="144" y="444"/>
                  <a:pt x="144" y="444"/>
                </a:cubicBezTo>
                <a:cubicBezTo>
                  <a:pt x="147" y="445"/>
                  <a:pt x="141" y="446"/>
                  <a:pt x="144" y="445"/>
                </a:cubicBezTo>
                <a:close/>
                <a:moveTo>
                  <a:pt x="144" y="390"/>
                </a:moveTo>
                <a:cubicBezTo>
                  <a:pt x="145" y="390"/>
                  <a:pt x="144" y="391"/>
                  <a:pt x="145" y="391"/>
                </a:cubicBezTo>
                <a:cubicBezTo>
                  <a:pt x="144" y="392"/>
                  <a:pt x="144" y="390"/>
                  <a:pt x="144" y="390"/>
                </a:cubicBezTo>
                <a:close/>
                <a:moveTo>
                  <a:pt x="145" y="345"/>
                </a:moveTo>
                <a:cubicBezTo>
                  <a:pt x="141" y="343"/>
                  <a:pt x="142" y="334"/>
                  <a:pt x="147" y="334"/>
                </a:cubicBezTo>
                <a:cubicBezTo>
                  <a:pt x="153" y="335"/>
                  <a:pt x="151" y="349"/>
                  <a:pt x="145" y="345"/>
                </a:cubicBezTo>
                <a:close/>
                <a:moveTo>
                  <a:pt x="150" y="229"/>
                </a:moveTo>
                <a:cubicBezTo>
                  <a:pt x="151" y="228"/>
                  <a:pt x="152" y="230"/>
                  <a:pt x="151" y="230"/>
                </a:cubicBezTo>
                <a:cubicBezTo>
                  <a:pt x="151" y="231"/>
                  <a:pt x="150" y="229"/>
                  <a:pt x="150" y="229"/>
                </a:cubicBezTo>
                <a:close/>
                <a:moveTo>
                  <a:pt x="152" y="263"/>
                </a:moveTo>
                <a:cubicBezTo>
                  <a:pt x="150" y="260"/>
                  <a:pt x="152" y="259"/>
                  <a:pt x="152" y="263"/>
                </a:cubicBezTo>
                <a:close/>
                <a:moveTo>
                  <a:pt x="156" y="234"/>
                </a:moveTo>
                <a:cubicBezTo>
                  <a:pt x="155" y="233"/>
                  <a:pt x="153" y="230"/>
                  <a:pt x="152" y="229"/>
                </a:cubicBezTo>
                <a:cubicBezTo>
                  <a:pt x="151" y="226"/>
                  <a:pt x="157" y="231"/>
                  <a:pt x="156" y="234"/>
                </a:cubicBezTo>
                <a:close/>
                <a:moveTo>
                  <a:pt x="153" y="303"/>
                </a:moveTo>
                <a:cubicBezTo>
                  <a:pt x="154" y="304"/>
                  <a:pt x="152" y="305"/>
                  <a:pt x="153" y="303"/>
                </a:cubicBezTo>
                <a:close/>
                <a:moveTo>
                  <a:pt x="156" y="299"/>
                </a:moveTo>
                <a:cubicBezTo>
                  <a:pt x="155" y="299"/>
                  <a:pt x="155" y="299"/>
                  <a:pt x="155" y="299"/>
                </a:cubicBezTo>
                <a:cubicBezTo>
                  <a:pt x="155" y="299"/>
                  <a:pt x="156" y="298"/>
                  <a:pt x="156" y="298"/>
                </a:cubicBezTo>
                <a:cubicBezTo>
                  <a:pt x="156" y="298"/>
                  <a:pt x="156" y="298"/>
                  <a:pt x="156" y="299"/>
                </a:cubicBezTo>
                <a:close/>
                <a:moveTo>
                  <a:pt x="157" y="293"/>
                </a:moveTo>
                <a:cubicBezTo>
                  <a:pt x="157" y="293"/>
                  <a:pt x="152" y="289"/>
                  <a:pt x="154" y="288"/>
                </a:cubicBezTo>
                <a:cubicBezTo>
                  <a:pt x="156" y="286"/>
                  <a:pt x="158" y="293"/>
                  <a:pt x="157" y="293"/>
                </a:cubicBezTo>
                <a:close/>
                <a:moveTo>
                  <a:pt x="158" y="227"/>
                </a:moveTo>
                <a:cubicBezTo>
                  <a:pt x="158" y="227"/>
                  <a:pt x="159" y="228"/>
                  <a:pt x="159" y="228"/>
                </a:cubicBezTo>
                <a:cubicBezTo>
                  <a:pt x="158" y="229"/>
                  <a:pt x="158" y="227"/>
                  <a:pt x="158" y="227"/>
                </a:cubicBezTo>
                <a:close/>
                <a:moveTo>
                  <a:pt x="180" y="198"/>
                </a:moveTo>
                <a:cubicBezTo>
                  <a:pt x="180" y="198"/>
                  <a:pt x="179" y="198"/>
                  <a:pt x="179" y="197"/>
                </a:cubicBezTo>
                <a:cubicBezTo>
                  <a:pt x="180" y="197"/>
                  <a:pt x="181" y="198"/>
                  <a:pt x="180" y="198"/>
                </a:cubicBezTo>
                <a:close/>
                <a:moveTo>
                  <a:pt x="177" y="199"/>
                </a:moveTo>
                <a:cubicBezTo>
                  <a:pt x="178" y="199"/>
                  <a:pt x="179" y="201"/>
                  <a:pt x="177" y="200"/>
                </a:cubicBezTo>
                <a:cubicBezTo>
                  <a:pt x="177" y="200"/>
                  <a:pt x="177" y="200"/>
                  <a:pt x="177" y="199"/>
                </a:cubicBezTo>
                <a:close/>
                <a:moveTo>
                  <a:pt x="175" y="198"/>
                </a:moveTo>
                <a:cubicBezTo>
                  <a:pt x="177" y="197"/>
                  <a:pt x="174" y="198"/>
                  <a:pt x="175" y="198"/>
                </a:cubicBezTo>
                <a:close/>
                <a:moveTo>
                  <a:pt x="178" y="260"/>
                </a:moveTo>
                <a:cubicBezTo>
                  <a:pt x="176" y="259"/>
                  <a:pt x="176" y="258"/>
                  <a:pt x="175" y="257"/>
                </a:cubicBezTo>
                <a:cubicBezTo>
                  <a:pt x="176" y="257"/>
                  <a:pt x="178" y="259"/>
                  <a:pt x="178" y="260"/>
                </a:cubicBezTo>
                <a:close/>
                <a:moveTo>
                  <a:pt x="174" y="205"/>
                </a:moveTo>
                <a:cubicBezTo>
                  <a:pt x="173" y="205"/>
                  <a:pt x="175" y="206"/>
                  <a:pt x="174" y="207"/>
                </a:cubicBezTo>
                <a:cubicBezTo>
                  <a:pt x="174" y="207"/>
                  <a:pt x="172" y="205"/>
                  <a:pt x="174" y="205"/>
                </a:cubicBezTo>
                <a:close/>
                <a:moveTo>
                  <a:pt x="173" y="231"/>
                </a:moveTo>
                <a:cubicBezTo>
                  <a:pt x="171" y="230"/>
                  <a:pt x="174" y="232"/>
                  <a:pt x="173" y="231"/>
                </a:cubicBezTo>
                <a:close/>
                <a:moveTo>
                  <a:pt x="170" y="230"/>
                </a:moveTo>
                <a:cubicBezTo>
                  <a:pt x="171" y="230"/>
                  <a:pt x="172" y="233"/>
                  <a:pt x="171" y="234"/>
                </a:cubicBezTo>
                <a:cubicBezTo>
                  <a:pt x="170" y="235"/>
                  <a:pt x="168" y="231"/>
                  <a:pt x="170" y="230"/>
                </a:cubicBezTo>
                <a:close/>
                <a:moveTo>
                  <a:pt x="167" y="193"/>
                </a:moveTo>
                <a:cubicBezTo>
                  <a:pt x="168" y="192"/>
                  <a:pt x="169" y="194"/>
                  <a:pt x="168" y="195"/>
                </a:cubicBezTo>
                <a:cubicBezTo>
                  <a:pt x="167" y="195"/>
                  <a:pt x="167" y="193"/>
                  <a:pt x="167" y="193"/>
                </a:cubicBezTo>
                <a:close/>
                <a:moveTo>
                  <a:pt x="168" y="274"/>
                </a:moveTo>
                <a:cubicBezTo>
                  <a:pt x="167" y="273"/>
                  <a:pt x="167" y="272"/>
                  <a:pt x="166" y="272"/>
                </a:cubicBezTo>
                <a:cubicBezTo>
                  <a:pt x="167" y="272"/>
                  <a:pt x="168" y="273"/>
                  <a:pt x="168" y="274"/>
                </a:cubicBezTo>
                <a:close/>
                <a:moveTo>
                  <a:pt x="166" y="208"/>
                </a:moveTo>
                <a:cubicBezTo>
                  <a:pt x="166" y="208"/>
                  <a:pt x="166" y="208"/>
                  <a:pt x="166" y="207"/>
                </a:cubicBezTo>
                <a:cubicBezTo>
                  <a:pt x="166" y="206"/>
                  <a:pt x="168" y="208"/>
                  <a:pt x="166" y="208"/>
                </a:cubicBezTo>
                <a:close/>
                <a:moveTo>
                  <a:pt x="167" y="224"/>
                </a:moveTo>
                <a:cubicBezTo>
                  <a:pt x="165" y="222"/>
                  <a:pt x="165" y="218"/>
                  <a:pt x="163" y="214"/>
                </a:cubicBezTo>
                <a:cubicBezTo>
                  <a:pt x="166" y="217"/>
                  <a:pt x="166" y="221"/>
                  <a:pt x="167" y="224"/>
                </a:cubicBezTo>
                <a:close/>
                <a:moveTo>
                  <a:pt x="166" y="338"/>
                </a:moveTo>
                <a:cubicBezTo>
                  <a:pt x="164" y="337"/>
                  <a:pt x="166" y="334"/>
                  <a:pt x="166" y="338"/>
                </a:cubicBezTo>
                <a:close/>
                <a:moveTo>
                  <a:pt x="163" y="266"/>
                </a:moveTo>
                <a:cubicBezTo>
                  <a:pt x="165" y="266"/>
                  <a:pt x="165" y="269"/>
                  <a:pt x="166" y="270"/>
                </a:cubicBezTo>
                <a:cubicBezTo>
                  <a:pt x="164" y="270"/>
                  <a:pt x="164" y="267"/>
                  <a:pt x="163" y="266"/>
                </a:cubicBezTo>
                <a:close/>
                <a:moveTo>
                  <a:pt x="161" y="230"/>
                </a:moveTo>
                <a:cubicBezTo>
                  <a:pt x="159" y="230"/>
                  <a:pt x="160" y="228"/>
                  <a:pt x="161" y="230"/>
                </a:cubicBezTo>
                <a:close/>
                <a:moveTo>
                  <a:pt x="162" y="222"/>
                </a:moveTo>
                <a:cubicBezTo>
                  <a:pt x="162" y="222"/>
                  <a:pt x="164" y="223"/>
                  <a:pt x="164" y="223"/>
                </a:cubicBezTo>
                <a:cubicBezTo>
                  <a:pt x="165" y="223"/>
                  <a:pt x="166" y="224"/>
                  <a:pt x="165" y="226"/>
                </a:cubicBezTo>
                <a:cubicBezTo>
                  <a:pt x="165" y="226"/>
                  <a:pt x="164" y="226"/>
                  <a:pt x="164" y="225"/>
                </a:cubicBezTo>
                <a:cubicBezTo>
                  <a:pt x="164" y="226"/>
                  <a:pt x="163" y="229"/>
                  <a:pt x="162" y="229"/>
                </a:cubicBezTo>
                <a:cubicBezTo>
                  <a:pt x="159" y="229"/>
                  <a:pt x="161" y="222"/>
                  <a:pt x="162" y="222"/>
                </a:cubicBezTo>
                <a:close/>
                <a:moveTo>
                  <a:pt x="162" y="231"/>
                </a:moveTo>
                <a:cubicBezTo>
                  <a:pt x="162" y="231"/>
                  <a:pt x="163" y="232"/>
                  <a:pt x="162" y="232"/>
                </a:cubicBezTo>
                <a:cubicBezTo>
                  <a:pt x="162" y="232"/>
                  <a:pt x="162" y="231"/>
                  <a:pt x="162" y="231"/>
                </a:cubicBezTo>
                <a:close/>
                <a:moveTo>
                  <a:pt x="163" y="344"/>
                </a:moveTo>
                <a:cubicBezTo>
                  <a:pt x="164" y="346"/>
                  <a:pt x="166" y="350"/>
                  <a:pt x="167" y="353"/>
                </a:cubicBezTo>
                <a:cubicBezTo>
                  <a:pt x="165" y="351"/>
                  <a:pt x="164" y="347"/>
                  <a:pt x="163" y="344"/>
                </a:cubicBezTo>
                <a:close/>
                <a:moveTo>
                  <a:pt x="167" y="354"/>
                </a:moveTo>
                <a:cubicBezTo>
                  <a:pt x="167" y="353"/>
                  <a:pt x="168" y="355"/>
                  <a:pt x="168" y="355"/>
                </a:cubicBezTo>
                <a:cubicBezTo>
                  <a:pt x="168" y="355"/>
                  <a:pt x="167" y="355"/>
                  <a:pt x="167" y="354"/>
                </a:cubicBezTo>
                <a:close/>
                <a:moveTo>
                  <a:pt x="170" y="358"/>
                </a:moveTo>
                <a:cubicBezTo>
                  <a:pt x="169" y="358"/>
                  <a:pt x="168" y="356"/>
                  <a:pt x="168" y="356"/>
                </a:cubicBezTo>
                <a:cubicBezTo>
                  <a:pt x="168" y="355"/>
                  <a:pt x="171" y="358"/>
                  <a:pt x="170" y="358"/>
                </a:cubicBezTo>
                <a:close/>
                <a:moveTo>
                  <a:pt x="171" y="267"/>
                </a:moveTo>
                <a:cubicBezTo>
                  <a:pt x="169" y="267"/>
                  <a:pt x="170" y="265"/>
                  <a:pt x="171" y="267"/>
                </a:cubicBezTo>
                <a:close/>
                <a:moveTo>
                  <a:pt x="173" y="269"/>
                </a:moveTo>
                <a:cubicBezTo>
                  <a:pt x="171" y="269"/>
                  <a:pt x="172" y="267"/>
                  <a:pt x="173" y="269"/>
                </a:cubicBezTo>
                <a:close/>
                <a:moveTo>
                  <a:pt x="173" y="268"/>
                </a:moveTo>
                <a:cubicBezTo>
                  <a:pt x="172" y="269"/>
                  <a:pt x="170" y="264"/>
                  <a:pt x="173" y="264"/>
                </a:cubicBezTo>
                <a:cubicBezTo>
                  <a:pt x="175" y="264"/>
                  <a:pt x="175" y="268"/>
                  <a:pt x="173" y="268"/>
                </a:cubicBezTo>
                <a:close/>
                <a:moveTo>
                  <a:pt x="177" y="280"/>
                </a:moveTo>
                <a:cubicBezTo>
                  <a:pt x="175" y="280"/>
                  <a:pt x="175" y="278"/>
                  <a:pt x="174" y="277"/>
                </a:cubicBezTo>
                <a:cubicBezTo>
                  <a:pt x="175" y="277"/>
                  <a:pt x="176" y="279"/>
                  <a:pt x="177" y="280"/>
                </a:cubicBezTo>
                <a:close/>
                <a:moveTo>
                  <a:pt x="179" y="434"/>
                </a:moveTo>
                <a:cubicBezTo>
                  <a:pt x="179" y="433"/>
                  <a:pt x="178" y="432"/>
                  <a:pt x="179" y="431"/>
                </a:cubicBezTo>
                <a:cubicBezTo>
                  <a:pt x="179" y="432"/>
                  <a:pt x="179" y="433"/>
                  <a:pt x="179" y="434"/>
                </a:cubicBezTo>
                <a:close/>
                <a:moveTo>
                  <a:pt x="178" y="387"/>
                </a:moveTo>
                <a:cubicBezTo>
                  <a:pt x="177" y="387"/>
                  <a:pt x="174" y="383"/>
                  <a:pt x="176" y="381"/>
                </a:cubicBezTo>
                <a:cubicBezTo>
                  <a:pt x="176" y="381"/>
                  <a:pt x="178" y="381"/>
                  <a:pt x="178" y="381"/>
                </a:cubicBezTo>
                <a:cubicBezTo>
                  <a:pt x="178" y="380"/>
                  <a:pt x="176" y="378"/>
                  <a:pt x="176" y="377"/>
                </a:cubicBezTo>
                <a:cubicBezTo>
                  <a:pt x="176" y="377"/>
                  <a:pt x="179" y="381"/>
                  <a:pt x="179" y="383"/>
                </a:cubicBezTo>
                <a:cubicBezTo>
                  <a:pt x="179" y="383"/>
                  <a:pt x="178" y="387"/>
                  <a:pt x="178" y="387"/>
                </a:cubicBezTo>
                <a:close/>
                <a:moveTo>
                  <a:pt x="178" y="354"/>
                </a:moveTo>
                <a:cubicBezTo>
                  <a:pt x="179" y="353"/>
                  <a:pt x="180" y="356"/>
                  <a:pt x="179" y="356"/>
                </a:cubicBezTo>
                <a:cubicBezTo>
                  <a:pt x="178" y="356"/>
                  <a:pt x="178" y="354"/>
                  <a:pt x="178" y="354"/>
                </a:cubicBezTo>
                <a:close/>
                <a:moveTo>
                  <a:pt x="181" y="290"/>
                </a:moveTo>
                <a:cubicBezTo>
                  <a:pt x="179" y="287"/>
                  <a:pt x="177" y="285"/>
                  <a:pt x="176" y="284"/>
                </a:cubicBezTo>
                <a:cubicBezTo>
                  <a:pt x="176" y="281"/>
                  <a:pt x="179" y="285"/>
                  <a:pt x="179" y="285"/>
                </a:cubicBezTo>
                <a:cubicBezTo>
                  <a:pt x="180" y="287"/>
                  <a:pt x="180" y="288"/>
                  <a:pt x="181" y="290"/>
                </a:cubicBezTo>
                <a:cubicBezTo>
                  <a:pt x="181" y="290"/>
                  <a:pt x="181" y="291"/>
                  <a:pt x="181" y="291"/>
                </a:cubicBezTo>
                <a:cubicBezTo>
                  <a:pt x="181" y="291"/>
                  <a:pt x="181" y="290"/>
                  <a:pt x="181" y="290"/>
                </a:cubicBezTo>
                <a:close/>
                <a:moveTo>
                  <a:pt x="182" y="217"/>
                </a:moveTo>
                <a:cubicBezTo>
                  <a:pt x="182" y="218"/>
                  <a:pt x="181" y="217"/>
                  <a:pt x="181" y="217"/>
                </a:cubicBezTo>
                <a:cubicBezTo>
                  <a:pt x="179" y="215"/>
                  <a:pt x="183" y="216"/>
                  <a:pt x="182" y="217"/>
                </a:cubicBezTo>
                <a:close/>
                <a:moveTo>
                  <a:pt x="310" y="745"/>
                </a:moveTo>
                <a:cubicBezTo>
                  <a:pt x="309" y="747"/>
                  <a:pt x="304" y="748"/>
                  <a:pt x="302" y="747"/>
                </a:cubicBezTo>
                <a:cubicBezTo>
                  <a:pt x="301" y="747"/>
                  <a:pt x="299" y="748"/>
                  <a:pt x="298" y="747"/>
                </a:cubicBezTo>
                <a:cubicBezTo>
                  <a:pt x="297" y="747"/>
                  <a:pt x="298" y="744"/>
                  <a:pt x="296" y="744"/>
                </a:cubicBezTo>
                <a:cubicBezTo>
                  <a:pt x="300" y="744"/>
                  <a:pt x="295" y="742"/>
                  <a:pt x="295" y="742"/>
                </a:cubicBezTo>
                <a:cubicBezTo>
                  <a:pt x="294" y="739"/>
                  <a:pt x="301" y="738"/>
                  <a:pt x="302" y="738"/>
                </a:cubicBezTo>
                <a:cubicBezTo>
                  <a:pt x="304" y="738"/>
                  <a:pt x="311" y="740"/>
                  <a:pt x="310" y="745"/>
                </a:cubicBezTo>
                <a:close/>
                <a:moveTo>
                  <a:pt x="295" y="179"/>
                </a:moveTo>
                <a:cubicBezTo>
                  <a:pt x="292" y="179"/>
                  <a:pt x="292" y="177"/>
                  <a:pt x="295" y="179"/>
                </a:cubicBezTo>
                <a:close/>
                <a:moveTo>
                  <a:pt x="292" y="164"/>
                </a:moveTo>
                <a:cubicBezTo>
                  <a:pt x="292" y="164"/>
                  <a:pt x="292" y="163"/>
                  <a:pt x="292" y="163"/>
                </a:cubicBezTo>
                <a:cubicBezTo>
                  <a:pt x="292" y="162"/>
                  <a:pt x="294" y="164"/>
                  <a:pt x="292" y="164"/>
                </a:cubicBezTo>
                <a:close/>
                <a:moveTo>
                  <a:pt x="295" y="173"/>
                </a:moveTo>
                <a:cubicBezTo>
                  <a:pt x="294" y="173"/>
                  <a:pt x="294" y="171"/>
                  <a:pt x="295" y="172"/>
                </a:cubicBezTo>
                <a:cubicBezTo>
                  <a:pt x="295" y="172"/>
                  <a:pt x="295" y="173"/>
                  <a:pt x="295" y="173"/>
                </a:cubicBezTo>
                <a:close/>
                <a:moveTo>
                  <a:pt x="293" y="108"/>
                </a:moveTo>
                <a:cubicBezTo>
                  <a:pt x="294" y="106"/>
                  <a:pt x="296" y="110"/>
                  <a:pt x="297" y="112"/>
                </a:cubicBezTo>
                <a:cubicBezTo>
                  <a:pt x="295" y="112"/>
                  <a:pt x="292" y="110"/>
                  <a:pt x="293" y="108"/>
                </a:cubicBezTo>
                <a:close/>
                <a:moveTo>
                  <a:pt x="296" y="183"/>
                </a:moveTo>
                <a:cubicBezTo>
                  <a:pt x="298" y="182"/>
                  <a:pt x="300" y="186"/>
                  <a:pt x="298" y="187"/>
                </a:cubicBezTo>
                <a:cubicBezTo>
                  <a:pt x="296" y="189"/>
                  <a:pt x="294" y="184"/>
                  <a:pt x="296" y="183"/>
                </a:cubicBezTo>
                <a:close/>
                <a:moveTo>
                  <a:pt x="297" y="144"/>
                </a:moveTo>
                <a:cubicBezTo>
                  <a:pt x="299" y="144"/>
                  <a:pt x="298" y="146"/>
                  <a:pt x="297" y="144"/>
                </a:cubicBezTo>
                <a:close/>
                <a:moveTo>
                  <a:pt x="300" y="188"/>
                </a:moveTo>
                <a:cubicBezTo>
                  <a:pt x="299" y="187"/>
                  <a:pt x="301" y="189"/>
                  <a:pt x="300" y="188"/>
                </a:cubicBezTo>
                <a:close/>
                <a:moveTo>
                  <a:pt x="301" y="225"/>
                </a:moveTo>
                <a:cubicBezTo>
                  <a:pt x="301" y="225"/>
                  <a:pt x="300" y="224"/>
                  <a:pt x="300" y="224"/>
                </a:cubicBezTo>
                <a:cubicBezTo>
                  <a:pt x="301" y="224"/>
                  <a:pt x="302" y="225"/>
                  <a:pt x="301" y="225"/>
                </a:cubicBezTo>
                <a:close/>
                <a:moveTo>
                  <a:pt x="300" y="518"/>
                </a:moveTo>
                <a:cubicBezTo>
                  <a:pt x="301" y="519"/>
                  <a:pt x="299" y="517"/>
                  <a:pt x="299" y="517"/>
                </a:cubicBezTo>
                <a:cubicBezTo>
                  <a:pt x="299" y="516"/>
                  <a:pt x="300" y="517"/>
                  <a:pt x="300" y="518"/>
                </a:cubicBezTo>
                <a:close/>
                <a:moveTo>
                  <a:pt x="300" y="733"/>
                </a:moveTo>
                <a:cubicBezTo>
                  <a:pt x="301" y="733"/>
                  <a:pt x="299" y="734"/>
                  <a:pt x="299" y="734"/>
                </a:cubicBezTo>
                <a:cubicBezTo>
                  <a:pt x="298" y="733"/>
                  <a:pt x="300" y="733"/>
                  <a:pt x="300" y="733"/>
                </a:cubicBezTo>
                <a:close/>
                <a:moveTo>
                  <a:pt x="298" y="724"/>
                </a:moveTo>
                <a:cubicBezTo>
                  <a:pt x="298" y="723"/>
                  <a:pt x="300" y="725"/>
                  <a:pt x="298" y="724"/>
                </a:cubicBezTo>
                <a:close/>
                <a:moveTo>
                  <a:pt x="297" y="681"/>
                </a:moveTo>
                <a:cubicBezTo>
                  <a:pt x="297" y="681"/>
                  <a:pt x="297" y="681"/>
                  <a:pt x="297" y="681"/>
                </a:cubicBezTo>
                <a:cubicBezTo>
                  <a:pt x="298" y="681"/>
                  <a:pt x="298" y="682"/>
                  <a:pt x="297" y="681"/>
                </a:cubicBezTo>
                <a:close/>
                <a:moveTo>
                  <a:pt x="303" y="683"/>
                </a:moveTo>
                <a:cubicBezTo>
                  <a:pt x="303" y="683"/>
                  <a:pt x="304" y="682"/>
                  <a:pt x="305" y="683"/>
                </a:cubicBezTo>
                <a:cubicBezTo>
                  <a:pt x="305" y="683"/>
                  <a:pt x="303" y="683"/>
                  <a:pt x="303" y="683"/>
                </a:cubicBezTo>
                <a:close/>
                <a:moveTo>
                  <a:pt x="304" y="731"/>
                </a:moveTo>
                <a:cubicBezTo>
                  <a:pt x="305" y="731"/>
                  <a:pt x="302" y="730"/>
                  <a:pt x="304" y="731"/>
                </a:cubicBezTo>
                <a:close/>
                <a:moveTo>
                  <a:pt x="303" y="675"/>
                </a:moveTo>
                <a:cubicBezTo>
                  <a:pt x="305" y="673"/>
                  <a:pt x="305" y="677"/>
                  <a:pt x="303" y="675"/>
                </a:cubicBezTo>
                <a:close/>
                <a:moveTo>
                  <a:pt x="302" y="671"/>
                </a:moveTo>
                <a:cubicBezTo>
                  <a:pt x="302" y="669"/>
                  <a:pt x="304" y="669"/>
                  <a:pt x="305" y="670"/>
                </a:cubicBezTo>
                <a:cubicBezTo>
                  <a:pt x="306" y="671"/>
                  <a:pt x="302" y="672"/>
                  <a:pt x="302" y="671"/>
                </a:cubicBezTo>
                <a:close/>
                <a:moveTo>
                  <a:pt x="304" y="158"/>
                </a:moveTo>
                <a:cubicBezTo>
                  <a:pt x="304" y="158"/>
                  <a:pt x="303" y="158"/>
                  <a:pt x="304" y="157"/>
                </a:cubicBezTo>
                <a:cubicBezTo>
                  <a:pt x="304" y="157"/>
                  <a:pt x="305" y="158"/>
                  <a:pt x="304" y="158"/>
                </a:cubicBezTo>
                <a:close/>
                <a:moveTo>
                  <a:pt x="304" y="613"/>
                </a:moveTo>
                <a:cubicBezTo>
                  <a:pt x="305" y="615"/>
                  <a:pt x="301" y="614"/>
                  <a:pt x="302" y="612"/>
                </a:cubicBezTo>
                <a:cubicBezTo>
                  <a:pt x="302" y="612"/>
                  <a:pt x="304" y="612"/>
                  <a:pt x="304" y="613"/>
                </a:cubicBezTo>
                <a:close/>
                <a:moveTo>
                  <a:pt x="305" y="735"/>
                </a:moveTo>
                <a:cubicBezTo>
                  <a:pt x="307" y="734"/>
                  <a:pt x="308" y="736"/>
                  <a:pt x="305" y="735"/>
                </a:cubicBezTo>
                <a:close/>
                <a:moveTo>
                  <a:pt x="307" y="737"/>
                </a:moveTo>
                <a:cubicBezTo>
                  <a:pt x="307" y="737"/>
                  <a:pt x="308" y="737"/>
                  <a:pt x="309" y="737"/>
                </a:cubicBezTo>
                <a:cubicBezTo>
                  <a:pt x="308" y="737"/>
                  <a:pt x="308" y="737"/>
                  <a:pt x="307" y="737"/>
                </a:cubicBezTo>
                <a:close/>
                <a:moveTo>
                  <a:pt x="311" y="752"/>
                </a:moveTo>
                <a:cubicBezTo>
                  <a:pt x="311" y="752"/>
                  <a:pt x="311" y="752"/>
                  <a:pt x="311" y="752"/>
                </a:cubicBezTo>
                <a:cubicBezTo>
                  <a:pt x="313" y="752"/>
                  <a:pt x="312" y="753"/>
                  <a:pt x="311" y="752"/>
                </a:cubicBezTo>
                <a:close/>
                <a:moveTo>
                  <a:pt x="314" y="737"/>
                </a:moveTo>
                <a:cubicBezTo>
                  <a:pt x="315" y="736"/>
                  <a:pt x="316" y="737"/>
                  <a:pt x="316" y="738"/>
                </a:cubicBezTo>
                <a:cubicBezTo>
                  <a:pt x="317" y="739"/>
                  <a:pt x="313" y="738"/>
                  <a:pt x="314" y="737"/>
                </a:cubicBezTo>
                <a:close/>
                <a:moveTo>
                  <a:pt x="313" y="737"/>
                </a:moveTo>
                <a:cubicBezTo>
                  <a:pt x="309" y="737"/>
                  <a:pt x="308" y="733"/>
                  <a:pt x="302" y="734"/>
                </a:cubicBezTo>
                <a:cubicBezTo>
                  <a:pt x="303" y="733"/>
                  <a:pt x="305" y="733"/>
                  <a:pt x="306" y="732"/>
                </a:cubicBezTo>
                <a:cubicBezTo>
                  <a:pt x="306" y="732"/>
                  <a:pt x="305" y="731"/>
                  <a:pt x="305" y="732"/>
                </a:cubicBezTo>
                <a:cubicBezTo>
                  <a:pt x="305" y="731"/>
                  <a:pt x="306" y="731"/>
                  <a:pt x="306" y="731"/>
                </a:cubicBezTo>
                <a:cubicBezTo>
                  <a:pt x="307" y="729"/>
                  <a:pt x="304" y="729"/>
                  <a:pt x="306" y="728"/>
                </a:cubicBezTo>
                <a:cubicBezTo>
                  <a:pt x="307" y="727"/>
                  <a:pt x="308" y="728"/>
                  <a:pt x="310" y="728"/>
                </a:cubicBezTo>
                <a:cubicBezTo>
                  <a:pt x="310" y="728"/>
                  <a:pt x="313" y="728"/>
                  <a:pt x="315" y="729"/>
                </a:cubicBezTo>
                <a:cubicBezTo>
                  <a:pt x="319" y="730"/>
                  <a:pt x="318" y="736"/>
                  <a:pt x="313" y="737"/>
                </a:cubicBezTo>
                <a:close/>
                <a:moveTo>
                  <a:pt x="306" y="205"/>
                </a:moveTo>
                <a:cubicBezTo>
                  <a:pt x="307" y="205"/>
                  <a:pt x="306" y="206"/>
                  <a:pt x="306" y="206"/>
                </a:cubicBezTo>
                <a:cubicBezTo>
                  <a:pt x="304" y="205"/>
                  <a:pt x="306" y="204"/>
                  <a:pt x="306" y="205"/>
                </a:cubicBezTo>
                <a:close/>
                <a:moveTo>
                  <a:pt x="305" y="103"/>
                </a:moveTo>
                <a:cubicBezTo>
                  <a:pt x="307" y="102"/>
                  <a:pt x="308" y="105"/>
                  <a:pt x="306" y="104"/>
                </a:cubicBezTo>
                <a:cubicBezTo>
                  <a:pt x="305" y="104"/>
                  <a:pt x="305" y="103"/>
                  <a:pt x="305" y="103"/>
                </a:cubicBezTo>
                <a:close/>
                <a:moveTo>
                  <a:pt x="311" y="167"/>
                </a:moveTo>
                <a:cubicBezTo>
                  <a:pt x="311" y="167"/>
                  <a:pt x="311" y="167"/>
                  <a:pt x="311" y="167"/>
                </a:cubicBezTo>
                <a:cubicBezTo>
                  <a:pt x="311" y="167"/>
                  <a:pt x="311" y="167"/>
                  <a:pt x="312" y="167"/>
                </a:cubicBezTo>
                <a:cubicBezTo>
                  <a:pt x="312" y="167"/>
                  <a:pt x="311" y="167"/>
                  <a:pt x="311" y="167"/>
                </a:cubicBezTo>
                <a:close/>
                <a:moveTo>
                  <a:pt x="310" y="638"/>
                </a:moveTo>
                <a:cubicBezTo>
                  <a:pt x="314" y="639"/>
                  <a:pt x="311" y="641"/>
                  <a:pt x="310" y="638"/>
                </a:cubicBezTo>
                <a:close/>
                <a:moveTo>
                  <a:pt x="311" y="123"/>
                </a:moveTo>
                <a:cubicBezTo>
                  <a:pt x="309" y="123"/>
                  <a:pt x="312" y="124"/>
                  <a:pt x="311" y="123"/>
                </a:cubicBezTo>
                <a:close/>
                <a:moveTo>
                  <a:pt x="310" y="111"/>
                </a:moveTo>
                <a:cubicBezTo>
                  <a:pt x="311" y="111"/>
                  <a:pt x="312" y="112"/>
                  <a:pt x="311" y="112"/>
                </a:cubicBezTo>
                <a:cubicBezTo>
                  <a:pt x="311" y="112"/>
                  <a:pt x="310" y="112"/>
                  <a:pt x="310" y="111"/>
                </a:cubicBezTo>
                <a:close/>
                <a:moveTo>
                  <a:pt x="308" y="612"/>
                </a:moveTo>
                <a:cubicBezTo>
                  <a:pt x="308" y="611"/>
                  <a:pt x="310" y="612"/>
                  <a:pt x="310" y="612"/>
                </a:cubicBezTo>
                <a:cubicBezTo>
                  <a:pt x="311" y="614"/>
                  <a:pt x="308" y="613"/>
                  <a:pt x="308" y="612"/>
                </a:cubicBezTo>
                <a:close/>
                <a:moveTo>
                  <a:pt x="316" y="436"/>
                </a:moveTo>
                <a:cubicBezTo>
                  <a:pt x="317" y="435"/>
                  <a:pt x="318" y="436"/>
                  <a:pt x="318" y="437"/>
                </a:cubicBezTo>
                <a:cubicBezTo>
                  <a:pt x="320" y="439"/>
                  <a:pt x="316" y="436"/>
                  <a:pt x="316" y="436"/>
                </a:cubicBezTo>
                <a:close/>
                <a:moveTo>
                  <a:pt x="317" y="526"/>
                </a:moveTo>
                <a:cubicBezTo>
                  <a:pt x="317" y="526"/>
                  <a:pt x="318" y="527"/>
                  <a:pt x="319" y="528"/>
                </a:cubicBezTo>
                <a:cubicBezTo>
                  <a:pt x="319" y="529"/>
                  <a:pt x="317" y="527"/>
                  <a:pt x="317" y="526"/>
                </a:cubicBezTo>
                <a:close/>
                <a:moveTo>
                  <a:pt x="316" y="682"/>
                </a:moveTo>
                <a:cubicBezTo>
                  <a:pt x="318" y="683"/>
                  <a:pt x="316" y="684"/>
                  <a:pt x="316" y="682"/>
                </a:cubicBezTo>
                <a:close/>
                <a:moveTo>
                  <a:pt x="315" y="197"/>
                </a:moveTo>
                <a:cubicBezTo>
                  <a:pt x="315" y="196"/>
                  <a:pt x="317" y="197"/>
                  <a:pt x="316" y="198"/>
                </a:cubicBezTo>
                <a:cubicBezTo>
                  <a:pt x="316" y="198"/>
                  <a:pt x="315" y="197"/>
                  <a:pt x="315" y="197"/>
                </a:cubicBezTo>
                <a:close/>
                <a:moveTo>
                  <a:pt x="315" y="98"/>
                </a:moveTo>
                <a:cubicBezTo>
                  <a:pt x="313" y="97"/>
                  <a:pt x="318" y="96"/>
                  <a:pt x="317" y="98"/>
                </a:cubicBezTo>
                <a:cubicBezTo>
                  <a:pt x="316" y="98"/>
                  <a:pt x="316" y="98"/>
                  <a:pt x="315" y="98"/>
                </a:cubicBezTo>
                <a:close/>
                <a:moveTo>
                  <a:pt x="314" y="99"/>
                </a:moveTo>
                <a:cubicBezTo>
                  <a:pt x="317" y="99"/>
                  <a:pt x="315" y="102"/>
                  <a:pt x="314" y="99"/>
                </a:cubicBezTo>
                <a:close/>
                <a:moveTo>
                  <a:pt x="314" y="129"/>
                </a:moveTo>
                <a:cubicBezTo>
                  <a:pt x="314" y="129"/>
                  <a:pt x="314" y="129"/>
                  <a:pt x="314" y="129"/>
                </a:cubicBezTo>
                <a:cubicBezTo>
                  <a:pt x="311" y="127"/>
                  <a:pt x="317" y="129"/>
                  <a:pt x="314" y="129"/>
                </a:cubicBezTo>
                <a:close/>
                <a:moveTo>
                  <a:pt x="313" y="166"/>
                </a:moveTo>
                <a:cubicBezTo>
                  <a:pt x="315" y="165"/>
                  <a:pt x="313" y="168"/>
                  <a:pt x="313" y="166"/>
                </a:cubicBezTo>
                <a:cubicBezTo>
                  <a:pt x="312" y="166"/>
                  <a:pt x="313" y="166"/>
                  <a:pt x="313" y="166"/>
                </a:cubicBezTo>
                <a:close/>
                <a:moveTo>
                  <a:pt x="313" y="636"/>
                </a:moveTo>
                <a:cubicBezTo>
                  <a:pt x="313" y="636"/>
                  <a:pt x="314" y="637"/>
                  <a:pt x="314" y="637"/>
                </a:cubicBezTo>
                <a:cubicBezTo>
                  <a:pt x="316" y="639"/>
                  <a:pt x="311" y="637"/>
                  <a:pt x="313" y="636"/>
                </a:cubicBezTo>
                <a:close/>
                <a:moveTo>
                  <a:pt x="316" y="540"/>
                </a:moveTo>
                <a:cubicBezTo>
                  <a:pt x="317" y="539"/>
                  <a:pt x="318" y="540"/>
                  <a:pt x="319" y="541"/>
                </a:cubicBezTo>
                <a:cubicBezTo>
                  <a:pt x="319" y="542"/>
                  <a:pt x="316" y="541"/>
                  <a:pt x="316" y="540"/>
                </a:cubicBezTo>
                <a:close/>
                <a:moveTo>
                  <a:pt x="318" y="161"/>
                </a:moveTo>
                <a:cubicBezTo>
                  <a:pt x="318" y="162"/>
                  <a:pt x="317" y="161"/>
                  <a:pt x="317" y="161"/>
                </a:cubicBezTo>
                <a:cubicBezTo>
                  <a:pt x="315" y="158"/>
                  <a:pt x="320" y="159"/>
                  <a:pt x="318" y="161"/>
                </a:cubicBezTo>
                <a:close/>
                <a:moveTo>
                  <a:pt x="317" y="121"/>
                </a:moveTo>
                <a:cubicBezTo>
                  <a:pt x="319" y="122"/>
                  <a:pt x="316" y="121"/>
                  <a:pt x="317" y="121"/>
                </a:cubicBezTo>
                <a:close/>
                <a:moveTo>
                  <a:pt x="318" y="139"/>
                </a:moveTo>
                <a:cubicBezTo>
                  <a:pt x="319" y="138"/>
                  <a:pt x="320" y="141"/>
                  <a:pt x="319" y="140"/>
                </a:cubicBezTo>
                <a:cubicBezTo>
                  <a:pt x="319" y="140"/>
                  <a:pt x="318" y="140"/>
                  <a:pt x="318" y="139"/>
                </a:cubicBezTo>
                <a:close/>
                <a:moveTo>
                  <a:pt x="318" y="103"/>
                </a:moveTo>
                <a:cubicBezTo>
                  <a:pt x="319" y="103"/>
                  <a:pt x="319" y="104"/>
                  <a:pt x="319" y="104"/>
                </a:cubicBezTo>
                <a:cubicBezTo>
                  <a:pt x="319" y="104"/>
                  <a:pt x="319" y="104"/>
                  <a:pt x="319" y="104"/>
                </a:cubicBezTo>
                <a:cubicBezTo>
                  <a:pt x="319" y="103"/>
                  <a:pt x="318" y="103"/>
                  <a:pt x="318" y="103"/>
                </a:cubicBezTo>
                <a:close/>
                <a:moveTo>
                  <a:pt x="319" y="603"/>
                </a:moveTo>
                <a:cubicBezTo>
                  <a:pt x="320" y="602"/>
                  <a:pt x="321" y="603"/>
                  <a:pt x="321" y="603"/>
                </a:cubicBezTo>
                <a:cubicBezTo>
                  <a:pt x="321" y="605"/>
                  <a:pt x="318" y="603"/>
                  <a:pt x="319" y="603"/>
                </a:cubicBezTo>
                <a:close/>
                <a:moveTo>
                  <a:pt x="322" y="158"/>
                </a:moveTo>
                <a:cubicBezTo>
                  <a:pt x="321" y="159"/>
                  <a:pt x="320" y="157"/>
                  <a:pt x="321" y="157"/>
                </a:cubicBezTo>
                <a:cubicBezTo>
                  <a:pt x="322" y="157"/>
                  <a:pt x="322" y="158"/>
                  <a:pt x="322" y="158"/>
                </a:cubicBezTo>
                <a:close/>
                <a:moveTo>
                  <a:pt x="322" y="131"/>
                </a:moveTo>
                <a:cubicBezTo>
                  <a:pt x="323" y="132"/>
                  <a:pt x="321" y="131"/>
                  <a:pt x="322" y="131"/>
                </a:cubicBezTo>
                <a:close/>
                <a:moveTo>
                  <a:pt x="321" y="762"/>
                </a:moveTo>
                <a:cubicBezTo>
                  <a:pt x="322" y="762"/>
                  <a:pt x="323" y="762"/>
                  <a:pt x="324" y="763"/>
                </a:cubicBezTo>
                <a:cubicBezTo>
                  <a:pt x="325" y="766"/>
                  <a:pt x="316" y="764"/>
                  <a:pt x="321" y="762"/>
                </a:cubicBezTo>
                <a:close/>
                <a:moveTo>
                  <a:pt x="328" y="213"/>
                </a:moveTo>
                <a:cubicBezTo>
                  <a:pt x="328" y="213"/>
                  <a:pt x="327" y="213"/>
                  <a:pt x="327" y="212"/>
                </a:cubicBezTo>
                <a:cubicBezTo>
                  <a:pt x="325" y="210"/>
                  <a:pt x="330" y="211"/>
                  <a:pt x="328" y="213"/>
                </a:cubicBezTo>
                <a:close/>
                <a:moveTo>
                  <a:pt x="326" y="141"/>
                </a:moveTo>
                <a:cubicBezTo>
                  <a:pt x="326" y="141"/>
                  <a:pt x="327" y="142"/>
                  <a:pt x="327" y="142"/>
                </a:cubicBezTo>
                <a:cubicBezTo>
                  <a:pt x="327" y="142"/>
                  <a:pt x="326" y="142"/>
                  <a:pt x="326" y="141"/>
                </a:cubicBezTo>
                <a:close/>
                <a:moveTo>
                  <a:pt x="340" y="128"/>
                </a:moveTo>
                <a:cubicBezTo>
                  <a:pt x="342" y="128"/>
                  <a:pt x="347" y="132"/>
                  <a:pt x="349" y="135"/>
                </a:cubicBezTo>
                <a:cubicBezTo>
                  <a:pt x="349" y="135"/>
                  <a:pt x="351" y="135"/>
                  <a:pt x="350" y="136"/>
                </a:cubicBezTo>
                <a:cubicBezTo>
                  <a:pt x="349" y="137"/>
                  <a:pt x="345" y="134"/>
                  <a:pt x="346" y="135"/>
                </a:cubicBezTo>
                <a:cubicBezTo>
                  <a:pt x="344" y="134"/>
                  <a:pt x="343" y="131"/>
                  <a:pt x="342" y="130"/>
                </a:cubicBezTo>
                <a:cubicBezTo>
                  <a:pt x="338" y="126"/>
                  <a:pt x="333" y="125"/>
                  <a:pt x="330" y="121"/>
                </a:cubicBezTo>
                <a:cubicBezTo>
                  <a:pt x="334" y="121"/>
                  <a:pt x="336" y="126"/>
                  <a:pt x="340" y="128"/>
                </a:cubicBezTo>
                <a:close/>
                <a:moveTo>
                  <a:pt x="331" y="113"/>
                </a:moveTo>
                <a:cubicBezTo>
                  <a:pt x="332" y="112"/>
                  <a:pt x="332" y="114"/>
                  <a:pt x="332" y="114"/>
                </a:cubicBezTo>
                <a:cubicBezTo>
                  <a:pt x="331" y="114"/>
                  <a:pt x="331" y="113"/>
                  <a:pt x="331" y="113"/>
                </a:cubicBezTo>
                <a:close/>
                <a:moveTo>
                  <a:pt x="335" y="82"/>
                </a:moveTo>
                <a:cubicBezTo>
                  <a:pt x="334" y="81"/>
                  <a:pt x="337" y="82"/>
                  <a:pt x="335" y="82"/>
                </a:cubicBezTo>
                <a:close/>
                <a:moveTo>
                  <a:pt x="337" y="101"/>
                </a:moveTo>
                <a:cubicBezTo>
                  <a:pt x="338" y="100"/>
                  <a:pt x="338" y="102"/>
                  <a:pt x="339" y="101"/>
                </a:cubicBezTo>
                <a:cubicBezTo>
                  <a:pt x="339" y="102"/>
                  <a:pt x="337" y="102"/>
                  <a:pt x="337" y="101"/>
                </a:cubicBezTo>
                <a:close/>
                <a:moveTo>
                  <a:pt x="355" y="124"/>
                </a:moveTo>
                <a:cubicBezTo>
                  <a:pt x="354" y="123"/>
                  <a:pt x="352" y="122"/>
                  <a:pt x="351" y="120"/>
                </a:cubicBezTo>
                <a:cubicBezTo>
                  <a:pt x="353" y="121"/>
                  <a:pt x="354" y="122"/>
                  <a:pt x="355" y="124"/>
                </a:cubicBezTo>
                <a:close/>
                <a:moveTo>
                  <a:pt x="353" y="90"/>
                </a:moveTo>
                <a:cubicBezTo>
                  <a:pt x="353" y="90"/>
                  <a:pt x="353" y="90"/>
                  <a:pt x="353" y="90"/>
                </a:cubicBezTo>
                <a:cubicBezTo>
                  <a:pt x="355" y="92"/>
                  <a:pt x="353" y="90"/>
                  <a:pt x="353" y="90"/>
                </a:cubicBezTo>
                <a:close/>
                <a:moveTo>
                  <a:pt x="366" y="123"/>
                </a:moveTo>
                <a:cubicBezTo>
                  <a:pt x="365" y="124"/>
                  <a:pt x="364" y="123"/>
                  <a:pt x="364" y="123"/>
                </a:cubicBezTo>
                <a:cubicBezTo>
                  <a:pt x="361" y="121"/>
                  <a:pt x="367" y="121"/>
                  <a:pt x="366" y="123"/>
                </a:cubicBezTo>
                <a:close/>
                <a:moveTo>
                  <a:pt x="365" y="109"/>
                </a:moveTo>
                <a:cubicBezTo>
                  <a:pt x="365" y="109"/>
                  <a:pt x="365" y="109"/>
                  <a:pt x="365" y="109"/>
                </a:cubicBezTo>
                <a:cubicBezTo>
                  <a:pt x="363" y="108"/>
                  <a:pt x="367" y="109"/>
                  <a:pt x="365" y="109"/>
                </a:cubicBezTo>
                <a:close/>
                <a:moveTo>
                  <a:pt x="364" y="93"/>
                </a:moveTo>
                <a:cubicBezTo>
                  <a:pt x="363" y="94"/>
                  <a:pt x="363" y="93"/>
                  <a:pt x="363" y="93"/>
                </a:cubicBezTo>
                <a:cubicBezTo>
                  <a:pt x="361" y="92"/>
                  <a:pt x="364" y="92"/>
                  <a:pt x="364" y="93"/>
                </a:cubicBezTo>
                <a:close/>
                <a:moveTo>
                  <a:pt x="363" y="131"/>
                </a:moveTo>
                <a:cubicBezTo>
                  <a:pt x="361" y="130"/>
                  <a:pt x="359" y="128"/>
                  <a:pt x="358" y="126"/>
                </a:cubicBezTo>
                <a:cubicBezTo>
                  <a:pt x="360" y="127"/>
                  <a:pt x="361" y="129"/>
                  <a:pt x="363" y="131"/>
                </a:cubicBezTo>
                <a:close/>
                <a:moveTo>
                  <a:pt x="368" y="604"/>
                </a:moveTo>
                <a:cubicBezTo>
                  <a:pt x="365" y="603"/>
                  <a:pt x="367" y="602"/>
                  <a:pt x="368" y="604"/>
                </a:cubicBezTo>
                <a:close/>
                <a:moveTo>
                  <a:pt x="367" y="364"/>
                </a:moveTo>
                <a:cubicBezTo>
                  <a:pt x="369" y="364"/>
                  <a:pt x="370" y="367"/>
                  <a:pt x="371" y="368"/>
                </a:cubicBezTo>
                <a:cubicBezTo>
                  <a:pt x="369" y="368"/>
                  <a:pt x="368" y="365"/>
                  <a:pt x="367" y="364"/>
                </a:cubicBezTo>
                <a:close/>
                <a:moveTo>
                  <a:pt x="367" y="638"/>
                </a:moveTo>
                <a:cubicBezTo>
                  <a:pt x="368" y="637"/>
                  <a:pt x="368" y="639"/>
                  <a:pt x="367" y="638"/>
                </a:cubicBezTo>
                <a:close/>
                <a:moveTo>
                  <a:pt x="373" y="642"/>
                </a:moveTo>
                <a:cubicBezTo>
                  <a:pt x="375" y="643"/>
                  <a:pt x="376" y="644"/>
                  <a:pt x="376" y="646"/>
                </a:cubicBezTo>
                <a:cubicBezTo>
                  <a:pt x="377" y="652"/>
                  <a:pt x="365" y="646"/>
                  <a:pt x="365" y="645"/>
                </a:cubicBezTo>
                <a:cubicBezTo>
                  <a:pt x="365" y="644"/>
                  <a:pt x="372" y="642"/>
                  <a:pt x="373" y="642"/>
                </a:cubicBezTo>
                <a:close/>
                <a:moveTo>
                  <a:pt x="374" y="562"/>
                </a:moveTo>
                <a:cubicBezTo>
                  <a:pt x="375" y="563"/>
                  <a:pt x="372" y="562"/>
                  <a:pt x="373" y="561"/>
                </a:cubicBezTo>
                <a:cubicBezTo>
                  <a:pt x="374" y="561"/>
                  <a:pt x="374" y="562"/>
                  <a:pt x="374" y="562"/>
                </a:cubicBezTo>
                <a:close/>
                <a:moveTo>
                  <a:pt x="374" y="444"/>
                </a:moveTo>
                <a:cubicBezTo>
                  <a:pt x="373" y="445"/>
                  <a:pt x="373" y="442"/>
                  <a:pt x="374" y="444"/>
                </a:cubicBezTo>
                <a:close/>
                <a:moveTo>
                  <a:pt x="372" y="582"/>
                </a:moveTo>
                <a:cubicBezTo>
                  <a:pt x="375" y="582"/>
                  <a:pt x="372" y="584"/>
                  <a:pt x="372" y="582"/>
                </a:cubicBezTo>
                <a:close/>
                <a:moveTo>
                  <a:pt x="371" y="374"/>
                </a:moveTo>
                <a:cubicBezTo>
                  <a:pt x="372" y="373"/>
                  <a:pt x="372" y="375"/>
                  <a:pt x="371" y="374"/>
                </a:cubicBezTo>
                <a:close/>
                <a:moveTo>
                  <a:pt x="365" y="654"/>
                </a:moveTo>
                <a:cubicBezTo>
                  <a:pt x="366" y="652"/>
                  <a:pt x="367" y="655"/>
                  <a:pt x="365" y="654"/>
                </a:cubicBezTo>
                <a:close/>
                <a:moveTo>
                  <a:pt x="366" y="661"/>
                </a:moveTo>
                <a:cubicBezTo>
                  <a:pt x="369" y="661"/>
                  <a:pt x="370" y="659"/>
                  <a:pt x="371" y="661"/>
                </a:cubicBezTo>
                <a:cubicBezTo>
                  <a:pt x="372" y="661"/>
                  <a:pt x="371" y="662"/>
                  <a:pt x="372" y="663"/>
                </a:cubicBezTo>
                <a:cubicBezTo>
                  <a:pt x="375" y="666"/>
                  <a:pt x="386" y="664"/>
                  <a:pt x="386" y="668"/>
                </a:cubicBezTo>
                <a:cubicBezTo>
                  <a:pt x="387" y="671"/>
                  <a:pt x="373" y="665"/>
                  <a:pt x="372" y="664"/>
                </a:cubicBezTo>
                <a:cubicBezTo>
                  <a:pt x="369" y="662"/>
                  <a:pt x="364" y="662"/>
                  <a:pt x="362" y="661"/>
                </a:cubicBezTo>
                <a:cubicBezTo>
                  <a:pt x="362" y="660"/>
                  <a:pt x="361" y="660"/>
                  <a:pt x="361" y="659"/>
                </a:cubicBezTo>
                <a:cubicBezTo>
                  <a:pt x="362" y="657"/>
                  <a:pt x="364" y="661"/>
                  <a:pt x="366" y="661"/>
                </a:cubicBezTo>
                <a:close/>
                <a:moveTo>
                  <a:pt x="377" y="623"/>
                </a:moveTo>
                <a:cubicBezTo>
                  <a:pt x="379" y="623"/>
                  <a:pt x="377" y="625"/>
                  <a:pt x="377" y="623"/>
                </a:cubicBezTo>
                <a:close/>
                <a:moveTo>
                  <a:pt x="385" y="646"/>
                </a:moveTo>
                <a:cubicBezTo>
                  <a:pt x="385" y="645"/>
                  <a:pt x="387" y="645"/>
                  <a:pt x="387" y="646"/>
                </a:cubicBezTo>
                <a:cubicBezTo>
                  <a:pt x="387" y="647"/>
                  <a:pt x="385" y="647"/>
                  <a:pt x="385" y="646"/>
                </a:cubicBezTo>
                <a:close/>
                <a:moveTo>
                  <a:pt x="387" y="661"/>
                </a:moveTo>
                <a:cubicBezTo>
                  <a:pt x="389" y="662"/>
                  <a:pt x="384" y="662"/>
                  <a:pt x="385" y="661"/>
                </a:cubicBezTo>
                <a:cubicBezTo>
                  <a:pt x="385" y="660"/>
                  <a:pt x="387" y="660"/>
                  <a:pt x="387" y="661"/>
                </a:cubicBezTo>
                <a:close/>
                <a:moveTo>
                  <a:pt x="385" y="654"/>
                </a:moveTo>
                <a:cubicBezTo>
                  <a:pt x="388" y="654"/>
                  <a:pt x="385" y="656"/>
                  <a:pt x="385" y="654"/>
                </a:cubicBezTo>
                <a:close/>
                <a:moveTo>
                  <a:pt x="380" y="671"/>
                </a:moveTo>
                <a:cubicBezTo>
                  <a:pt x="382" y="672"/>
                  <a:pt x="380" y="673"/>
                  <a:pt x="380" y="671"/>
                </a:cubicBezTo>
                <a:close/>
                <a:moveTo>
                  <a:pt x="379" y="676"/>
                </a:moveTo>
                <a:cubicBezTo>
                  <a:pt x="379" y="676"/>
                  <a:pt x="380" y="675"/>
                  <a:pt x="380" y="675"/>
                </a:cubicBezTo>
                <a:cubicBezTo>
                  <a:pt x="380" y="676"/>
                  <a:pt x="380" y="677"/>
                  <a:pt x="379" y="676"/>
                </a:cubicBezTo>
                <a:close/>
                <a:moveTo>
                  <a:pt x="378" y="669"/>
                </a:moveTo>
                <a:cubicBezTo>
                  <a:pt x="377" y="669"/>
                  <a:pt x="377" y="666"/>
                  <a:pt x="378" y="668"/>
                </a:cubicBezTo>
                <a:cubicBezTo>
                  <a:pt x="378" y="668"/>
                  <a:pt x="378" y="669"/>
                  <a:pt x="378" y="669"/>
                </a:cubicBezTo>
                <a:close/>
                <a:moveTo>
                  <a:pt x="366" y="677"/>
                </a:moveTo>
                <a:cubicBezTo>
                  <a:pt x="369" y="676"/>
                  <a:pt x="367" y="673"/>
                  <a:pt x="368" y="672"/>
                </a:cubicBezTo>
                <a:cubicBezTo>
                  <a:pt x="370" y="671"/>
                  <a:pt x="373" y="675"/>
                  <a:pt x="372" y="677"/>
                </a:cubicBezTo>
                <a:cubicBezTo>
                  <a:pt x="371" y="678"/>
                  <a:pt x="368" y="676"/>
                  <a:pt x="366" y="677"/>
                </a:cubicBezTo>
                <a:close/>
                <a:moveTo>
                  <a:pt x="369" y="695"/>
                </a:moveTo>
                <a:cubicBezTo>
                  <a:pt x="369" y="694"/>
                  <a:pt x="371" y="694"/>
                  <a:pt x="371" y="695"/>
                </a:cubicBezTo>
                <a:cubicBezTo>
                  <a:pt x="372" y="696"/>
                  <a:pt x="369" y="696"/>
                  <a:pt x="369" y="695"/>
                </a:cubicBezTo>
                <a:close/>
                <a:moveTo>
                  <a:pt x="365" y="733"/>
                </a:moveTo>
                <a:cubicBezTo>
                  <a:pt x="365" y="731"/>
                  <a:pt x="367" y="731"/>
                  <a:pt x="368" y="732"/>
                </a:cubicBezTo>
                <a:cubicBezTo>
                  <a:pt x="369" y="733"/>
                  <a:pt x="365" y="733"/>
                  <a:pt x="365" y="733"/>
                </a:cubicBezTo>
                <a:close/>
                <a:moveTo>
                  <a:pt x="364" y="734"/>
                </a:moveTo>
                <a:cubicBezTo>
                  <a:pt x="365" y="734"/>
                  <a:pt x="366" y="734"/>
                  <a:pt x="366" y="734"/>
                </a:cubicBezTo>
                <a:cubicBezTo>
                  <a:pt x="367" y="736"/>
                  <a:pt x="363" y="735"/>
                  <a:pt x="364" y="734"/>
                </a:cubicBezTo>
                <a:close/>
                <a:moveTo>
                  <a:pt x="363" y="683"/>
                </a:moveTo>
                <a:cubicBezTo>
                  <a:pt x="365" y="682"/>
                  <a:pt x="364" y="684"/>
                  <a:pt x="363" y="683"/>
                </a:cubicBezTo>
                <a:close/>
                <a:moveTo>
                  <a:pt x="361" y="684"/>
                </a:moveTo>
                <a:cubicBezTo>
                  <a:pt x="360" y="685"/>
                  <a:pt x="360" y="682"/>
                  <a:pt x="361" y="684"/>
                </a:cubicBezTo>
                <a:close/>
                <a:moveTo>
                  <a:pt x="360" y="465"/>
                </a:moveTo>
                <a:cubicBezTo>
                  <a:pt x="360" y="465"/>
                  <a:pt x="361" y="466"/>
                  <a:pt x="361" y="466"/>
                </a:cubicBezTo>
                <a:cubicBezTo>
                  <a:pt x="362" y="468"/>
                  <a:pt x="358" y="466"/>
                  <a:pt x="360" y="465"/>
                </a:cubicBezTo>
                <a:close/>
                <a:moveTo>
                  <a:pt x="361" y="695"/>
                </a:moveTo>
                <a:cubicBezTo>
                  <a:pt x="360" y="696"/>
                  <a:pt x="361" y="694"/>
                  <a:pt x="361" y="695"/>
                </a:cubicBezTo>
                <a:close/>
                <a:moveTo>
                  <a:pt x="364" y="650"/>
                </a:moveTo>
                <a:cubicBezTo>
                  <a:pt x="365" y="652"/>
                  <a:pt x="361" y="651"/>
                  <a:pt x="362" y="649"/>
                </a:cubicBezTo>
                <a:cubicBezTo>
                  <a:pt x="363" y="649"/>
                  <a:pt x="364" y="650"/>
                  <a:pt x="364" y="650"/>
                </a:cubicBezTo>
                <a:close/>
                <a:moveTo>
                  <a:pt x="365" y="376"/>
                </a:moveTo>
                <a:cubicBezTo>
                  <a:pt x="363" y="376"/>
                  <a:pt x="364" y="373"/>
                  <a:pt x="365" y="376"/>
                </a:cubicBezTo>
                <a:close/>
                <a:moveTo>
                  <a:pt x="361" y="355"/>
                </a:moveTo>
                <a:cubicBezTo>
                  <a:pt x="362" y="354"/>
                  <a:pt x="363" y="356"/>
                  <a:pt x="363" y="357"/>
                </a:cubicBezTo>
                <a:cubicBezTo>
                  <a:pt x="362" y="356"/>
                  <a:pt x="362" y="356"/>
                  <a:pt x="361" y="355"/>
                </a:cubicBezTo>
                <a:close/>
                <a:moveTo>
                  <a:pt x="356" y="702"/>
                </a:moveTo>
                <a:cubicBezTo>
                  <a:pt x="359" y="702"/>
                  <a:pt x="356" y="704"/>
                  <a:pt x="356" y="702"/>
                </a:cubicBezTo>
                <a:close/>
                <a:moveTo>
                  <a:pt x="356" y="683"/>
                </a:moveTo>
                <a:cubicBezTo>
                  <a:pt x="356" y="682"/>
                  <a:pt x="357" y="683"/>
                  <a:pt x="357" y="683"/>
                </a:cubicBezTo>
                <a:cubicBezTo>
                  <a:pt x="358" y="684"/>
                  <a:pt x="355" y="683"/>
                  <a:pt x="356" y="683"/>
                </a:cubicBezTo>
                <a:close/>
                <a:moveTo>
                  <a:pt x="359" y="708"/>
                </a:moveTo>
                <a:cubicBezTo>
                  <a:pt x="360" y="710"/>
                  <a:pt x="356" y="709"/>
                  <a:pt x="356" y="708"/>
                </a:cubicBezTo>
                <a:cubicBezTo>
                  <a:pt x="356" y="707"/>
                  <a:pt x="359" y="707"/>
                  <a:pt x="359" y="708"/>
                </a:cubicBezTo>
                <a:close/>
                <a:moveTo>
                  <a:pt x="358" y="153"/>
                </a:moveTo>
                <a:cubicBezTo>
                  <a:pt x="356" y="152"/>
                  <a:pt x="359" y="153"/>
                  <a:pt x="358" y="153"/>
                </a:cubicBezTo>
                <a:close/>
                <a:moveTo>
                  <a:pt x="358" y="538"/>
                </a:moveTo>
                <a:cubicBezTo>
                  <a:pt x="358" y="539"/>
                  <a:pt x="357" y="539"/>
                  <a:pt x="357" y="539"/>
                </a:cubicBezTo>
                <a:cubicBezTo>
                  <a:pt x="356" y="538"/>
                  <a:pt x="357" y="537"/>
                  <a:pt x="358" y="538"/>
                </a:cubicBezTo>
                <a:close/>
                <a:moveTo>
                  <a:pt x="359" y="673"/>
                </a:moveTo>
                <a:cubicBezTo>
                  <a:pt x="360" y="674"/>
                  <a:pt x="356" y="674"/>
                  <a:pt x="356" y="673"/>
                </a:cubicBezTo>
                <a:cubicBezTo>
                  <a:pt x="357" y="673"/>
                  <a:pt x="358" y="672"/>
                  <a:pt x="359" y="673"/>
                </a:cubicBezTo>
                <a:close/>
                <a:moveTo>
                  <a:pt x="359" y="678"/>
                </a:moveTo>
                <a:cubicBezTo>
                  <a:pt x="359" y="678"/>
                  <a:pt x="356" y="681"/>
                  <a:pt x="355" y="681"/>
                </a:cubicBezTo>
                <a:cubicBezTo>
                  <a:pt x="354" y="682"/>
                  <a:pt x="349" y="681"/>
                  <a:pt x="349" y="680"/>
                </a:cubicBezTo>
                <a:cubicBezTo>
                  <a:pt x="348" y="680"/>
                  <a:pt x="348" y="677"/>
                  <a:pt x="348" y="675"/>
                </a:cubicBezTo>
                <a:cubicBezTo>
                  <a:pt x="349" y="674"/>
                  <a:pt x="352" y="674"/>
                  <a:pt x="355" y="675"/>
                </a:cubicBezTo>
                <a:cubicBezTo>
                  <a:pt x="356" y="675"/>
                  <a:pt x="359" y="677"/>
                  <a:pt x="359" y="678"/>
                </a:cubicBezTo>
                <a:close/>
                <a:moveTo>
                  <a:pt x="354" y="738"/>
                </a:moveTo>
                <a:cubicBezTo>
                  <a:pt x="355" y="738"/>
                  <a:pt x="356" y="738"/>
                  <a:pt x="356" y="739"/>
                </a:cubicBezTo>
                <a:cubicBezTo>
                  <a:pt x="357" y="741"/>
                  <a:pt x="353" y="739"/>
                  <a:pt x="354" y="738"/>
                </a:cubicBezTo>
                <a:close/>
                <a:moveTo>
                  <a:pt x="354" y="757"/>
                </a:moveTo>
                <a:cubicBezTo>
                  <a:pt x="354" y="757"/>
                  <a:pt x="356" y="757"/>
                  <a:pt x="356" y="757"/>
                </a:cubicBezTo>
                <a:cubicBezTo>
                  <a:pt x="357" y="759"/>
                  <a:pt x="353" y="759"/>
                  <a:pt x="354" y="757"/>
                </a:cubicBezTo>
                <a:close/>
                <a:moveTo>
                  <a:pt x="349" y="683"/>
                </a:moveTo>
                <a:cubicBezTo>
                  <a:pt x="350" y="681"/>
                  <a:pt x="354" y="683"/>
                  <a:pt x="354" y="685"/>
                </a:cubicBezTo>
                <a:cubicBezTo>
                  <a:pt x="355" y="688"/>
                  <a:pt x="347" y="685"/>
                  <a:pt x="349" y="683"/>
                </a:cubicBezTo>
                <a:close/>
                <a:moveTo>
                  <a:pt x="348" y="704"/>
                </a:moveTo>
                <a:cubicBezTo>
                  <a:pt x="350" y="703"/>
                  <a:pt x="349" y="705"/>
                  <a:pt x="348" y="704"/>
                </a:cubicBezTo>
                <a:close/>
                <a:moveTo>
                  <a:pt x="352" y="646"/>
                </a:moveTo>
                <a:cubicBezTo>
                  <a:pt x="355" y="644"/>
                  <a:pt x="355" y="648"/>
                  <a:pt x="352" y="646"/>
                </a:cubicBezTo>
                <a:close/>
                <a:moveTo>
                  <a:pt x="354" y="388"/>
                </a:moveTo>
                <a:cubicBezTo>
                  <a:pt x="354" y="388"/>
                  <a:pt x="355" y="389"/>
                  <a:pt x="355" y="389"/>
                </a:cubicBezTo>
                <a:cubicBezTo>
                  <a:pt x="355" y="390"/>
                  <a:pt x="354" y="389"/>
                  <a:pt x="354" y="388"/>
                </a:cubicBezTo>
                <a:close/>
                <a:moveTo>
                  <a:pt x="354" y="626"/>
                </a:moveTo>
                <a:cubicBezTo>
                  <a:pt x="354" y="629"/>
                  <a:pt x="352" y="631"/>
                  <a:pt x="350" y="630"/>
                </a:cubicBezTo>
                <a:cubicBezTo>
                  <a:pt x="350" y="630"/>
                  <a:pt x="349" y="629"/>
                  <a:pt x="349" y="629"/>
                </a:cubicBezTo>
                <a:cubicBezTo>
                  <a:pt x="348" y="630"/>
                  <a:pt x="348" y="632"/>
                  <a:pt x="346" y="632"/>
                </a:cubicBezTo>
                <a:cubicBezTo>
                  <a:pt x="343" y="632"/>
                  <a:pt x="342" y="629"/>
                  <a:pt x="341" y="626"/>
                </a:cubicBezTo>
                <a:cubicBezTo>
                  <a:pt x="341" y="626"/>
                  <a:pt x="340" y="625"/>
                  <a:pt x="339" y="624"/>
                </a:cubicBezTo>
                <a:cubicBezTo>
                  <a:pt x="340" y="625"/>
                  <a:pt x="339" y="621"/>
                  <a:pt x="340" y="621"/>
                </a:cubicBezTo>
                <a:cubicBezTo>
                  <a:pt x="340" y="621"/>
                  <a:pt x="341" y="621"/>
                  <a:pt x="341" y="621"/>
                </a:cubicBezTo>
                <a:cubicBezTo>
                  <a:pt x="342" y="621"/>
                  <a:pt x="341" y="619"/>
                  <a:pt x="342" y="619"/>
                </a:cubicBezTo>
                <a:cubicBezTo>
                  <a:pt x="348" y="618"/>
                  <a:pt x="354" y="623"/>
                  <a:pt x="354" y="626"/>
                </a:cubicBezTo>
                <a:close/>
                <a:moveTo>
                  <a:pt x="346" y="657"/>
                </a:moveTo>
                <a:cubicBezTo>
                  <a:pt x="347" y="656"/>
                  <a:pt x="348" y="658"/>
                  <a:pt x="346" y="657"/>
                </a:cubicBezTo>
                <a:close/>
                <a:moveTo>
                  <a:pt x="341" y="652"/>
                </a:moveTo>
                <a:cubicBezTo>
                  <a:pt x="342" y="652"/>
                  <a:pt x="344" y="653"/>
                  <a:pt x="344" y="653"/>
                </a:cubicBezTo>
                <a:cubicBezTo>
                  <a:pt x="344" y="655"/>
                  <a:pt x="340" y="654"/>
                  <a:pt x="341" y="652"/>
                </a:cubicBezTo>
                <a:close/>
                <a:moveTo>
                  <a:pt x="332" y="599"/>
                </a:moveTo>
                <a:cubicBezTo>
                  <a:pt x="331" y="600"/>
                  <a:pt x="329" y="598"/>
                  <a:pt x="328" y="598"/>
                </a:cubicBezTo>
                <a:cubicBezTo>
                  <a:pt x="330" y="597"/>
                  <a:pt x="331" y="599"/>
                  <a:pt x="332" y="599"/>
                </a:cubicBezTo>
                <a:close/>
                <a:moveTo>
                  <a:pt x="328" y="470"/>
                </a:moveTo>
                <a:cubicBezTo>
                  <a:pt x="328" y="470"/>
                  <a:pt x="329" y="470"/>
                  <a:pt x="329" y="471"/>
                </a:cubicBezTo>
                <a:cubicBezTo>
                  <a:pt x="330" y="473"/>
                  <a:pt x="326" y="471"/>
                  <a:pt x="328" y="470"/>
                </a:cubicBezTo>
                <a:close/>
                <a:moveTo>
                  <a:pt x="331" y="572"/>
                </a:moveTo>
                <a:cubicBezTo>
                  <a:pt x="331" y="573"/>
                  <a:pt x="331" y="573"/>
                  <a:pt x="331" y="573"/>
                </a:cubicBezTo>
                <a:cubicBezTo>
                  <a:pt x="331" y="573"/>
                  <a:pt x="331" y="573"/>
                  <a:pt x="331" y="573"/>
                </a:cubicBezTo>
                <a:cubicBezTo>
                  <a:pt x="331" y="572"/>
                  <a:pt x="331" y="572"/>
                  <a:pt x="331" y="572"/>
                </a:cubicBezTo>
                <a:close/>
                <a:moveTo>
                  <a:pt x="334" y="652"/>
                </a:moveTo>
                <a:cubicBezTo>
                  <a:pt x="335" y="654"/>
                  <a:pt x="331" y="654"/>
                  <a:pt x="331" y="652"/>
                </a:cubicBezTo>
                <a:cubicBezTo>
                  <a:pt x="332" y="651"/>
                  <a:pt x="333" y="652"/>
                  <a:pt x="334" y="652"/>
                </a:cubicBezTo>
                <a:close/>
                <a:moveTo>
                  <a:pt x="334" y="375"/>
                </a:moveTo>
                <a:cubicBezTo>
                  <a:pt x="333" y="374"/>
                  <a:pt x="334" y="377"/>
                  <a:pt x="334" y="375"/>
                </a:cubicBezTo>
                <a:close/>
                <a:moveTo>
                  <a:pt x="331" y="609"/>
                </a:moveTo>
                <a:cubicBezTo>
                  <a:pt x="332" y="609"/>
                  <a:pt x="332" y="611"/>
                  <a:pt x="331" y="609"/>
                </a:cubicBezTo>
                <a:close/>
                <a:moveTo>
                  <a:pt x="331" y="720"/>
                </a:moveTo>
                <a:cubicBezTo>
                  <a:pt x="336" y="719"/>
                  <a:pt x="336" y="723"/>
                  <a:pt x="331" y="720"/>
                </a:cubicBezTo>
                <a:close/>
                <a:moveTo>
                  <a:pt x="332" y="660"/>
                </a:moveTo>
                <a:cubicBezTo>
                  <a:pt x="333" y="659"/>
                  <a:pt x="335" y="661"/>
                  <a:pt x="337" y="662"/>
                </a:cubicBezTo>
                <a:cubicBezTo>
                  <a:pt x="335" y="663"/>
                  <a:pt x="333" y="661"/>
                  <a:pt x="332" y="660"/>
                </a:cubicBezTo>
                <a:close/>
                <a:moveTo>
                  <a:pt x="334" y="653"/>
                </a:moveTo>
                <a:cubicBezTo>
                  <a:pt x="334" y="651"/>
                  <a:pt x="339" y="651"/>
                  <a:pt x="339" y="653"/>
                </a:cubicBezTo>
                <a:cubicBezTo>
                  <a:pt x="340" y="657"/>
                  <a:pt x="334" y="655"/>
                  <a:pt x="334" y="653"/>
                </a:cubicBezTo>
                <a:close/>
                <a:moveTo>
                  <a:pt x="337" y="184"/>
                </a:moveTo>
                <a:cubicBezTo>
                  <a:pt x="338" y="185"/>
                  <a:pt x="336" y="183"/>
                  <a:pt x="337" y="184"/>
                </a:cubicBezTo>
                <a:close/>
                <a:moveTo>
                  <a:pt x="338" y="594"/>
                </a:moveTo>
                <a:cubicBezTo>
                  <a:pt x="339" y="594"/>
                  <a:pt x="337" y="594"/>
                  <a:pt x="337" y="594"/>
                </a:cubicBezTo>
                <a:cubicBezTo>
                  <a:pt x="337" y="593"/>
                  <a:pt x="338" y="593"/>
                  <a:pt x="338" y="594"/>
                </a:cubicBezTo>
                <a:close/>
                <a:moveTo>
                  <a:pt x="337" y="603"/>
                </a:moveTo>
                <a:cubicBezTo>
                  <a:pt x="338" y="605"/>
                  <a:pt x="334" y="603"/>
                  <a:pt x="335" y="602"/>
                </a:cubicBezTo>
                <a:cubicBezTo>
                  <a:pt x="336" y="601"/>
                  <a:pt x="337" y="602"/>
                  <a:pt x="337" y="603"/>
                </a:cubicBezTo>
                <a:close/>
                <a:moveTo>
                  <a:pt x="342" y="350"/>
                </a:moveTo>
                <a:cubicBezTo>
                  <a:pt x="343" y="353"/>
                  <a:pt x="337" y="349"/>
                  <a:pt x="339" y="348"/>
                </a:cubicBezTo>
                <a:cubicBezTo>
                  <a:pt x="340" y="347"/>
                  <a:pt x="342" y="350"/>
                  <a:pt x="342" y="350"/>
                </a:cubicBezTo>
                <a:close/>
                <a:moveTo>
                  <a:pt x="339" y="147"/>
                </a:moveTo>
                <a:cubicBezTo>
                  <a:pt x="340" y="146"/>
                  <a:pt x="343" y="150"/>
                  <a:pt x="340" y="149"/>
                </a:cubicBezTo>
                <a:cubicBezTo>
                  <a:pt x="340" y="148"/>
                  <a:pt x="339" y="148"/>
                  <a:pt x="339" y="147"/>
                </a:cubicBezTo>
                <a:close/>
                <a:moveTo>
                  <a:pt x="340" y="607"/>
                </a:moveTo>
                <a:cubicBezTo>
                  <a:pt x="343" y="607"/>
                  <a:pt x="340" y="609"/>
                  <a:pt x="340" y="607"/>
                </a:cubicBezTo>
                <a:close/>
                <a:moveTo>
                  <a:pt x="339" y="475"/>
                </a:moveTo>
                <a:cubicBezTo>
                  <a:pt x="340" y="474"/>
                  <a:pt x="341" y="475"/>
                  <a:pt x="341" y="475"/>
                </a:cubicBezTo>
                <a:cubicBezTo>
                  <a:pt x="342" y="477"/>
                  <a:pt x="339" y="476"/>
                  <a:pt x="339" y="475"/>
                </a:cubicBezTo>
                <a:close/>
                <a:moveTo>
                  <a:pt x="339" y="735"/>
                </a:moveTo>
                <a:cubicBezTo>
                  <a:pt x="340" y="735"/>
                  <a:pt x="340" y="736"/>
                  <a:pt x="339" y="735"/>
                </a:cubicBezTo>
                <a:cubicBezTo>
                  <a:pt x="339" y="735"/>
                  <a:pt x="339" y="735"/>
                  <a:pt x="339" y="735"/>
                </a:cubicBezTo>
                <a:close/>
                <a:moveTo>
                  <a:pt x="344" y="348"/>
                </a:moveTo>
                <a:cubicBezTo>
                  <a:pt x="344" y="348"/>
                  <a:pt x="343" y="346"/>
                  <a:pt x="344" y="347"/>
                </a:cubicBezTo>
                <a:cubicBezTo>
                  <a:pt x="344" y="347"/>
                  <a:pt x="345" y="348"/>
                  <a:pt x="344" y="348"/>
                </a:cubicBezTo>
                <a:close/>
                <a:moveTo>
                  <a:pt x="346" y="610"/>
                </a:moveTo>
                <a:cubicBezTo>
                  <a:pt x="345" y="612"/>
                  <a:pt x="344" y="609"/>
                  <a:pt x="342" y="609"/>
                </a:cubicBezTo>
                <a:cubicBezTo>
                  <a:pt x="344" y="608"/>
                  <a:pt x="345" y="610"/>
                  <a:pt x="346" y="610"/>
                </a:cubicBezTo>
                <a:close/>
                <a:moveTo>
                  <a:pt x="344" y="176"/>
                </a:moveTo>
                <a:cubicBezTo>
                  <a:pt x="343" y="176"/>
                  <a:pt x="343" y="176"/>
                  <a:pt x="342" y="175"/>
                </a:cubicBezTo>
                <a:cubicBezTo>
                  <a:pt x="341" y="174"/>
                  <a:pt x="344" y="174"/>
                  <a:pt x="344" y="176"/>
                </a:cubicBezTo>
                <a:close/>
                <a:moveTo>
                  <a:pt x="347" y="192"/>
                </a:moveTo>
                <a:cubicBezTo>
                  <a:pt x="347" y="192"/>
                  <a:pt x="347" y="192"/>
                  <a:pt x="347" y="192"/>
                </a:cubicBezTo>
                <a:cubicBezTo>
                  <a:pt x="347" y="192"/>
                  <a:pt x="347" y="192"/>
                  <a:pt x="347" y="192"/>
                </a:cubicBezTo>
                <a:close/>
                <a:moveTo>
                  <a:pt x="348" y="594"/>
                </a:moveTo>
                <a:cubicBezTo>
                  <a:pt x="348" y="593"/>
                  <a:pt x="349" y="594"/>
                  <a:pt x="349" y="594"/>
                </a:cubicBezTo>
                <a:cubicBezTo>
                  <a:pt x="350" y="596"/>
                  <a:pt x="347" y="595"/>
                  <a:pt x="348" y="594"/>
                </a:cubicBezTo>
                <a:close/>
                <a:moveTo>
                  <a:pt x="348" y="564"/>
                </a:moveTo>
                <a:cubicBezTo>
                  <a:pt x="349" y="563"/>
                  <a:pt x="351" y="564"/>
                  <a:pt x="351" y="565"/>
                </a:cubicBezTo>
                <a:cubicBezTo>
                  <a:pt x="352" y="569"/>
                  <a:pt x="347" y="566"/>
                  <a:pt x="348" y="564"/>
                </a:cubicBezTo>
                <a:close/>
                <a:moveTo>
                  <a:pt x="349" y="471"/>
                </a:moveTo>
                <a:cubicBezTo>
                  <a:pt x="350" y="472"/>
                  <a:pt x="349" y="470"/>
                  <a:pt x="349" y="471"/>
                </a:cubicBezTo>
                <a:close/>
                <a:moveTo>
                  <a:pt x="348" y="85"/>
                </a:moveTo>
                <a:cubicBezTo>
                  <a:pt x="349" y="85"/>
                  <a:pt x="350" y="87"/>
                  <a:pt x="351" y="87"/>
                </a:cubicBezTo>
                <a:cubicBezTo>
                  <a:pt x="350" y="87"/>
                  <a:pt x="349" y="86"/>
                  <a:pt x="348" y="85"/>
                </a:cubicBezTo>
                <a:close/>
                <a:moveTo>
                  <a:pt x="330" y="414"/>
                </a:moveTo>
                <a:cubicBezTo>
                  <a:pt x="331" y="414"/>
                  <a:pt x="331" y="415"/>
                  <a:pt x="330" y="416"/>
                </a:cubicBezTo>
                <a:cubicBezTo>
                  <a:pt x="325" y="416"/>
                  <a:pt x="329" y="409"/>
                  <a:pt x="330" y="414"/>
                </a:cubicBezTo>
                <a:close/>
                <a:moveTo>
                  <a:pt x="328" y="177"/>
                </a:moveTo>
                <a:cubicBezTo>
                  <a:pt x="328" y="176"/>
                  <a:pt x="329" y="178"/>
                  <a:pt x="328" y="177"/>
                </a:cubicBezTo>
                <a:close/>
                <a:moveTo>
                  <a:pt x="328" y="658"/>
                </a:moveTo>
                <a:cubicBezTo>
                  <a:pt x="327" y="658"/>
                  <a:pt x="326" y="657"/>
                  <a:pt x="326" y="657"/>
                </a:cubicBezTo>
                <a:cubicBezTo>
                  <a:pt x="327" y="657"/>
                  <a:pt x="327" y="657"/>
                  <a:pt x="328" y="658"/>
                </a:cubicBezTo>
                <a:close/>
                <a:moveTo>
                  <a:pt x="326" y="743"/>
                </a:moveTo>
                <a:cubicBezTo>
                  <a:pt x="325" y="744"/>
                  <a:pt x="324" y="742"/>
                  <a:pt x="326" y="743"/>
                </a:cubicBezTo>
                <a:close/>
                <a:moveTo>
                  <a:pt x="325" y="755"/>
                </a:moveTo>
                <a:cubicBezTo>
                  <a:pt x="325" y="755"/>
                  <a:pt x="326" y="755"/>
                  <a:pt x="326" y="756"/>
                </a:cubicBezTo>
                <a:cubicBezTo>
                  <a:pt x="326" y="758"/>
                  <a:pt x="324" y="753"/>
                  <a:pt x="325" y="755"/>
                </a:cubicBezTo>
                <a:close/>
                <a:moveTo>
                  <a:pt x="325" y="738"/>
                </a:moveTo>
                <a:cubicBezTo>
                  <a:pt x="325" y="737"/>
                  <a:pt x="327" y="737"/>
                  <a:pt x="327" y="738"/>
                </a:cubicBezTo>
                <a:cubicBezTo>
                  <a:pt x="328" y="739"/>
                  <a:pt x="326" y="738"/>
                  <a:pt x="325" y="738"/>
                </a:cubicBezTo>
                <a:close/>
                <a:moveTo>
                  <a:pt x="325" y="124"/>
                </a:moveTo>
                <a:cubicBezTo>
                  <a:pt x="325" y="124"/>
                  <a:pt x="325" y="124"/>
                  <a:pt x="325" y="124"/>
                </a:cubicBezTo>
                <a:cubicBezTo>
                  <a:pt x="323" y="123"/>
                  <a:pt x="328" y="123"/>
                  <a:pt x="325" y="124"/>
                </a:cubicBezTo>
                <a:close/>
                <a:moveTo>
                  <a:pt x="326" y="382"/>
                </a:moveTo>
                <a:cubicBezTo>
                  <a:pt x="326" y="383"/>
                  <a:pt x="325" y="381"/>
                  <a:pt x="326" y="382"/>
                </a:cubicBezTo>
                <a:close/>
                <a:moveTo>
                  <a:pt x="326" y="596"/>
                </a:moveTo>
                <a:cubicBezTo>
                  <a:pt x="327" y="597"/>
                  <a:pt x="323" y="595"/>
                  <a:pt x="324" y="595"/>
                </a:cubicBezTo>
                <a:cubicBezTo>
                  <a:pt x="325" y="594"/>
                  <a:pt x="326" y="596"/>
                  <a:pt x="326" y="596"/>
                </a:cubicBezTo>
                <a:close/>
                <a:moveTo>
                  <a:pt x="326" y="759"/>
                </a:moveTo>
                <a:cubicBezTo>
                  <a:pt x="327" y="760"/>
                  <a:pt x="323" y="760"/>
                  <a:pt x="324" y="758"/>
                </a:cubicBezTo>
                <a:cubicBezTo>
                  <a:pt x="324" y="758"/>
                  <a:pt x="326" y="758"/>
                  <a:pt x="326" y="759"/>
                </a:cubicBezTo>
                <a:close/>
                <a:moveTo>
                  <a:pt x="321" y="769"/>
                </a:moveTo>
                <a:cubicBezTo>
                  <a:pt x="321" y="768"/>
                  <a:pt x="323" y="769"/>
                  <a:pt x="323" y="769"/>
                </a:cubicBezTo>
                <a:cubicBezTo>
                  <a:pt x="323" y="770"/>
                  <a:pt x="322" y="769"/>
                  <a:pt x="321" y="769"/>
                </a:cubicBezTo>
                <a:close/>
                <a:moveTo>
                  <a:pt x="323" y="770"/>
                </a:moveTo>
                <a:cubicBezTo>
                  <a:pt x="324" y="768"/>
                  <a:pt x="330" y="767"/>
                  <a:pt x="330" y="770"/>
                </a:cubicBezTo>
                <a:cubicBezTo>
                  <a:pt x="330" y="773"/>
                  <a:pt x="323" y="772"/>
                  <a:pt x="323" y="770"/>
                </a:cubicBezTo>
                <a:close/>
                <a:moveTo>
                  <a:pt x="336" y="777"/>
                </a:moveTo>
                <a:cubicBezTo>
                  <a:pt x="337" y="778"/>
                  <a:pt x="335" y="776"/>
                  <a:pt x="336" y="777"/>
                </a:cubicBezTo>
                <a:close/>
                <a:moveTo>
                  <a:pt x="326" y="757"/>
                </a:moveTo>
                <a:cubicBezTo>
                  <a:pt x="327" y="757"/>
                  <a:pt x="326" y="754"/>
                  <a:pt x="326" y="755"/>
                </a:cubicBezTo>
                <a:cubicBezTo>
                  <a:pt x="326" y="753"/>
                  <a:pt x="333" y="752"/>
                  <a:pt x="335" y="754"/>
                </a:cubicBezTo>
                <a:cubicBezTo>
                  <a:pt x="335" y="754"/>
                  <a:pt x="336" y="757"/>
                  <a:pt x="337" y="757"/>
                </a:cubicBezTo>
                <a:cubicBezTo>
                  <a:pt x="336" y="758"/>
                  <a:pt x="328" y="759"/>
                  <a:pt x="326" y="757"/>
                </a:cubicBezTo>
                <a:close/>
                <a:moveTo>
                  <a:pt x="335" y="748"/>
                </a:moveTo>
                <a:cubicBezTo>
                  <a:pt x="335" y="747"/>
                  <a:pt x="337" y="747"/>
                  <a:pt x="337" y="748"/>
                </a:cubicBezTo>
                <a:cubicBezTo>
                  <a:pt x="338" y="749"/>
                  <a:pt x="336" y="749"/>
                  <a:pt x="335" y="748"/>
                </a:cubicBezTo>
                <a:close/>
                <a:moveTo>
                  <a:pt x="328" y="744"/>
                </a:moveTo>
                <a:cubicBezTo>
                  <a:pt x="328" y="743"/>
                  <a:pt x="329" y="742"/>
                  <a:pt x="329" y="741"/>
                </a:cubicBezTo>
                <a:cubicBezTo>
                  <a:pt x="329" y="742"/>
                  <a:pt x="332" y="740"/>
                  <a:pt x="332" y="740"/>
                </a:cubicBezTo>
                <a:cubicBezTo>
                  <a:pt x="334" y="740"/>
                  <a:pt x="339" y="741"/>
                  <a:pt x="337" y="745"/>
                </a:cubicBezTo>
                <a:cubicBezTo>
                  <a:pt x="336" y="748"/>
                  <a:pt x="329" y="746"/>
                  <a:pt x="328" y="744"/>
                </a:cubicBezTo>
                <a:close/>
                <a:moveTo>
                  <a:pt x="339" y="774"/>
                </a:moveTo>
                <a:cubicBezTo>
                  <a:pt x="339" y="773"/>
                  <a:pt x="337" y="773"/>
                  <a:pt x="337" y="772"/>
                </a:cubicBezTo>
                <a:cubicBezTo>
                  <a:pt x="338" y="770"/>
                  <a:pt x="344" y="770"/>
                  <a:pt x="344" y="772"/>
                </a:cubicBezTo>
                <a:cubicBezTo>
                  <a:pt x="345" y="775"/>
                  <a:pt x="339" y="775"/>
                  <a:pt x="339" y="774"/>
                </a:cubicBezTo>
                <a:close/>
                <a:moveTo>
                  <a:pt x="353" y="716"/>
                </a:moveTo>
                <a:cubicBezTo>
                  <a:pt x="351" y="716"/>
                  <a:pt x="346" y="715"/>
                  <a:pt x="345" y="713"/>
                </a:cubicBezTo>
                <a:cubicBezTo>
                  <a:pt x="348" y="714"/>
                  <a:pt x="350" y="715"/>
                  <a:pt x="353" y="716"/>
                </a:cubicBezTo>
                <a:close/>
                <a:moveTo>
                  <a:pt x="345" y="744"/>
                </a:moveTo>
                <a:cubicBezTo>
                  <a:pt x="345" y="743"/>
                  <a:pt x="348" y="743"/>
                  <a:pt x="348" y="744"/>
                </a:cubicBezTo>
                <a:cubicBezTo>
                  <a:pt x="349" y="745"/>
                  <a:pt x="345" y="744"/>
                  <a:pt x="345" y="744"/>
                </a:cubicBezTo>
                <a:close/>
                <a:moveTo>
                  <a:pt x="345" y="734"/>
                </a:moveTo>
                <a:cubicBezTo>
                  <a:pt x="346" y="733"/>
                  <a:pt x="349" y="733"/>
                  <a:pt x="349" y="735"/>
                </a:cubicBezTo>
                <a:cubicBezTo>
                  <a:pt x="350" y="737"/>
                  <a:pt x="345" y="735"/>
                  <a:pt x="345" y="734"/>
                </a:cubicBezTo>
                <a:close/>
                <a:moveTo>
                  <a:pt x="349" y="764"/>
                </a:moveTo>
                <a:cubicBezTo>
                  <a:pt x="349" y="763"/>
                  <a:pt x="350" y="763"/>
                  <a:pt x="350" y="764"/>
                </a:cubicBezTo>
                <a:cubicBezTo>
                  <a:pt x="351" y="764"/>
                  <a:pt x="349" y="765"/>
                  <a:pt x="349" y="764"/>
                </a:cubicBezTo>
                <a:close/>
                <a:moveTo>
                  <a:pt x="350" y="725"/>
                </a:moveTo>
                <a:cubicBezTo>
                  <a:pt x="350" y="724"/>
                  <a:pt x="353" y="724"/>
                  <a:pt x="354" y="725"/>
                </a:cubicBezTo>
                <a:cubicBezTo>
                  <a:pt x="355" y="727"/>
                  <a:pt x="350" y="727"/>
                  <a:pt x="350" y="725"/>
                </a:cubicBezTo>
                <a:close/>
                <a:moveTo>
                  <a:pt x="353" y="770"/>
                </a:moveTo>
                <a:cubicBezTo>
                  <a:pt x="353" y="769"/>
                  <a:pt x="358" y="767"/>
                  <a:pt x="359" y="769"/>
                </a:cubicBezTo>
                <a:cubicBezTo>
                  <a:pt x="359" y="772"/>
                  <a:pt x="354" y="771"/>
                  <a:pt x="353" y="770"/>
                </a:cubicBezTo>
                <a:close/>
                <a:moveTo>
                  <a:pt x="359" y="772"/>
                </a:moveTo>
                <a:cubicBezTo>
                  <a:pt x="359" y="772"/>
                  <a:pt x="359" y="771"/>
                  <a:pt x="360" y="771"/>
                </a:cubicBezTo>
                <a:cubicBezTo>
                  <a:pt x="360" y="771"/>
                  <a:pt x="359" y="772"/>
                  <a:pt x="359" y="772"/>
                </a:cubicBezTo>
                <a:close/>
                <a:moveTo>
                  <a:pt x="360" y="723"/>
                </a:moveTo>
                <a:cubicBezTo>
                  <a:pt x="360" y="723"/>
                  <a:pt x="360" y="723"/>
                  <a:pt x="360" y="723"/>
                </a:cubicBezTo>
                <a:cubicBezTo>
                  <a:pt x="360" y="723"/>
                  <a:pt x="359" y="722"/>
                  <a:pt x="360" y="723"/>
                </a:cubicBezTo>
                <a:close/>
                <a:moveTo>
                  <a:pt x="361" y="721"/>
                </a:moveTo>
                <a:cubicBezTo>
                  <a:pt x="363" y="719"/>
                  <a:pt x="365" y="722"/>
                  <a:pt x="361" y="721"/>
                </a:cubicBezTo>
                <a:close/>
                <a:moveTo>
                  <a:pt x="356" y="717"/>
                </a:moveTo>
                <a:cubicBezTo>
                  <a:pt x="358" y="718"/>
                  <a:pt x="362" y="717"/>
                  <a:pt x="364" y="719"/>
                </a:cubicBezTo>
                <a:cubicBezTo>
                  <a:pt x="367" y="721"/>
                  <a:pt x="356" y="719"/>
                  <a:pt x="356" y="717"/>
                </a:cubicBezTo>
                <a:close/>
                <a:moveTo>
                  <a:pt x="365" y="760"/>
                </a:moveTo>
                <a:cubicBezTo>
                  <a:pt x="364" y="760"/>
                  <a:pt x="365" y="759"/>
                  <a:pt x="366" y="760"/>
                </a:cubicBezTo>
                <a:cubicBezTo>
                  <a:pt x="366" y="760"/>
                  <a:pt x="365" y="760"/>
                  <a:pt x="365" y="760"/>
                </a:cubicBezTo>
                <a:close/>
                <a:moveTo>
                  <a:pt x="368" y="740"/>
                </a:moveTo>
                <a:cubicBezTo>
                  <a:pt x="368" y="740"/>
                  <a:pt x="369" y="739"/>
                  <a:pt x="369" y="740"/>
                </a:cubicBezTo>
                <a:cubicBezTo>
                  <a:pt x="370" y="741"/>
                  <a:pt x="368" y="741"/>
                  <a:pt x="368" y="740"/>
                </a:cubicBezTo>
                <a:close/>
                <a:moveTo>
                  <a:pt x="364" y="737"/>
                </a:moveTo>
                <a:cubicBezTo>
                  <a:pt x="364" y="735"/>
                  <a:pt x="369" y="735"/>
                  <a:pt x="369" y="737"/>
                </a:cubicBezTo>
                <a:cubicBezTo>
                  <a:pt x="371" y="739"/>
                  <a:pt x="364" y="738"/>
                  <a:pt x="364" y="737"/>
                </a:cubicBezTo>
                <a:close/>
                <a:moveTo>
                  <a:pt x="370" y="740"/>
                </a:moveTo>
                <a:cubicBezTo>
                  <a:pt x="370" y="739"/>
                  <a:pt x="372" y="739"/>
                  <a:pt x="373" y="740"/>
                </a:cubicBezTo>
                <a:cubicBezTo>
                  <a:pt x="374" y="741"/>
                  <a:pt x="370" y="741"/>
                  <a:pt x="370" y="740"/>
                </a:cubicBezTo>
                <a:close/>
                <a:moveTo>
                  <a:pt x="371" y="748"/>
                </a:moveTo>
                <a:cubicBezTo>
                  <a:pt x="371" y="748"/>
                  <a:pt x="372" y="747"/>
                  <a:pt x="373" y="748"/>
                </a:cubicBezTo>
                <a:cubicBezTo>
                  <a:pt x="374" y="750"/>
                  <a:pt x="371" y="749"/>
                  <a:pt x="371" y="748"/>
                </a:cubicBezTo>
                <a:close/>
                <a:moveTo>
                  <a:pt x="373" y="754"/>
                </a:moveTo>
                <a:cubicBezTo>
                  <a:pt x="373" y="753"/>
                  <a:pt x="375" y="755"/>
                  <a:pt x="373" y="754"/>
                </a:cubicBezTo>
                <a:close/>
                <a:moveTo>
                  <a:pt x="375" y="726"/>
                </a:moveTo>
                <a:cubicBezTo>
                  <a:pt x="376" y="725"/>
                  <a:pt x="376" y="728"/>
                  <a:pt x="375" y="726"/>
                </a:cubicBezTo>
                <a:close/>
                <a:moveTo>
                  <a:pt x="375" y="708"/>
                </a:moveTo>
                <a:cubicBezTo>
                  <a:pt x="378" y="708"/>
                  <a:pt x="375" y="710"/>
                  <a:pt x="375" y="708"/>
                </a:cubicBezTo>
                <a:close/>
                <a:moveTo>
                  <a:pt x="376" y="704"/>
                </a:moveTo>
                <a:cubicBezTo>
                  <a:pt x="377" y="703"/>
                  <a:pt x="380" y="704"/>
                  <a:pt x="380" y="706"/>
                </a:cubicBezTo>
                <a:cubicBezTo>
                  <a:pt x="381" y="709"/>
                  <a:pt x="375" y="706"/>
                  <a:pt x="376" y="704"/>
                </a:cubicBezTo>
                <a:close/>
                <a:moveTo>
                  <a:pt x="380" y="746"/>
                </a:moveTo>
                <a:cubicBezTo>
                  <a:pt x="380" y="747"/>
                  <a:pt x="378" y="746"/>
                  <a:pt x="379" y="746"/>
                </a:cubicBezTo>
                <a:cubicBezTo>
                  <a:pt x="380" y="745"/>
                  <a:pt x="380" y="746"/>
                  <a:pt x="380" y="746"/>
                </a:cubicBezTo>
                <a:close/>
                <a:moveTo>
                  <a:pt x="378" y="716"/>
                </a:moveTo>
                <a:cubicBezTo>
                  <a:pt x="378" y="716"/>
                  <a:pt x="378" y="715"/>
                  <a:pt x="379" y="715"/>
                </a:cubicBezTo>
                <a:cubicBezTo>
                  <a:pt x="382" y="714"/>
                  <a:pt x="380" y="718"/>
                  <a:pt x="378" y="716"/>
                </a:cubicBezTo>
                <a:close/>
                <a:moveTo>
                  <a:pt x="380" y="749"/>
                </a:moveTo>
                <a:cubicBezTo>
                  <a:pt x="380" y="749"/>
                  <a:pt x="381" y="748"/>
                  <a:pt x="382" y="748"/>
                </a:cubicBezTo>
                <a:cubicBezTo>
                  <a:pt x="383" y="749"/>
                  <a:pt x="380" y="750"/>
                  <a:pt x="380" y="749"/>
                </a:cubicBezTo>
                <a:close/>
                <a:moveTo>
                  <a:pt x="381" y="734"/>
                </a:moveTo>
                <a:cubicBezTo>
                  <a:pt x="382" y="734"/>
                  <a:pt x="383" y="734"/>
                  <a:pt x="383" y="735"/>
                </a:cubicBezTo>
                <a:cubicBezTo>
                  <a:pt x="384" y="738"/>
                  <a:pt x="378" y="736"/>
                  <a:pt x="381" y="734"/>
                </a:cubicBezTo>
                <a:close/>
                <a:moveTo>
                  <a:pt x="384" y="754"/>
                </a:moveTo>
                <a:cubicBezTo>
                  <a:pt x="384" y="754"/>
                  <a:pt x="384" y="754"/>
                  <a:pt x="385" y="754"/>
                </a:cubicBezTo>
                <a:cubicBezTo>
                  <a:pt x="385" y="755"/>
                  <a:pt x="384" y="755"/>
                  <a:pt x="384" y="754"/>
                </a:cubicBezTo>
                <a:close/>
                <a:moveTo>
                  <a:pt x="386" y="712"/>
                </a:moveTo>
                <a:cubicBezTo>
                  <a:pt x="386" y="712"/>
                  <a:pt x="386" y="712"/>
                  <a:pt x="386" y="712"/>
                </a:cubicBezTo>
                <a:cubicBezTo>
                  <a:pt x="388" y="712"/>
                  <a:pt x="387" y="713"/>
                  <a:pt x="386" y="712"/>
                </a:cubicBezTo>
                <a:close/>
                <a:moveTo>
                  <a:pt x="387" y="722"/>
                </a:moveTo>
                <a:cubicBezTo>
                  <a:pt x="387" y="722"/>
                  <a:pt x="390" y="721"/>
                  <a:pt x="390" y="723"/>
                </a:cubicBezTo>
                <a:cubicBezTo>
                  <a:pt x="390" y="724"/>
                  <a:pt x="388" y="723"/>
                  <a:pt x="387" y="722"/>
                </a:cubicBezTo>
                <a:close/>
                <a:moveTo>
                  <a:pt x="389" y="709"/>
                </a:moveTo>
                <a:cubicBezTo>
                  <a:pt x="387" y="709"/>
                  <a:pt x="387" y="707"/>
                  <a:pt x="389" y="709"/>
                </a:cubicBezTo>
                <a:close/>
                <a:moveTo>
                  <a:pt x="391" y="719"/>
                </a:moveTo>
                <a:cubicBezTo>
                  <a:pt x="391" y="719"/>
                  <a:pt x="391" y="720"/>
                  <a:pt x="391" y="720"/>
                </a:cubicBezTo>
                <a:cubicBezTo>
                  <a:pt x="390" y="720"/>
                  <a:pt x="391" y="719"/>
                  <a:pt x="391" y="719"/>
                </a:cubicBezTo>
                <a:close/>
                <a:moveTo>
                  <a:pt x="391" y="736"/>
                </a:moveTo>
                <a:cubicBezTo>
                  <a:pt x="389" y="735"/>
                  <a:pt x="393" y="737"/>
                  <a:pt x="391" y="736"/>
                </a:cubicBezTo>
                <a:close/>
                <a:moveTo>
                  <a:pt x="390" y="565"/>
                </a:moveTo>
                <a:cubicBezTo>
                  <a:pt x="391" y="567"/>
                  <a:pt x="389" y="563"/>
                  <a:pt x="390" y="565"/>
                </a:cubicBezTo>
                <a:close/>
                <a:moveTo>
                  <a:pt x="390" y="396"/>
                </a:moveTo>
                <a:cubicBezTo>
                  <a:pt x="389" y="395"/>
                  <a:pt x="391" y="397"/>
                  <a:pt x="390" y="396"/>
                </a:cubicBezTo>
                <a:close/>
                <a:moveTo>
                  <a:pt x="398" y="675"/>
                </a:moveTo>
                <a:cubicBezTo>
                  <a:pt x="398" y="675"/>
                  <a:pt x="397" y="676"/>
                  <a:pt x="397" y="677"/>
                </a:cubicBezTo>
                <a:cubicBezTo>
                  <a:pt x="397" y="679"/>
                  <a:pt x="403" y="680"/>
                  <a:pt x="405" y="682"/>
                </a:cubicBezTo>
                <a:cubicBezTo>
                  <a:pt x="408" y="684"/>
                  <a:pt x="411" y="686"/>
                  <a:pt x="413" y="688"/>
                </a:cubicBezTo>
                <a:cubicBezTo>
                  <a:pt x="407" y="687"/>
                  <a:pt x="401" y="679"/>
                  <a:pt x="396" y="677"/>
                </a:cubicBezTo>
                <a:cubicBezTo>
                  <a:pt x="392" y="676"/>
                  <a:pt x="389" y="677"/>
                  <a:pt x="390" y="671"/>
                </a:cubicBezTo>
                <a:cubicBezTo>
                  <a:pt x="392" y="673"/>
                  <a:pt x="397" y="671"/>
                  <a:pt x="398" y="675"/>
                </a:cubicBezTo>
                <a:close/>
                <a:moveTo>
                  <a:pt x="391" y="523"/>
                </a:moveTo>
                <a:cubicBezTo>
                  <a:pt x="392" y="523"/>
                  <a:pt x="392" y="524"/>
                  <a:pt x="393" y="525"/>
                </a:cubicBezTo>
                <a:cubicBezTo>
                  <a:pt x="392" y="525"/>
                  <a:pt x="391" y="523"/>
                  <a:pt x="391" y="523"/>
                </a:cubicBezTo>
                <a:close/>
                <a:moveTo>
                  <a:pt x="402" y="645"/>
                </a:moveTo>
                <a:cubicBezTo>
                  <a:pt x="402" y="646"/>
                  <a:pt x="397" y="644"/>
                  <a:pt x="398" y="644"/>
                </a:cubicBezTo>
                <a:cubicBezTo>
                  <a:pt x="399" y="643"/>
                  <a:pt x="401" y="645"/>
                  <a:pt x="402" y="645"/>
                </a:cubicBezTo>
                <a:close/>
                <a:moveTo>
                  <a:pt x="401" y="387"/>
                </a:moveTo>
                <a:cubicBezTo>
                  <a:pt x="402" y="388"/>
                  <a:pt x="400" y="385"/>
                  <a:pt x="401" y="387"/>
                </a:cubicBezTo>
                <a:close/>
                <a:moveTo>
                  <a:pt x="408" y="130"/>
                </a:moveTo>
                <a:cubicBezTo>
                  <a:pt x="407" y="131"/>
                  <a:pt x="406" y="130"/>
                  <a:pt x="406" y="129"/>
                </a:cubicBezTo>
                <a:cubicBezTo>
                  <a:pt x="407" y="129"/>
                  <a:pt x="407" y="130"/>
                  <a:pt x="408" y="130"/>
                </a:cubicBezTo>
                <a:close/>
                <a:moveTo>
                  <a:pt x="406" y="94"/>
                </a:moveTo>
                <a:cubicBezTo>
                  <a:pt x="407" y="94"/>
                  <a:pt x="407" y="94"/>
                  <a:pt x="408" y="95"/>
                </a:cubicBezTo>
                <a:cubicBezTo>
                  <a:pt x="407" y="95"/>
                  <a:pt x="406" y="95"/>
                  <a:pt x="406" y="94"/>
                </a:cubicBezTo>
                <a:close/>
                <a:moveTo>
                  <a:pt x="412" y="602"/>
                </a:moveTo>
                <a:cubicBezTo>
                  <a:pt x="413" y="605"/>
                  <a:pt x="408" y="603"/>
                  <a:pt x="407" y="602"/>
                </a:cubicBezTo>
                <a:cubicBezTo>
                  <a:pt x="407" y="599"/>
                  <a:pt x="412" y="600"/>
                  <a:pt x="412" y="602"/>
                </a:cubicBezTo>
                <a:close/>
                <a:moveTo>
                  <a:pt x="409" y="131"/>
                </a:moveTo>
                <a:cubicBezTo>
                  <a:pt x="409" y="132"/>
                  <a:pt x="408" y="130"/>
                  <a:pt x="409" y="131"/>
                </a:cubicBezTo>
                <a:close/>
                <a:moveTo>
                  <a:pt x="421" y="663"/>
                </a:moveTo>
                <a:cubicBezTo>
                  <a:pt x="423" y="664"/>
                  <a:pt x="437" y="669"/>
                  <a:pt x="438" y="671"/>
                </a:cubicBezTo>
                <a:cubicBezTo>
                  <a:pt x="438" y="673"/>
                  <a:pt x="434" y="671"/>
                  <a:pt x="433" y="670"/>
                </a:cubicBezTo>
                <a:cubicBezTo>
                  <a:pt x="431" y="669"/>
                  <a:pt x="417" y="663"/>
                  <a:pt x="417" y="661"/>
                </a:cubicBezTo>
                <a:cubicBezTo>
                  <a:pt x="416" y="659"/>
                  <a:pt x="421" y="663"/>
                  <a:pt x="421" y="663"/>
                </a:cubicBezTo>
                <a:close/>
                <a:moveTo>
                  <a:pt x="420" y="624"/>
                </a:moveTo>
                <a:cubicBezTo>
                  <a:pt x="420" y="623"/>
                  <a:pt x="421" y="624"/>
                  <a:pt x="421" y="625"/>
                </a:cubicBezTo>
                <a:cubicBezTo>
                  <a:pt x="421" y="626"/>
                  <a:pt x="419" y="624"/>
                  <a:pt x="420" y="624"/>
                </a:cubicBezTo>
                <a:close/>
                <a:moveTo>
                  <a:pt x="422" y="659"/>
                </a:moveTo>
                <a:cubicBezTo>
                  <a:pt x="422" y="659"/>
                  <a:pt x="423" y="659"/>
                  <a:pt x="423" y="659"/>
                </a:cubicBezTo>
                <a:cubicBezTo>
                  <a:pt x="423" y="661"/>
                  <a:pt x="421" y="659"/>
                  <a:pt x="422" y="659"/>
                </a:cubicBezTo>
                <a:close/>
                <a:moveTo>
                  <a:pt x="435" y="515"/>
                </a:moveTo>
                <a:cubicBezTo>
                  <a:pt x="435" y="516"/>
                  <a:pt x="435" y="517"/>
                  <a:pt x="436" y="518"/>
                </a:cubicBezTo>
                <a:cubicBezTo>
                  <a:pt x="437" y="521"/>
                  <a:pt x="441" y="526"/>
                  <a:pt x="445" y="530"/>
                </a:cubicBezTo>
                <a:cubicBezTo>
                  <a:pt x="448" y="533"/>
                  <a:pt x="451" y="534"/>
                  <a:pt x="453" y="537"/>
                </a:cubicBezTo>
                <a:cubicBezTo>
                  <a:pt x="453" y="537"/>
                  <a:pt x="453" y="538"/>
                  <a:pt x="453" y="539"/>
                </a:cubicBezTo>
                <a:cubicBezTo>
                  <a:pt x="452" y="539"/>
                  <a:pt x="447" y="534"/>
                  <a:pt x="446" y="532"/>
                </a:cubicBezTo>
                <a:cubicBezTo>
                  <a:pt x="444" y="530"/>
                  <a:pt x="442" y="528"/>
                  <a:pt x="440" y="526"/>
                </a:cubicBezTo>
                <a:cubicBezTo>
                  <a:pt x="438" y="524"/>
                  <a:pt x="437" y="519"/>
                  <a:pt x="434" y="518"/>
                </a:cubicBezTo>
                <a:cubicBezTo>
                  <a:pt x="434" y="518"/>
                  <a:pt x="432" y="519"/>
                  <a:pt x="431" y="519"/>
                </a:cubicBezTo>
                <a:cubicBezTo>
                  <a:pt x="427" y="517"/>
                  <a:pt x="431" y="510"/>
                  <a:pt x="435" y="515"/>
                </a:cubicBezTo>
                <a:close/>
                <a:moveTo>
                  <a:pt x="434" y="370"/>
                </a:moveTo>
                <a:cubicBezTo>
                  <a:pt x="435" y="370"/>
                  <a:pt x="436" y="372"/>
                  <a:pt x="436" y="373"/>
                </a:cubicBezTo>
                <a:cubicBezTo>
                  <a:pt x="435" y="373"/>
                  <a:pt x="435" y="371"/>
                  <a:pt x="434" y="370"/>
                </a:cubicBezTo>
                <a:close/>
                <a:moveTo>
                  <a:pt x="437" y="135"/>
                </a:moveTo>
                <a:cubicBezTo>
                  <a:pt x="437" y="135"/>
                  <a:pt x="438" y="135"/>
                  <a:pt x="438" y="136"/>
                </a:cubicBezTo>
                <a:cubicBezTo>
                  <a:pt x="438" y="136"/>
                  <a:pt x="437" y="136"/>
                  <a:pt x="437" y="135"/>
                </a:cubicBezTo>
                <a:close/>
                <a:moveTo>
                  <a:pt x="448" y="408"/>
                </a:moveTo>
                <a:cubicBezTo>
                  <a:pt x="449" y="411"/>
                  <a:pt x="445" y="407"/>
                  <a:pt x="446" y="406"/>
                </a:cubicBezTo>
                <a:cubicBezTo>
                  <a:pt x="447" y="406"/>
                  <a:pt x="448" y="408"/>
                  <a:pt x="448" y="408"/>
                </a:cubicBezTo>
                <a:close/>
                <a:moveTo>
                  <a:pt x="448" y="167"/>
                </a:moveTo>
                <a:cubicBezTo>
                  <a:pt x="449" y="168"/>
                  <a:pt x="446" y="166"/>
                  <a:pt x="448" y="167"/>
                </a:cubicBezTo>
                <a:close/>
                <a:moveTo>
                  <a:pt x="447" y="435"/>
                </a:moveTo>
                <a:cubicBezTo>
                  <a:pt x="448" y="435"/>
                  <a:pt x="449" y="436"/>
                  <a:pt x="449" y="438"/>
                </a:cubicBezTo>
                <a:cubicBezTo>
                  <a:pt x="449" y="439"/>
                  <a:pt x="448" y="440"/>
                  <a:pt x="447" y="440"/>
                </a:cubicBezTo>
                <a:cubicBezTo>
                  <a:pt x="442" y="441"/>
                  <a:pt x="444" y="433"/>
                  <a:pt x="447" y="435"/>
                </a:cubicBezTo>
                <a:close/>
                <a:moveTo>
                  <a:pt x="446" y="515"/>
                </a:moveTo>
                <a:cubicBezTo>
                  <a:pt x="446" y="514"/>
                  <a:pt x="446" y="515"/>
                  <a:pt x="446" y="515"/>
                </a:cubicBezTo>
                <a:close/>
                <a:moveTo>
                  <a:pt x="445" y="441"/>
                </a:moveTo>
                <a:cubicBezTo>
                  <a:pt x="445" y="443"/>
                  <a:pt x="444" y="439"/>
                  <a:pt x="445" y="441"/>
                </a:cubicBezTo>
                <a:close/>
                <a:moveTo>
                  <a:pt x="445" y="494"/>
                </a:moveTo>
                <a:cubicBezTo>
                  <a:pt x="445" y="494"/>
                  <a:pt x="444" y="495"/>
                  <a:pt x="444" y="495"/>
                </a:cubicBezTo>
                <a:cubicBezTo>
                  <a:pt x="443" y="494"/>
                  <a:pt x="444" y="493"/>
                  <a:pt x="445" y="494"/>
                </a:cubicBezTo>
                <a:close/>
                <a:moveTo>
                  <a:pt x="452" y="150"/>
                </a:moveTo>
                <a:cubicBezTo>
                  <a:pt x="452" y="150"/>
                  <a:pt x="452" y="150"/>
                  <a:pt x="452" y="150"/>
                </a:cubicBezTo>
                <a:cubicBezTo>
                  <a:pt x="452" y="150"/>
                  <a:pt x="452" y="150"/>
                  <a:pt x="452" y="150"/>
                </a:cubicBezTo>
                <a:cubicBezTo>
                  <a:pt x="452" y="150"/>
                  <a:pt x="452" y="150"/>
                  <a:pt x="452" y="150"/>
                </a:cubicBezTo>
                <a:close/>
                <a:moveTo>
                  <a:pt x="456" y="548"/>
                </a:moveTo>
                <a:cubicBezTo>
                  <a:pt x="455" y="548"/>
                  <a:pt x="454" y="546"/>
                  <a:pt x="454" y="546"/>
                </a:cubicBezTo>
                <a:cubicBezTo>
                  <a:pt x="455" y="546"/>
                  <a:pt x="455" y="547"/>
                  <a:pt x="456" y="548"/>
                </a:cubicBezTo>
                <a:close/>
                <a:moveTo>
                  <a:pt x="454" y="436"/>
                </a:moveTo>
                <a:cubicBezTo>
                  <a:pt x="454" y="436"/>
                  <a:pt x="454" y="436"/>
                  <a:pt x="454" y="436"/>
                </a:cubicBezTo>
                <a:cubicBezTo>
                  <a:pt x="455" y="437"/>
                  <a:pt x="454" y="436"/>
                  <a:pt x="454" y="436"/>
                </a:cubicBezTo>
                <a:close/>
                <a:moveTo>
                  <a:pt x="459" y="622"/>
                </a:moveTo>
                <a:cubicBezTo>
                  <a:pt x="459" y="623"/>
                  <a:pt x="459" y="624"/>
                  <a:pt x="457" y="623"/>
                </a:cubicBezTo>
                <a:cubicBezTo>
                  <a:pt x="455" y="622"/>
                  <a:pt x="448" y="615"/>
                  <a:pt x="448" y="614"/>
                </a:cubicBezTo>
                <a:cubicBezTo>
                  <a:pt x="450" y="613"/>
                  <a:pt x="451" y="617"/>
                  <a:pt x="452" y="617"/>
                </a:cubicBezTo>
                <a:cubicBezTo>
                  <a:pt x="454" y="619"/>
                  <a:pt x="459" y="619"/>
                  <a:pt x="459" y="622"/>
                </a:cubicBezTo>
                <a:close/>
                <a:moveTo>
                  <a:pt x="458" y="565"/>
                </a:moveTo>
                <a:cubicBezTo>
                  <a:pt x="456" y="564"/>
                  <a:pt x="457" y="563"/>
                  <a:pt x="458" y="565"/>
                </a:cubicBezTo>
                <a:close/>
                <a:moveTo>
                  <a:pt x="459" y="565"/>
                </a:moveTo>
                <a:cubicBezTo>
                  <a:pt x="460" y="565"/>
                  <a:pt x="458" y="567"/>
                  <a:pt x="459" y="565"/>
                </a:cubicBezTo>
                <a:close/>
                <a:moveTo>
                  <a:pt x="459" y="642"/>
                </a:moveTo>
                <a:cubicBezTo>
                  <a:pt x="459" y="642"/>
                  <a:pt x="458" y="641"/>
                  <a:pt x="458" y="641"/>
                </a:cubicBezTo>
                <a:cubicBezTo>
                  <a:pt x="458" y="640"/>
                  <a:pt x="459" y="641"/>
                  <a:pt x="459" y="642"/>
                </a:cubicBezTo>
                <a:close/>
                <a:moveTo>
                  <a:pt x="454" y="648"/>
                </a:moveTo>
                <a:cubicBezTo>
                  <a:pt x="455" y="648"/>
                  <a:pt x="457" y="649"/>
                  <a:pt x="457" y="649"/>
                </a:cubicBezTo>
                <a:cubicBezTo>
                  <a:pt x="458" y="652"/>
                  <a:pt x="453" y="650"/>
                  <a:pt x="454" y="648"/>
                </a:cubicBezTo>
                <a:close/>
                <a:moveTo>
                  <a:pt x="454" y="659"/>
                </a:moveTo>
                <a:cubicBezTo>
                  <a:pt x="454" y="659"/>
                  <a:pt x="455" y="658"/>
                  <a:pt x="456" y="659"/>
                </a:cubicBezTo>
                <a:cubicBezTo>
                  <a:pt x="457" y="659"/>
                  <a:pt x="455" y="660"/>
                  <a:pt x="454" y="659"/>
                </a:cubicBezTo>
                <a:close/>
                <a:moveTo>
                  <a:pt x="452" y="632"/>
                </a:moveTo>
                <a:cubicBezTo>
                  <a:pt x="452" y="632"/>
                  <a:pt x="453" y="632"/>
                  <a:pt x="453" y="633"/>
                </a:cubicBezTo>
                <a:cubicBezTo>
                  <a:pt x="454" y="635"/>
                  <a:pt x="450" y="634"/>
                  <a:pt x="452" y="632"/>
                </a:cubicBezTo>
                <a:close/>
                <a:moveTo>
                  <a:pt x="449" y="622"/>
                </a:moveTo>
                <a:cubicBezTo>
                  <a:pt x="449" y="622"/>
                  <a:pt x="450" y="622"/>
                  <a:pt x="450" y="623"/>
                </a:cubicBezTo>
                <a:cubicBezTo>
                  <a:pt x="451" y="624"/>
                  <a:pt x="449" y="623"/>
                  <a:pt x="449" y="622"/>
                </a:cubicBezTo>
                <a:close/>
                <a:moveTo>
                  <a:pt x="446" y="640"/>
                </a:moveTo>
                <a:cubicBezTo>
                  <a:pt x="446" y="640"/>
                  <a:pt x="444" y="639"/>
                  <a:pt x="444" y="639"/>
                </a:cubicBezTo>
                <a:cubicBezTo>
                  <a:pt x="445" y="639"/>
                  <a:pt x="446" y="640"/>
                  <a:pt x="446" y="640"/>
                </a:cubicBezTo>
                <a:close/>
                <a:moveTo>
                  <a:pt x="445" y="602"/>
                </a:moveTo>
                <a:cubicBezTo>
                  <a:pt x="447" y="601"/>
                  <a:pt x="447" y="603"/>
                  <a:pt x="445" y="602"/>
                </a:cubicBezTo>
                <a:close/>
                <a:moveTo>
                  <a:pt x="444" y="571"/>
                </a:moveTo>
                <a:cubicBezTo>
                  <a:pt x="446" y="569"/>
                  <a:pt x="449" y="573"/>
                  <a:pt x="449" y="574"/>
                </a:cubicBezTo>
                <a:cubicBezTo>
                  <a:pt x="449" y="579"/>
                  <a:pt x="441" y="574"/>
                  <a:pt x="444" y="571"/>
                </a:cubicBezTo>
                <a:close/>
                <a:moveTo>
                  <a:pt x="429" y="648"/>
                </a:moveTo>
                <a:cubicBezTo>
                  <a:pt x="432" y="648"/>
                  <a:pt x="434" y="647"/>
                  <a:pt x="436" y="649"/>
                </a:cubicBezTo>
                <a:cubicBezTo>
                  <a:pt x="437" y="650"/>
                  <a:pt x="437" y="652"/>
                  <a:pt x="437" y="652"/>
                </a:cubicBezTo>
                <a:cubicBezTo>
                  <a:pt x="438" y="654"/>
                  <a:pt x="441" y="652"/>
                  <a:pt x="442" y="654"/>
                </a:cubicBezTo>
                <a:cubicBezTo>
                  <a:pt x="443" y="657"/>
                  <a:pt x="439" y="658"/>
                  <a:pt x="439" y="658"/>
                </a:cubicBezTo>
                <a:cubicBezTo>
                  <a:pt x="436" y="659"/>
                  <a:pt x="435" y="653"/>
                  <a:pt x="431" y="654"/>
                </a:cubicBezTo>
                <a:cubicBezTo>
                  <a:pt x="430" y="654"/>
                  <a:pt x="429" y="655"/>
                  <a:pt x="428" y="654"/>
                </a:cubicBezTo>
                <a:cubicBezTo>
                  <a:pt x="432" y="653"/>
                  <a:pt x="424" y="648"/>
                  <a:pt x="429" y="648"/>
                </a:cubicBezTo>
                <a:close/>
                <a:moveTo>
                  <a:pt x="428" y="646"/>
                </a:moveTo>
                <a:cubicBezTo>
                  <a:pt x="428" y="646"/>
                  <a:pt x="428" y="646"/>
                  <a:pt x="428" y="646"/>
                </a:cubicBezTo>
                <a:cubicBezTo>
                  <a:pt x="430" y="647"/>
                  <a:pt x="426" y="646"/>
                  <a:pt x="428" y="646"/>
                </a:cubicBezTo>
                <a:close/>
                <a:moveTo>
                  <a:pt x="426" y="638"/>
                </a:moveTo>
                <a:cubicBezTo>
                  <a:pt x="427" y="637"/>
                  <a:pt x="427" y="638"/>
                  <a:pt x="427" y="638"/>
                </a:cubicBezTo>
                <a:cubicBezTo>
                  <a:pt x="428" y="639"/>
                  <a:pt x="426" y="639"/>
                  <a:pt x="426" y="638"/>
                </a:cubicBezTo>
                <a:close/>
                <a:moveTo>
                  <a:pt x="429" y="628"/>
                </a:moveTo>
                <a:cubicBezTo>
                  <a:pt x="429" y="627"/>
                  <a:pt x="431" y="628"/>
                  <a:pt x="432" y="627"/>
                </a:cubicBezTo>
                <a:cubicBezTo>
                  <a:pt x="433" y="625"/>
                  <a:pt x="437" y="628"/>
                  <a:pt x="437" y="630"/>
                </a:cubicBezTo>
                <a:cubicBezTo>
                  <a:pt x="437" y="634"/>
                  <a:pt x="435" y="632"/>
                  <a:pt x="433" y="633"/>
                </a:cubicBezTo>
                <a:cubicBezTo>
                  <a:pt x="434" y="633"/>
                  <a:pt x="432" y="634"/>
                  <a:pt x="432" y="634"/>
                </a:cubicBezTo>
                <a:cubicBezTo>
                  <a:pt x="430" y="633"/>
                  <a:pt x="428" y="630"/>
                  <a:pt x="429" y="628"/>
                </a:cubicBezTo>
                <a:close/>
                <a:moveTo>
                  <a:pt x="429" y="579"/>
                </a:moveTo>
                <a:cubicBezTo>
                  <a:pt x="430" y="579"/>
                  <a:pt x="429" y="581"/>
                  <a:pt x="429" y="580"/>
                </a:cubicBezTo>
                <a:cubicBezTo>
                  <a:pt x="429" y="580"/>
                  <a:pt x="429" y="579"/>
                  <a:pt x="429" y="579"/>
                </a:cubicBezTo>
                <a:close/>
                <a:moveTo>
                  <a:pt x="430" y="612"/>
                </a:moveTo>
                <a:cubicBezTo>
                  <a:pt x="431" y="612"/>
                  <a:pt x="431" y="613"/>
                  <a:pt x="432" y="613"/>
                </a:cubicBezTo>
                <a:cubicBezTo>
                  <a:pt x="431" y="614"/>
                  <a:pt x="430" y="613"/>
                  <a:pt x="430" y="612"/>
                </a:cubicBezTo>
                <a:close/>
                <a:moveTo>
                  <a:pt x="433" y="549"/>
                </a:moveTo>
                <a:cubicBezTo>
                  <a:pt x="434" y="549"/>
                  <a:pt x="434" y="549"/>
                  <a:pt x="434" y="550"/>
                </a:cubicBezTo>
                <a:cubicBezTo>
                  <a:pt x="435" y="551"/>
                  <a:pt x="432" y="549"/>
                  <a:pt x="433" y="549"/>
                </a:cubicBezTo>
                <a:close/>
                <a:moveTo>
                  <a:pt x="443" y="617"/>
                </a:moveTo>
                <a:cubicBezTo>
                  <a:pt x="442" y="618"/>
                  <a:pt x="443" y="618"/>
                  <a:pt x="443" y="618"/>
                </a:cubicBezTo>
                <a:cubicBezTo>
                  <a:pt x="444" y="619"/>
                  <a:pt x="442" y="618"/>
                  <a:pt x="443" y="617"/>
                </a:cubicBezTo>
                <a:close/>
                <a:moveTo>
                  <a:pt x="443" y="632"/>
                </a:moveTo>
                <a:cubicBezTo>
                  <a:pt x="443" y="632"/>
                  <a:pt x="443" y="632"/>
                  <a:pt x="443" y="632"/>
                </a:cubicBezTo>
                <a:cubicBezTo>
                  <a:pt x="442" y="632"/>
                  <a:pt x="443" y="632"/>
                  <a:pt x="443" y="632"/>
                </a:cubicBezTo>
                <a:close/>
                <a:moveTo>
                  <a:pt x="442" y="613"/>
                </a:moveTo>
                <a:cubicBezTo>
                  <a:pt x="442" y="612"/>
                  <a:pt x="443" y="613"/>
                  <a:pt x="443" y="613"/>
                </a:cubicBezTo>
                <a:cubicBezTo>
                  <a:pt x="443" y="615"/>
                  <a:pt x="441" y="613"/>
                  <a:pt x="442" y="613"/>
                </a:cubicBezTo>
                <a:close/>
                <a:moveTo>
                  <a:pt x="443" y="582"/>
                </a:moveTo>
                <a:cubicBezTo>
                  <a:pt x="443" y="583"/>
                  <a:pt x="443" y="583"/>
                  <a:pt x="443" y="583"/>
                </a:cubicBezTo>
                <a:cubicBezTo>
                  <a:pt x="443" y="585"/>
                  <a:pt x="442" y="581"/>
                  <a:pt x="443" y="582"/>
                </a:cubicBezTo>
                <a:close/>
                <a:moveTo>
                  <a:pt x="441" y="554"/>
                </a:moveTo>
                <a:cubicBezTo>
                  <a:pt x="442" y="553"/>
                  <a:pt x="447" y="555"/>
                  <a:pt x="446" y="558"/>
                </a:cubicBezTo>
                <a:cubicBezTo>
                  <a:pt x="445" y="558"/>
                  <a:pt x="440" y="556"/>
                  <a:pt x="441" y="554"/>
                </a:cubicBezTo>
                <a:close/>
                <a:moveTo>
                  <a:pt x="441" y="609"/>
                </a:moveTo>
                <a:cubicBezTo>
                  <a:pt x="442" y="610"/>
                  <a:pt x="440" y="608"/>
                  <a:pt x="441" y="609"/>
                </a:cubicBezTo>
                <a:close/>
                <a:moveTo>
                  <a:pt x="440" y="534"/>
                </a:moveTo>
                <a:cubicBezTo>
                  <a:pt x="441" y="534"/>
                  <a:pt x="441" y="535"/>
                  <a:pt x="441" y="535"/>
                </a:cubicBezTo>
                <a:cubicBezTo>
                  <a:pt x="441" y="536"/>
                  <a:pt x="440" y="535"/>
                  <a:pt x="440" y="534"/>
                </a:cubicBezTo>
                <a:close/>
                <a:moveTo>
                  <a:pt x="442" y="648"/>
                </a:moveTo>
                <a:cubicBezTo>
                  <a:pt x="442" y="651"/>
                  <a:pt x="437" y="649"/>
                  <a:pt x="438" y="646"/>
                </a:cubicBezTo>
                <a:cubicBezTo>
                  <a:pt x="438" y="645"/>
                  <a:pt x="442" y="646"/>
                  <a:pt x="442" y="648"/>
                </a:cubicBezTo>
                <a:close/>
                <a:moveTo>
                  <a:pt x="435" y="615"/>
                </a:moveTo>
                <a:cubicBezTo>
                  <a:pt x="437" y="617"/>
                  <a:pt x="438" y="618"/>
                  <a:pt x="440" y="619"/>
                </a:cubicBezTo>
                <a:cubicBezTo>
                  <a:pt x="439" y="620"/>
                  <a:pt x="436" y="617"/>
                  <a:pt x="435" y="615"/>
                </a:cubicBezTo>
                <a:close/>
                <a:moveTo>
                  <a:pt x="437" y="603"/>
                </a:moveTo>
                <a:cubicBezTo>
                  <a:pt x="436" y="604"/>
                  <a:pt x="436" y="602"/>
                  <a:pt x="437" y="603"/>
                </a:cubicBezTo>
                <a:close/>
                <a:moveTo>
                  <a:pt x="436" y="529"/>
                </a:moveTo>
                <a:cubicBezTo>
                  <a:pt x="438" y="528"/>
                  <a:pt x="438" y="531"/>
                  <a:pt x="439" y="532"/>
                </a:cubicBezTo>
                <a:cubicBezTo>
                  <a:pt x="438" y="531"/>
                  <a:pt x="437" y="529"/>
                  <a:pt x="436" y="529"/>
                </a:cubicBezTo>
                <a:close/>
                <a:moveTo>
                  <a:pt x="435" y="525"/>
                </a:moveTo>
                <a:cubicBezTo>
                  <a:pt x="435" y="526"/>
                  <a:pt x="435" y="527"/>
                  <a:pt x="436" y="527"/>
                </a:cubicBezTo>
                <a:cubicBezTo>
                  <a:pt x="435" y="528"/>
                  <a:pt x="434" y="526"/>
                  <a:pt x="435" y="525"/>
                </a:cubicBezTo>
                <a:close/>
                <a:moveTo>
                  <a:pt x="432" y="638"/>
                </a:moveTo>
                <a:cubicBezTo>
                  <a:pt x="432" y="637"/>
                  <a:pt x="436" y="638"/>
                  <a:pt x="436" y="639"/>
                </a:cubicBezTo>
                <a:cubicBezTo>
                  <a:pt x="437" y="642"/>
                  <a:pt x="432" y="639"/>
                  <a:pt x="432" y="638"/>
                </a:cubicBezTo>
                <a:close/>
                <a:moveTo>
                  <a:pt x="435" y="641"/>
                </a:moveTo>
                <a:cubicBezTo>
                  <a:pt x="435" y="641"/>
                  <a:pt x="436" y="641"/>
                  <a:pt x="436" y="642"/>
                </a:cubicBezTo>
                <a:cubicBezTo>
                  <a:pt x="437" y="643"/>
                  <a:pt x="434" y="643"/>
                  <a:pt x="435" y="641"/>
                </a:cubicBezTo>
                <a:close/>
                <a:moveTo>
                  <a:pt x="444" y="668"/>
                </a:moveTo>
                <a:cubicBezTo>
                  <a:pt x="444" y="669"/>
                  <a:pt x="443" y="670"/>
                  <a:pt x="442" y="668"/>
                </a:cubicBezTo>
                <a:cubicBezTo>
                  <a:pt x="442" y="668"/>
                  <a:pt x="444" y="666"/>
                  <a:pt x="444" y="668"/>
                </a:cubicBezTo>
                <a:close/>
                <a:moveTo>
                  <a:pt x="449" y="565"/>
                </a:moveTo>
                <a:cubicBezTo>
                  <a:pt x="450" y="564"/>
                  <a:pt x="451" y="565"/>
                  <a:pt x="451" y="566"/>
                </a:cubicBezTo>
                <a:cubicBezTo>
                  <a:pt x="453" y="568"/>
                  <a:pt x="448" y="567"/>
                  <a:pt x="449" y="565"/>
                </a:cubicBezTo>
                <a:close/>
                <a:moveTo>
                  <a:pt x="455" y="614"/>
                </a:moveTo>
                <a:cubicBezTo>
                  <a:pt x="456" y="615"/>
                  <a:pt x="454" y="614"/>
                  <a:pt x="454" y="614"/>
                </a:cubicBezTo>
                <a:cubicBezTo>
                  <a:pt x="454" y="613"/>
                  <a:pt x="455" y="613"/>
                  <a:pt x="455" y="614"/>
                </a:cubicBezTo>
                <a:close/>
                <a:moveTo>
                  <a:pt x="452" y="555"/>
                </a:moveTo>
                <a:cubicBezTo>
                  <a:pt x="453" y="554"/>
                  <a:pt x="454" y="555"/>
                  <a:pt x="454" y="556"/>
                </a:cubicBezTo>
                <a:cubicBezTo>
                  <a:pt x="456" y="559"/>
                  <a:pt x="450" y="556"/>
                  <a:pt x="452" y="555"/>
                </a:cubicBezTo>
                <a:close/>
                <a:moveTo>
                  <a:pt x="451" y="548"/>
                </a:moveTo>
                <a:cubicBezTo>
                  <a:pt x="453" y="547"/>
                  <a:pt x="455" y="549"/>
                  <a:pt x="455" y="550"/>
                </a:cubicBezTo>
                <a:cubicBezTo>
                  <a:pt x="455" y="553"/>
                  <a:pt x="450" y="550"/>
                  <a:pt x="451" y="548"/>
                </a:cubicBezTo>
                <a:close/>
                <a:moveTo>
                  <a:pt x="454" y="498"/>
                </a:moveTo>
                <a:cubicBezTo>
                  <a:pt x="454" y="498"/>
                  <a:pt x="454" y="499"/>
                  <a:pt x="454" y="499"/>
                </a:cubicBezTo>
                <a:cubicBezTo>
                  <a:pt x="453" y="499"/>
                  <a:pt x="452" y="496"/>
                  <a:pt x="454" y="498"/>
                </a:cubicBezTo>
                <a:close/>
                <a:moveTo>
                  <a:pt x="454" y="414"/>
                </a:moveTo>
                <a:cubicBezTo>
                  <a:pt x="454" y="416"/>
                  <a:pt x="453" y="412"/>
                  <a:pt x="454" y="414"/>
                </a:cubicBezTo>
                <a:close/>
                <a:moveTo>
                  <a:pt x="452" y="462"/>
                </a:moveTo>
                <a:cubicBezTo>
                  <a:pt x="454" y="463"/>
                  <a:pt x="452" y="464"/>
                  <a:pt x="452" y="462"/>
                </a:cubicBezTo>
                <a:close/>
                <a:moveTo>
                  <a:pt x="453" y="501"/>
                </a:moveTo>
                <a:cubicBezTo>
                  <a:pt x="452" y="500"/>
                  <a:pt x="453" y="502"/>
                  <a:pt x="453" y="501"/>
                </a:cubicBezTo>
                <a:close/>
                <a:moveTo>
                  <a:pt x="429" y="475"/>
                </a:moveTo>
                <a:cubicBezTo>
                  <a:pt x="429" y="474"/>
                  <a:pt x="430" y="475"/>
                  <a:pt x="430" y="476"/>
                </a:cubicBezTo>
                <a:cubicBezTo>
                  <a:pt x="431" y="478"/>
                  <a:pt x="427" y="476"/>
                  <a:pt x="429" y="475"/>
                </a:cubicBezTo>
                <a:close/>
                <a:moveTo>
                  <a:pt x="429" y="611"/>
                </a:moveTo>
                <a:cubicBezTo>
                  <a:pt x="429" y="612"/>
                  <a:pt x="426" y="610"/>
                  <a:pt x="427" y="610"/>
                </a:cubicBezTo>
                <a:cubicBezTo>
                  <a:pt x="427" y="609"/>
                  <a:pt x="428" y="610"/>
                  <a:pt x="429" y="611"/>
                </a:cubicBezTo>
                <a:close/>
                <a:moveTo>
                  <a:pt x="427" y="634"/>
                </a:moveTo>
                <a:cubicBezTo>
                  <a:pt x="428" y="633"/>
                  <a:pt x="429" y="634"/>
                  <a:pt x="429" y="634"/>
                </a:cubicBezTo>
                <a:cubicBezTo>
                  <a:pt x="431" y="637"/>
                  <a:pt x="425" y="636"/>
                  <a:pt x="427" y="634"/>
                </a:cubicBezTo>
                <a:close/>
                <a:moveTo>
                  <a:pt x="425" y="607"/>
                </a:moveTo>
                <a:cubicBezTo>
                  <a:pt x="426" y="606"/>
                  <a:pt x="426" y="607"/>
                  <a:pt x="426" y="607"/>
                </a:cubicBezTo>
                <a:cubicBezTo>
                  <a:pt x="427" y="609"/>
                  <a:pt x="424" y="607"/>
                  <a:pt x="425" y="607"/>
                </a:cubicBezTo>
                <a:close/>
                <a:moveTo>
                  <a:pt x="426" y="620"/>
                </a:moveTo>
                <a:cubicBezTo>
                  <a:pt x="426" y="622"/>
                  <a:pt x="423" y="620"/>
                  <a:pt x="423" y="619"/>
                </a:cubicBezTo>
                <a:cubicBezTo>
                  <a:pt x="423" y="618"/>
                  <a:pt x="426" y="619"/>
                  <a:pt x="426" y="620"/>
                </a:cubicBezTo>
                <a:close/>
                <a:moveTo>
                  <a:pt x="420" y="690"/>
                </a:moveTo>
                <a:cubicBezTo>
                  <a:pt x="420" y="689"/>
                  <a:pt x="411" y="686"/>
                  <a:pt x="416" y="684"/>
                </a:cubicBezTo>
                <a:cubicBezTo>
                  <a:pt x="417" y="683"/>
                  <a:pt x="420" y="684"/>
                  <a:pt x="420" y="685"/>
                </a:cubicBezTo>
                <a:cubicBezTo>
                  <a:pt x="421" y="687"/>
                  <a:pt x="418" y="688"/>
                  <a:pt x="423" y="689"/>
                </a:cubicBezTo>
                <a:cubicBezTo>
                  <a:pt x="421" y="689"/>
                  <a:pt x="420" y="689"/>
                  <a:pt x="420" y="690"/>
                </a:cubicBezTo>
                <a:close/>
                <a:moveTo>
                  <a:pt x="418" y="700"/>
                </a:moveTo>
                <a:cubicBezTo>
                  <a:pt x="417" y="701"/>
                  <a:pt x="418" y="702"/>
                  <a:pt x="417" y="702"/>
                </a:cubicBezTo>
                <a:cubicBezTo>
                  <a:pt x="416" y="703"/>
                  <a:pt x="406" y="701"/>
                  <a:pt x="406" y="698"/>
                </a:cubicBezTo>
                <a:cubicBezTo>
                  <a:pt x="406" y="697"/>
                  <a:pt x="408" y="696"/>
                  <a:pt x="406" y="695"/>
                </a:cubicBezTo>
                <a:cubicBezTo>
                  <a:pt x="405" y="694"/>
                  <a:pt x="416" y="695"/>
                  <a:pt x="419" y="696"/>
                </a:cubicBezTo>
                <a:cubicBezTo>
                  <a:pt x="417" y="696"/>
                  <a:pt x="420" y="699"/>
                  <a:pt x="420" y="699"/>
                </a:cubicBezTo>
                <a:cubicBezTo>
                  <a:pt x="420" y="700"/>
                  <a:pt x="419" y="699"/>
                  <a:pt x="418" y="700"/>
                </a:cubicBezTo>
                <a:close/>
                <a:moveTo>
                  <a:pt x="420" y="714"/>
                </a:moveTo>
                <a:cubicBezTo>
                  <a:pt x="422" y="716"/>
                  <a:pt x="416" y="715"/>
                  <a:pt x="418" y="714"/>
                </a:cubicBezTo>
                <a:cubicBezTo>
                  <a:pt x="418" y="714"/>
                  <a:pt x="419" y="714"/>
                  <a:pt x="420" y="714"/>
                </a:cubicBezTo>
                <a:close/>
                <a:moveTo>
                  <a:pt x="410" y="719"/>
                </a:moveTo>
                <a:cubicBezTo>
                  <a:pt x="410" y="718"/>
                  <a:pt x="411" y="718"/>
                  <a:pt x="411" y="719"/>
                </a:cubicBezTo>
                <a:cubicBezTo>
                  <a:pt x="412" y="720"/>
                  <a:pt x="410" y="719"/>
                  <a:pt x="410" y="719"/>
                </a:cubicBezTo>
                <a:close/>
                <a:moveTo>
                  <a:pt x="403" y="686"/>
                </a:moveTo>
                <a:cubicBezTo>
                  <a:pt x="403" y="685"/>
                  <a:pt x="408" y="686"/>
                  <a:pt x="408" y="687"/>
                </a:cubicBezTo>
                <a:cubicBezTo>
                  <a:pt x="409" y="690"/>
                  <a:pt x="403" y="687"/>
                  <a:pt x="403" y="686"/>
                </a:cubicBezTo>
                <a:close/>
                <a:moveTo>
                  <a:pt x="406" y="697"/>
                </a:moveTo>
                <a:cubicBezTo>
                  <a:pt x="404" y="698"/>
                  <a:pt x="402" y="697"/>
                  <a:pt x="403" y="695"/>
                </a:cubicBezTo>
                <a:cubicBezTo>
                  <a:pt x="404" y="696"/>
                  <a:pt x="405" y="697"/>
                  <a:pt x="406" y="697"/>
                </a:cubicBezTo>
                <a:close/>
                <a:moveTo>
                  <a:pt x="414" y="652"/>
                </a:moveTo>
                <a:cubicBezTo>
                  <a:pt x="415" y="651"/>
                  <a:pt x="417" y="653"/>
                  <a:pt x="417" y="653"/>
                </a:cubicBezTo>
                <a:cubicBezTo>
                  <a:pt x="418" y="656"/>
                  <a:pt x="412" y="653"/>
                  <a:pt x="414" y="652"/>
                </a:cubicBezTo>
                <a:close/>
                <a:moveTo>
                  <a:pt x="418" y="679"/>
                </a:moveTo>
                <a:cubicBezTo>
                  <a:pt x="418" y="679"/>
                  <a:pt x="415" y="680"/>
                  <a:pt x="415" y="678"/>
                </a:cubicBezTo>
                <a:cubicBezTo>
                  <a:pt x="414" y="677"/>
                  <a:pt x="418" y="676"/>
                  <a:pt x="418" y="679"/>
                </a:cubicBezTo>
                <a:close/>
                <a:moveTo>
                  <a:pt x="414" y="669"/>
                </a:moveTo>
                <a:cubicBezTo>
                  <a:pt x="413" y="667"/>
                  <a:pt x="415" y="670"/>
                  <a:pt x="414" y="669"/>
                </a:cubicBezTo>
                <a:close/>
                <a:moveTo>
                  <a:pt x="411" y="641"/>
                </a:moveTo>
                <a:cubicBezTo>
                  <a:pt x="412" y="639"/>
                  <a:pt x="414" y="640"/>
                  <a:pt x="414" y="641"/>
                </a:cubicBezTo>
                <a:cubicBezTo>
                  <a:pt x="415" y="643"/>
                  <a:pt x="411" y="642"/>
                  <a:pt x="411" y="641"/>
                </a:cubicBezTo>
                <a:close/>
                <a:moveTo>
                  <a:pt x="420" y="682"/>
                </a:moveTo>
                <a:cubicBezTo>
                  <a:pt x="419" y="681"/>
                  <a:pt x="420" y="682"/>
                  <a:pt x="421" y="682"/>
                </a:cubicBezTo>
                <a:cubicBezTo>
                  <a:pt x="421" y="683"/>
                  <a:pt x="420" y="683"/>
                  <a:pt x="420" y="682"/>
                </a:cubicBezTo>
                <a:close/>
                <a:moveTo>
                  <a:pt x="422" y="683"/>
                </a:moveTo>
                <a:cubicBezTo>
                  <a:pt x="423" y="683"/>
                  <a:pt x="424" y="684"/>
                  <a:pt x="425" y="684"/>
                </a:cubicBezTo>
                <a:cubicBezTo>
                  <a:pt x="424" y="685"/>
                  <a:pt x="422" y="684"/>
                  <a:pt x="422" y="683"/>
                </a:cubicBezTo>
                <a:close/>
                <a:moveTo>
                  <a:pt x="425" y="673"/>
                </a:moveTo>
                <a:cubicBezTo>
                  <a:pt x="426" y="672"/>
                  <a:pt x="427" y="673"/>
                  <a:pt x="428" y="673"/>
                </a:cubicBezTo>
                <a:cubicBezTo>
                  <a:pt x="429" y="676"/>
                  <a:pt x="424" y="674"/>
                  <a:pt x="425" y="673"/>
                </a:cubicBezTo>
                <a:close/>
                <a:moveTo>
                  <a:pt x="426" y="681"/>
                </a:moveTo>
                <a:cubicBezTo>
                  <a:pt x="427" y="680"/>
                  <a:pt x="427" y="683"/>
                  <a:pt x="426" y="681"/>
                </a:cubicBezTo>
                <a:close/>
                <a:moveTo>
                  <a:pt x="427" y="693"/>
                </a:moveTo>
                <a:cubicBezTo>
                  <a:pt x="427" y="693"/>
                  <a:pt x="427" y="694"/>
                  <a:pt x="427" y="694"/>
                </a:cubicBezTo>
                <a:cubicBezTo>
                  <a:pt x="424" y="696"/>
                  <a:pt x="425" y="691"/>
                  <a:pt x="427" y="693"/>
                </a:cubicBezTo>
                <a:close/>
                <a:moveTo>
                  <a:pt x="426" y="685"/>
                </a:moveTo>
                <a:cubicBezTo>
                  <a:pt x="427" y="686"/>
                  <a:pt x="429" y="686"/>
                  <a:pt x="430" y="687"/>
                </a:cubicBezTo>
                <a:cubicBezTo>
                  <a:pt x="428" y="686"/>
                  <a:pt x="426" y="686"/>
                  <a:pt x="426" y="685"/>
                </a:cubicBezTo>
                <a:close/>
                <a:moveTo>
                  <a:pt x="416" y="649"/>
                </a:moveTo>
                <a:cubicBezTo>
                  <a:pt x="420" y="650"/>
                  <a:pt x="417" y="652"/>
                  <a:pt x="416" y="649"/>
                </a:cubicBezTo>
                <a:close/>
                <a:moveTo>
                  <a:pt x="418" y="563"/>
                </a:moveTo>
                <a:cubicBezTo>
                  <a:pt x="417" y="563"/>
                  <a:pt x="417" y="562"/>
                  <a:pt x="416" y="562"/>
                </a:cubicBezTo>
                <a:cubicBezTo>
                  <a:pt x="417" y="561"/>
                  <a:pt x="418" y="562"/>
                  <a:pt x="418" y="563"/>
                </a:cubicBezTo>
                <a:close/>
                <a:moveTo>
                  <a:pt x="414" y="556"/>
                </a:moveTo>
                <a:cubicBezTo>
                  <a:pt x="415" y="555"/>
                  <a:pt x="417" y="556"/>
                  <a:pt x="417" y="557"/>
                </a:cubicBezTo>
                <a:cubicBezTo>
                  <a:pt x="417" y="558"/>
                  <a:pt x="414" y="557"/>
                  <a:pt x="414" y="556"/>
                </a:cubicBezTo>
                <a:close/>
                <a:moveTo>
                  <a:pt x="415" y="631"/>
                </a:moveTo>
                <a:cubicBezTo>
                  <a:pt x="416" y="633"/>
                  <a:pt x="415" y="635"/>
                  <a:pt x="414" y="635"/>
                </a:cubicBezTo>
                <a:cubicBezTo>
                  <a:pt x="414" y="635"/>
                  <a:pt x="410" y="636"/>
                  <a:pt x="409" y="635"/>
                </a:cubicBezTo>
                <a:cubicBezTo>
                  <a:pt x="408" y="634"/>
                  <a:pt x="411" y="632"/>
                  <a:pt x="410" y="631"/>
                </a:cubicBezTo>
                <a:cubicBezTo>
                  <a:pt x="409" y="631"/>
                  <a:pt x="407" y="632"/>
                  <a:pt x="407" y="631"/>
                </a:cubicBezTo>
                <a:cubicBezTo>
                  <a:pt x="405" y="627"/>
                  <a:pt x="414" y="627"/>
                  <a:pt x="415" y="631"/>
                </a:cubicBezTo>
                <a:close/>
                <a:moveTo>
                  <a:pt x="410" y="640"/>
                </a:moveTo>
                <a:cubicBezTo>
                  <a:pt x="410" y="642"/>
                  <a:pt x="408" y="641"/>
                  <a:pt x="408" y="639"/>
                </a:cubicBezTo>
                <a:cubicBezTo>
                  <a:pt x="408" y="638"/>
                  <a:pt x="411" y="637"/>
                  <a:pt x="410" y="640"/>
                </a:cubicBezTo>
                <a:close/>
                <a:moveTo>
                  <a:pt x="408" y="660"/>
                </a:moveTo>
                <a:cubicBezTo>
                  <a:pt x="407" y="661"/>
                  <a:pt x="407" y="658"/>
                  <a:pt x="408" y="659"/>
                </a:cubicBezTo>
                <a:cubicBezTo>
                  <a:pt x="408" y="660"/>
                  <a:pt x="408" y="660"/>
                  <a:pt x="408" y="660"/>
                </a:cubicBezTo>
                <a:close/>
                <a:moveTo>
                  <a:pt x="407" y="611"/>
                </a:moveTo>
                <a:cubicBezTo>
                  <a:pt x="408" y="611"/>
                  <a:pt x="408" y="611"/>
                  <a:pt x="408" y="611"/>
                </a:cubicBezTo>
                <a:cubicBezTo>
                  <a:pt x="409" y="613"/>
                  <a:pt x="406" y="612"/>
                  <a:pt x="407" y="611"/>
                </a:cubicBezTo>
                <a:close/>
                <a:moveTo>
                  <a:pt x="408" y="568"/>
                </a:moveTo>
                <a:cubicBezTo>
                  <a:pt x="407" y="567"/>
                  <a:pt x="409" y="569"/>
                  <a:pt x="408" y="568"/>
                </a:cubicBezTo>
                <a:close/>
                <a:moveTo>
                  <a:pt x="408" y="164"/>
                </a:moveTo>
                <a:cubicBezTo>
                  <a:pt x="406" y="164"/>
                  <a:pt x="406" y="162"/>
                  <a:pt x="405" y="162"/>
                </a:cubicBezTo>
                <a:cubicBezTo>
                  <a:pt x="406" y="161"/>
                  <a:pt x="407" y="163"/>
                  <a:pt x="408" y="164"/>
                </a:cubicBezTo>
                <a:close/>
                <a:moveTo>
                  <a:pt x="405" y="462"/>
                </a:moveTo>
                <a:cubicBezTo>
                  <a:pt x="407" y="463"/>
                  <a:pt x="405" y="464"/>
                  <a:pt x="405" y="462"/>
                </a:cubicBezTo>
                <a:close/>
                <a:moveTo>
                  <a:pt x="404" y="93"/>
                </a:moveTo>
                <a:cubicBezTo>
                  <a:pt x="405" y="93"/>
                  <a:pt x="405" y="93"/>
                  <a:pt x="406" y="94"/>
                </a:cubicBezTo>
                <a:cubicBezTo>
                  <a:pt x="405" y="94"/>
                  <a:pt x="404" y="94"/>
                  <a:pt x="404" y="93"/>
                </a:cubicBezTo>
                <a:close/>
                <a:moveTo>
                  <a:pt x="404" y="393"/>
                </a:moveTo>
                <a:cubicBezTo>
                  <a:pt x="403" y="393"/>
                  <a:pt x="404" y="392"/>
                  <a:pt x="403" y="391"/>
                </a:cubicBezTo>
                <a:cubicBezTo>
                  <a:pt x="403" y="391"/>
                  <a:pt x="404" y="392"/>
                  <a:pt x="404" y="393"/>
                </a:cubicBezTo>
                <a:close/>
                <a:moveTo>
                  <a:pt x="408" y="622"/>
                </a:moveTo>
                <a:cubicBezTo>
                  <a:pt x="408" y="626"/>
                  <a:pt x="401" y="622"/>
                  <a:pt x="402" y="620"/>
                </a:cubicBezTo>
                <a:cubicBezTo>
                  <a:pt x="403" y="617"/>
                  <a:pt x="408" y="620"/>
                  <a:pt x="408" y="622"/>
                </a:cubicBezTo>
                <a:close/>
                <a:moveTo>
                  <a:pt x="406" y="655"/>
                </a:moveTo>
                <a:cubicBezTo>
                  <a:pt x="407" y="657"/>
                  <a:pt x="403" y="656"/>
                  <a:pt x="403" y="655"/>
                </a:cubicBezTo>
                <a:cubicBezTo>
                  <a:pt x="403" y="654"/>
                  <a:pt x="405" y="655"/>
                  <a:pt x="406" y="655"/>
                </a:cubicBezTo>
                <a:close/>
                <a:moveTo>
                  <a:pt x="403" y="640"/>
                </a:moveTo>
                <a:cubicBezTo>
                  <a:pt x="402" y="641"/>
                  <a:pt x="402" y="639"/>
                  <a:pt x="403" y="639"/>
                </a:cubicBezTo>
                <a:cubicBezTo>
                  <a:pt x="403" y="640"/>
                  <a:pt x="403" y="640"/>
                  <a:pt x="403" y="640"/>
                </a:cubicBezTo>
                <a:close/>
                <a:moveTo>
                  <a:pt x="402" y="649"/>
                </a:moveTo>
                <a:cubicBezTo>
                  <a:pt x="402" y="651"/>
                  <a:pt x="398" y="649"/>
                  <a:pt x="399" y="648"/>
                </a:cubicBezTo>
                <a:cubicBezTo>
                  <a:pt x="400" y="647"/>
                  <a:pt x="402" y="649"/>
                  <a:pt x="402" y="649"/>
                </a:cubicBezTo>
                <a:close/>
                <a:moveTo>
                  <a:pt x="402" y="492"/>
                </a:moveTo>
                <a:cubicBezTo>
                  <a:pt x="403" y="493"/>
                  <a:pt x="401" y="490"/>
                  <a:pt x="402" y="492"/>
                </a:cubicBezTo>
                <a:close/>
                <a:moveTo>
                  <a:pt x="397" y="651"/>
                </a:moveTo>
                <a:cubicBezTo>
                  <a:pt x="397" y="650"/>
                  <a:pt x="398" y="651"/>
                  <a:pt x="398" y="651"/>
                </a:cubicBezTo>
                <a:cubicBezTo>
                  <a:pt x="399" y="652"/>
                  <a:pt x="397" y="651"/>
                  <a:pt x="397" y="651"/>
                </a:cubicBezTo>
                <a:close/>
                <a:moveTo>
                  <a:pt x="396" y="629"/>
                </a:moveTo>
                <a:cubicBezTo>
                  <a:pt x="397" y="628"/>
                  <a:pt x="398" y="630"/>
                  <a:pt x="398" y="630"/>
                </a:cubicBezTo>
                <a:cubicBezTo>
                  <a:pt x="398" y="631"/>
                  <a:pt x="397" y="629"/>
                  <a:pt x="396" y="629"/>
                </a:cubicBezTo>
                <a:close/>
                <a:moveTo>
                  <a:pt x="402" y="683"/>
                </a:moveTo>
                <a:cubicBezTo>
                  <a:pt x="401" y="683"/>
                  <a:pt x="401" y="683"/>
                  <a:pt x="400" y="682"/>
                </a:cubicBezTo>
                <a:cubicBezTo>
                  <a:pt x="400" y="682"/>
                  <a:pt x="402" y="683"/>
                  <a:pt x="402" y="683"/>
                </a:cubicBezTo>
                <a:close/>
                <a:moveTo>
                  <a:pt x="399" y="681"/>
                </a:moveTo>
                <a:cubicBezTo>
                  <a:pt x="400" y="682"/>
                  <a:pt x="397" y="681"/>
                  <a:pt x="399" y="681"/>
                </a:cubicBezTo>
                <a:close/>
                <a:moveTo>
                  <a:pt x="394" y="689"/>
                </a:moveTo>
                <a:cubicBezTo>
                  <a:pt x="394" y="688"/>
                  <a:pt x="396" y="689"/>
                  <a:pt x="396" y="689"/>
                </a:cubicBezTo>
                <a:cubicBezTo>
                  <a:pt x="397" y="690"/>
                  <a:pt x="395" y="689"/>
                  <a:pt x="394" y="689"/>
                </a:cubicBezTo>
                <a:close/>
                <a:moveTo>
                  <a:pt x="393" y="724"/>
                </a:moveTo>
                <a:cubicBezTo>
                  <a:pt x="394" y="724"/>
                  <a:pt x="390" y="723"/>
                  <a:pt x="393" y="724"/>
                </a:cubicBezTo>
                <a:close/>
                <a:moveTo>
                  <a:pt x="391" y="742"/>
                </a:moveTo>
                <a:cubicBezTo>
                  <a:pt x="391" y="740"/>
                  <a:pt x="392" y="742"/>
                  <a:pt x="393" y="742"/>
                </a:cubicBezTo>
                <a:cubicBezTo>
                  <a:pt x="394" y="743"/>
                  <a:pt x="391" y="742"/>
                  <a:pt x="391" y="742"/>
                </a:cubicBezTo>
                <a:close/>
                <a:moveTo>
                  <a:pt x="399" y="697"/>
                </a:moveTo>
                <a:cubicBezTo>
                  <a:pt x="399" y="701"/>
                  <a:pt x="393" y="699"/>
                  <a:pt x="393" y="697"/>
                </a:cubicBezTo>
                <a:cubicBezTo>
                  <a:pt x="393" y="695"/>
                  <a:pt x="399" y="695"/>
                  <a:pt x="399" y="697"/>
                </a:cubicBezTo>
                <a:close/>
                <a:moveTo>
                  <a:pt x="394" y="717"/>
                </a:moveTo>
                <a:cubicBezTo>
                  <a:pt x="394" y="717"/>
                  <a:pt x="394" y="716"/>
                  <a:pt x="394" y="717"/>
                </a:cubicBezTo>
                <a:cubicBezTo>
                  <a:pt x="394" y="717"/>
                  <a:pt x="394" y="717"/>
                  <a:pt x="394" y="717"/>
                </a:cubicBezTo>
                <a:close/>
                <a:moveTo>
                  <a:pt x="394" y="727"/>
                </a:moveTo>
                <a:cubicBezTo>
                  <a:pt x="393" y="727"/>
                  <a:pt x="394" y="726"/>
                  <a:pt x="394" y="726"/>
                </a:cubicBezTo>
                <a:cubicBezTo>
                  <a:pt x="395" y="726"/>
                  <a:pt x="394" y="728"/>
                  <a:pt x="394" y="727"/>
                </a:cubicBezTo>
                <a:close/>
                <a:moveTo>
                  <a:pt x="395" y="745"/>
                </a:moveTo>
                <a:cubicBezTo>
                  <a:pt x="396" y="746"/>
                  <a:pt x="393" y="745"/>
                  <a:pt x="395" y="745"/>
                </a:cubicBezTo>
                <a:close/>
                <a:moveTo>
                  <a:pt x="396" y="726"/>
                </a:moveTo>
                <a:cubicBezTo>
                  <a:pt x="396" y="726"/>
                  <a:pt x="397" y="726"/>
                  <a:pt x="397" y="726"/>
                </a:cubicBezTo>
                <a:cubicBezTo>
                  <a:pt x="397" y="729"/>
                  <a:pt x="395" y="723"/>
                  <a:pt x="396" y="726"/>
                </a:cubicBezTo>
                <a:close/>
                <a:moveTo>
                  <a:pt x="404" y="726"/>
                </a:moveTo>
                <a:cubicBezTo>
                  <a:pt x="404" y="725"/>
                  <a:pt x="405" y="725"/>
                  <a:pt x="405" y="726"/>
                </a:cubicBezTo>
                <a:cubicBezTo>
                  <a:pt x="406" y="727"/>
                  <a:pt x="404" y="726"/>
                  <a:pt x="404" y="726"/>
                </a:cubicBezTo>
                <a:close/>
                <a:moveTo>
                  <a:pt x="399" y="722"/>
                </a:moveTo>
                <a:cubicBezTo>
                  <a:pt x="404" y="727"/>
                  <a:pt x="392" y="723"/>
                  <a:pt x="394" y="719"/>
                </a:cubicBezTo>
                <a:cubicBezTo>
                  <a:pt x="394" y="719"/>
                  <a:pt x="395" y="719"/>
                  <a:pt x="396" y="719"/>
                </a:cubicBezTo>
                <a:cubicBezTo>
                  <a:pt x="396" y="719"/>
                  <a:pt x="396" y="716"/>
                  <a:pt x="396" y="715"/>
                </a:cubicBezTo>
                <a:cubicBezTo>
                  <a:pt x="396" y="715"/>
                  <a:pt x="399" y="714"/>
                  <a:pt x="400" y="714"/>
                </a:cubicBezTo>
                <a:cubicBezTo>
                  <a:pt x="404" y="713"/>
                  <a:pt x="405" y="717"/>
                  <a:pt x="408" y="718"/>
                </a:cubicBezTo>
                <a:cubicBezTo>
                  <a:pt x="406" y="720"/>
                  <a:pt x="403" y="723"/>
                  <a:pt x="399" y="722"/>
                </a:cubicBezTo>
                <a:close/>
                <a:moveTo>
                  <a:pt x="409" y="735"/>
                </a:moveTo>
                <a:cubicBezTo>
                  <a:pt x="408" y="733"/>
                  <a:pt x="410" y="736"/>
                  <a:pt x="409" y="735"/>
                </a:cubicBezTo>
                <a:close/>
                <a:moveTo>
                  <a:pt x="415" y="738"/>
                </a:moveTo>
                <a:cubicBezTo>
                  <a:pt x="415" y="739"/>
                  <a:pt x="413" y="737"/>
                  <a:pt x="415" y="738"/>
                </a:cubicBezTo>
                <a:close/>
                <a:moveTo>
                  <a:pt x="408" y="727"/>
                </a:moveTo>
                <a:cubicBezTo>
                  <a:pt x="408" y="724"/>
                  <a:pt x="415" y="723"/>
                  <a:pt x="415" y="727"/>
                </a:cubicBezTo>
                <a:cubicBezTo>
                  <a:pt x="416" y="731"/>
                  <a:pt x="408" y="729"/>
                  <a:pt x="408" y="727"/>
                </a:cubicBezTo>
                <a:close/>
                <a:moveTo>
                  <a:pt x="417" y="733"/>
                </a:moveTo>
                <a:cubicBezTo>
                  <a:pt x="415" y="733"/>
                  <a:pt x="417" y="731"/>
                  <a:pt x="417" y="733"/>
                </a:cubicBezTo>
                <a:close/>
                <a:moveTo>
                  <a:pt x="419" y="726"/>
                </a:moveTo>
                <a:cubicBezTo>
                  <a:pt x="419" y="727"/>
                  <a:pt x="419" y="727"/>
                  <a:pt x="418" y="727"/>
                </a:cubicBezTo>
                <a:cubicBezTo>
                  <a:pt x="418" y="727"/>
                  <a:pt x="418" y="726"/>
                  <a:pt x="418" y="726"/>
                </a:cubicBezTo>
                <a:cubicBezTo>
                  <a:pt x="415" y="724"/>
                  <a:pt x="411" y="721"/>
                  <a:pt x="411" y="721"/>
                </a:cubicBezTo>
                <a:cubicBezTo>
                  <a:pt x="412" y="720"/>
                  <a:pt x="418" y="725"/>
                  <a:pt x="421" y="726"/>
                </a:cubicBezTo>
                <a:cubicBezTo>
                  <a:pt x="421" y="726"/>
                  <a:pt x="420" y="726"/>
                  <a:pt x="419" y="726"/>
                </a:cubicBezTo>
                <a:close/>
                <a:moveTo>
                  <a:pt x="420" y="705"/>
                </a:moveTo>
                <a:cubicBezTo>
                  <a:pt x="420" y="704"/>
                  <a:pt x="423" y="707"/>
                  <a:pt x="423" y="707"/>
                </a:cubicBezTo>
                <a:cubicBezTo>
                  <a:pt x="423" y="710"/>
                  <a:pt x="417" y="706"/>
                  <a:pt x="420" y="705"/>
                </a:cubicBezTo>
                <a:close/>
                <a:moveTo>
                  <a:pt x="422" y="709"/>
                </a:moveTo>
                <a:cubicBezTo>
                  <a:pt x="420" y="708"/>
                  <a:pt x="423" y="710"/>
                  <a:pt x="422" y="709"/>
                </a:cubicBezTo>
                <a:close/>
                <a:moveTo>
                  <a:pt x="422" y="712"/>
                </a:moveTo>
                <a:cubicBezTo>
                  <a:pt x="422" y="711"/>
                  <a:pt x="423" y="711"/>
                  <a:pt x="423" y="711"/>
                </a:cubicBezTo>
                <a:cubicBezTo>
                  <a:pt x="423" y="710"/>
                  <a:pt x="423" y="708"/>
                  <a:pt x="425" y="711"/>
                </a:cubicBezTo>
                <a:cubicBezTo>
                  <a:pt x="425" y="711"/>
                  <a:pt x="425" y="711"/>
                  <a:pt x="425" y="711"/>
                </a:cubicBezTo>
                <a:cubicBezTo>
                  <a:pt x="424" y="712"/>
                  <a:pt x="424" y="712"/>
                  <a:pt x="424" y="712"/>
                </a:cubicBezTo>
                <a:cubicBezTo>
                  <a:pt x="424" y="712"/>
                  <a:pt x="424" y="712"/>
                  <a:pt x="424" y="712"/>
                </a:cubicBezTo>
                <a:cubicBezTo>
                  <a:pt x="425" y="715"/>
                  <a:pt x="420" y="713"/>
                  <a:pt x="422" y="712"/>
                </a:cubicBezTo>
                <a:close/>
                <a:moveTo>
                  <a:pt x="425" y="708"/>
                </a:moveTo>
                <a:cubicBezTo>
                  <a:pt x="425" y="707"/>
                  <a:pt x="426" y="707"/>
                  <a:pt x="426" y="708"/>
                </a:cubicBezTo>
                <a:cubicBezTo>
                  <a:pt x="427" y="709"/>
                  <a:pt x="424" y="709"/>
                  <a:pt x="425" y="708"/>
                </a:cubicBezTo>
                <a:close/>
                <a:moveTo>
                  <a:pt x="426" y="712"/>
                </a:moveTo>
                <a:cubicBezTo>
                  <a:pt x="428" y="712"/>
                  <a:pt x="428" y="714"/>
                  <a:pt x="426" y="712"/>
                </a:cubicBezTo>
                <a:close/>
                <a:moveTo>
                  <a:pt x="422" y="722"/>
                </a:moveTo>
                <a:cubicBezTo>
                  <a:pt x="422" y="721"/>
                  <a:pt x="424" y="722"/>
                  <a:pt x="424" y="722"/>
                </a:cubicBezTo>
                <a:cubicBezTo>
                  <a:pt x="425" y="724"/>
                  <a:pt x="421" y="723"/>
                  <a:pt x="422" y="722"/>
                </a:cubicBezTo>
                <a:close/>
                <a:moveTo>
                  <a:pt x="429" y="731"/>
                </a:moveTo>
                <a:cubicBezTo>
                  <a:pt x="425" y="733"/>
                  <a:pt x="428" y="726"/>
                  <a:pt x="428" y="730"/>
                </a:cubicBezTo>
                <a:cubicBezTo>
                  <a:pt x="428" y="730"/>
                  <a:pt x="429" y="731"/>
                  <a:pt x="429" y="731"/>
                </a:cubicBezTo>
                <a:close/>
                <a:moveTo>
                  <a:pt x="428" y="722"/>
                </a:moveTo>
                <a:cubicBezTo>
                  <a:pt x="428" y="721"/>
                  <a:pt x="430" y="723"/>
                  <a:pt x="429" y="723"/>
                </a:cubicBezTo>
                <a:cubicBezTo>
                  <a:pt x="429" y="724"/>
                  <a:pt x="427" y="723"/>
                  <a:pt x="428" y="722"/>
                </a:cubicBezTo>
                <a:cubicBezTo>
                  <a:pt x="427" y="723"/>
                  <a:pt x="424" y="722"/>
                  <a:pt x="424" y="720"/>
                </a:cubicBezTo>
                <a:cubicBezTo>
                  <a:pt x="424" y="720"/>
                  <a:pt x="426" y="718"/>
                  <a:pt x="425" y="718"/>
                </a:cubicBezTo>
                <a:cubicBezTo>
                  <a:pt x="426" y="718"/>
                  <a:pt x="429" y="721"/>
                  <a:pt x="428" y="722"/>
                </a:cubicBezTo>
                <a:close/>
                <a:moveTo>
                  <a:pt x="427" y="702"/>
                </a:moveTo>
                <a:cubicBezTo>
                  <a:pt x="427" y="702"/>
                  <a:pt x="428" y="702"/>
                  <a:pt x="428" y="702"/>
                </a:cubicBezTo>
                <a:cubicBezTo>
                  <a:pt x="428" y="704"/>
                  <a:pt x="426" y="702"/>
                  <a:pt x="427" y="702"/>
                </a:cubicBezTo>
                <a:close/>
                <a:moveTo>
                  <a:pt x="424" y="697"/>
                </a:moveTo>
                <a:cubicBezTo>
                  <a:pt x="425" y="697"/>
                  <a:pt x="429" y="698"/>
                  <a:pt x="430" y="699"/>
                </a:cubicBezTo>
                <a:cubicBezTo>
                  <a:pt x="430" y="700"/>
                  <a:pt x="425" y="699"/>
                  <a:pt x="424" y="697"/>
                </a:cubicBezTo>
                <a:close/>
                <a:moveTo>
                  <a:pt x="430" y="690"/>
                </a:moveTo>
                <a:cubicBezTo>
                  <a:pt x="430" y="690"/>
                  <a:pt x="431" y="690"/>
                  <a:pt x="431" y="690"/>
                </a:cubicBezTo>
                <a:cubicBezTo>
                  <a:pt x="432" y="691"/>
                  <a:pt x="429" y="691"/>
                  <a:pt x="430" y="690"/>
                </a:cubicBezTo>
                <a:close/>
                <a:moveTo>
                  <a:pt x="435" y="698"/>
                </a:moveTo>
                <a:cubicBezTo>
                  <a:pt x="435" y="698"/>
                  <a:pt x="436" y="698"/>
                  <a:pt x="436" y="698"/>
                </a:cubicBezTo>
                <a:cubicBezTo>
                  <a:pt x="436" y="699"/>
                  <a:pt x="435" y="699"/>
                  <a:pt x="435" y="698"/>
                </a:cubicBezTo>
                <a:close/>
                <a:moveTo>
                  <a:pt x="437" y="693"/>
                </a:moveTo>
                <a:cubicBezTo>
                  <a:pt x="435" y="692"/>
                  <a:pt x="438" y="694"/>
                  <a:pt x="437" y="693"/>
                </a:cubicBezTo>
                <a:close/>
                <a:moveTo>
                  <a:pt x="438" y="696"/>
                </a:moveTo>
                <a:cubicBezTo>
                  <a:pt x="439" y="697"/>
                  <a:pt x="437" y="694"/>
                  <a:pt x="438" y="696"/>
                </a:cubicBezTo>
                <a:close/>
                <a:moveTo>
                  <a:pt x="432" y="689"/>
                </a:moveTo>
                <a:cubicBezTo>
                  <a:pt x="429" y="687"/>
                  <a:pt x="433" y="688"/>
                  <a:pt x="434" y="689"/>
                </a:cubicBezTo>
                <a:cubicBezTo>
                  <a:pt x="437" y="690"/>
                  <a:pt x="443" y="691"/>
                  <a:pt x="443" y="693"/>
                </a:cubicBezTo>
                <a:cubicBezTo>
                  <a:pt x="440" y="691"/>
                  <a:pt x="436" y="691"/>
                  <a:pt x="432" y="689"/>
                </a:cubicBezTo>
                <a:close/>
                <a:moveTo>
                  <a:pt x="439" y="682"/>
                </a:moveTo>
                <a:cubicBezTo>
                  <a:pt x="439" y="682"/>
                  <a:pt x="439" y="682"/>
                  <a:pt x="439" y="682"/>
                </a:cubicBezTo>
                <a:cubicBezTo>
                  <a:pt x="438" y="684"/>
                  <a:pt x="437" y="680"/>
                  <a:pt x="439" y="682"/>
                </a:cubicBezTo>
                <a:close/>
                <a:moveTo>
                  <a:pt x="446" y="681"/>
                </a:moveTo>
                <a:cubicBezTo>
                  <a:pt x="446" y="681"/>
                  <a:pt x="447" y="681"/>
                  <a:pt x="447" y="681"/>
                </a:cubicBezTo>
                <a:cubicBezTo>
                  <a:pt x="447" y="682"/>
                  <a:pt x="445" y="682"/>
                  <a:pt x="446" y="681"/>
                </a:cubicBezTo>
                <a:close/>
                <a:moveTo>
                  <a:pt x="442" y="678"/>
                </a:moveTo>
                <a:cubicBezTo>
                  <a:pt x="440" y="677"/>
                  <a:pt x="440" y="675"/>
                  <a:pt x="440" y="674"/>
                </a:cubicBezTo>
                <a:cubicBezTo>
                  <a:pt x="439" y="674"/>
                  <a:pt x="436" y="675"/>
                  <a:pt x="437" y="673"/>
                </a:cubicBezTo>
                <a:cubicBezTo>
                  <a:pt x="438" y="672"/>
                  <a:pt x="438" y="674"/>
                  <a:pt x="439" y="673"/>
                </a:cubicBezTo>
                <a:cubicBezTo>
                  <a:pt x="441" y="673"/>
                  <a:pt x="441" y="672"/>
                  <a:pt x="442" y="672"/>
                </a:cubicBezTo>
                <a:cubicBezTo>
                  <a:pt x="444" y="671"/>
                  <a:pt x="447" y="673"/>
                  <a:pt x="447" y="675"/>
                </a:cubicBezTo>
                <a:cubicBezTo>
                  <a:pt x="447" y="678"/>
                  <a:pt x="445" y="679"/>
                  <a:pt x="442" y="678"/>
                </a:cubicBezTo>
                <a:close/>
                <a:moveTo>
                  <a:pt x="445" y="642"/>
                </a:moveTo>
                <a:cubicBezTo>
                  <a:pt x="446" y="641"/>
                  <a:pt x="447" y="641"/>
                  <a:pt x="447" y="642"/>
                </a:cubicBezTo>
                <a:cubicBezTo>
                  <a:pt x="448" y="643"/>
                  <a:pt x="445" y="642"/>
                  <a:pt x="445" y="642"/>
                </a:cubicBezTo>
                <a:close/>
                <a:moveTo>
                  <a:pt x="447" y="580"/>
                </a:moveTo>
                <a:cubicBezTo>
                  <a:pt x="448" y="579"/>
                  <a:pt x="449" y="581"/>
                  <a:pt x="449" y="581"/>
                </a:cubicBezTo>
                <a:cubicBezTo>
                  <a:pt x="450" y="583"/>
                  <a:pt x="446" y="581"/>
                  <a:pt x="447" y="580"/>
                </a:cubicBezTo>
                <a:close/>
                <a:moveTo>
                  <a:pt x="448" y="651"/>
                </a:moveTo>
                <a:cubicBezTo>
                  <a:pt x="448" y="651"/>
                  <a:pt x="447" y="651"/>
                  <a:pt x="447" y="651"/>
                </a:cubicBezTo>
                <a:cubicBezTo>
                  <a:pt x="448" y="651"/>
                  <a:pt x="448" y="651"/>
                  <a:pt x="448" y="651"/>
                </a:cubicBezTo>
                <a:cubicBezTo>
                  <a:pt x="448" y="651"/>
                  <a:pt x="448" y="651"/>
                  <a:pt x="448" y="651"/>
                </a:cubicBezTo>
                <a:close/>
                <a:moveTo>
                  <a:pt x="448" y="640"/>
                </a:moveTo>
                <a:cubicBezTo>
                  <a:pt x="448" y="640"/>
                  <a:pt x="449" y="640"/>
                  <a:pt x="450" y="641"/>
                </a:cubicBezTo>
                <a:cubicBezTo>
                  <a:pt x="450" y="642"/>
                  <a:pt x="448" y="641"/>
                  <a:pt x="448" y="640"/>
                </a:cubicBezTo>
                <a:close/>
                <a:moveTo>
                  <a:pt x="450" y="636"/>
                </a:moveTo>
                <a:cubicBezTo>
                  <a:pt x="451" y="636"/>
                  <a:pt x="451" y="636"/>
                  <a:pt x="451" y="636"/>
                </a:cubicBezTo>
                <a:cubicBezTo>
                  <a:pt x="452" y="638"/>
                  <a:pt x="449" y="636"/>
                  <a:pt x="450" y="636"/>
                </a:cubicBezTo>
                <a:close/>
                <a:moveTo>
                  <a:pt x="451" y="642"/>
                </a:moveTo>
                <a:cubicBezTo>
                  <a:pt x="452" y="641"/>
                  <a:pt x="453" y="642"/>
                  <a:pt x="454" y="643"/>
                </a:cubicBezTo>
                <a:cubicBezTo>
                  <a:pt x="456" y="646"/>
                  <a:pt x="448" y="644"/>
                  <a:pt x="451" y="642"/>
                </a:cubicBezTo>
                <a:close/>
                <a:moveTo>
                  <a:pt x="451" y="666"/>
                </a:moveTo>
                <a:cubicBezTo>
                  <a:pt x="452" y="665"/>
                  <a:pt x="452" y="666"/>
                  <a:pt x="453" y="666"/>
                </a:cubicBezTo>
                <a:cubicBezTo>
                  <a:pt x="454" y="668"/>
                  <a:pt x="450" y="666"/>
                  <a:pt x="451" y="666"/>
                </a:cubicBezTo>
                <a:close/>
                <a:moveTo>
                  <a:pt x="453" y="682"/>
                </a:moveTo>
                <a:cubicBezTo>
                  <a:pt x="453" y="682"/>
                  <a:pt x="453" y="682"/>
                  <a:pt x="453" y="681"/>
                </a:cubicBezTo>
                <a:cubicBezTo>
                  <a:pt x="454" y="681"/>
                  <a:pt x="454" y="683"/>
                  <a:pt x="453" y="682"/>
                </a:cubicBezTo>
                <a:close/>
                <a:moveTo>
                  <a:pt x="456" y="685"/>
                </a:moveTo>
                <a:cubicBezTo>
                  <a:pt x="456" y="684"/>
                  <a:pt x="457" y="685"/>
                  <a:pt x="458" y="685"/>
                </a:cubicBezTo>
                <a:cubicBezTo>
                  <a:pt x="459" y="686"/>
                  <a:pt x="456" y="686"/>
                  <a:pt x="456" y="685"/>
                </a:cubicBezTo>
                <a:close/>
                <a:moveTo>
                  <a:pt x="458" y="702"/>
                </a:moveTo>
                <a:cubicBezTo>
                  <a:pt x="458" y="701"/>
                  <a:pt x="459" y="701"/>
                  <a:pt x="459" y="702"/>
                </a:cubicBezTo>
                <a:cubicBezTo>
                  <a:pt x="460" y="704"/>
                  <a:pt x="456" y="703"/>
                  <a:pt x="458" y="702"/>
                </a:cubicBezTo>
                <a:close/>
                <a:moveTo>
                  <a:pt x="460" y="691"/>
                </a:moveTo>
                <a:cubicBezTo>
                  <a:pt x="460" y="689"/>
                  <a:pt x="464" y="690"/>
                  <a:pt x="464" y="690"/>
                </a:cubicBezTo>
                <a:cubicBezTo>
                  <a:pt x="466" y="692"/>
                  <a:pt x="460" y="691"/>
                  <a:pt x="460" y="691"/>
                </a:cubicBezTo>
                <a:close/>
                <a:moveTo>
                  <a:pt x="466" y="690"/>
                </a:moveTo>
                <a:cubicBezTo>
                  <a:pt x="465" y="692"/>
                  <a:pt x="465" y="689"/>
                  <a:pt x="466" y="690"/>
                </a:cubicBezTo>
                <a:close/>
                <a:moveTo>
                  <a:pt x="459" y="679"/>
                </a:moveTo>
                <a:cubicBezTo>
                  <a:pt x="459" y="678"/>
                  <a:pt x="459" y="677"/>
                  <a:pt x="459" y="677"/>
                </a:cubicBezTo>
                <a:cubicBezTo>
                  <a:pt x="457" y="676"/>
                  <a:pt x="456" y="677"/>
                  <a:pt x="454" y="677"/>
                </a:cubicBezTo>
                <a:cubicBezTo>
                  <a:pt x="460" y="675"/>
                  <a:pt x="449" y="672"/>
                  <a:pt x="453" y="669"/>
                </a:cubicBezTo>
                <a:cubicBezTo>
                  <a:pt x="454" y="668"/>
                  <a:pt x="457" y="670"/>
                  <a:pt x="457" y="667"/>
                </a:cubicBezTo>
                <a:cubicBezTo>
                  <a:pt x="457" y="671"/>
                  <a:pt x="461" y="666"/>
                  <a:pt x="465" y="667"/>
                </a:cubicBezTo>
                <a:cubicBezTo>
                  <a:pt x="467" y="668"/>
                  <a:pt x="469" y="671"/>
                  <a:pt x="469" y="673"/>
                </a:cubicBezTo>
                <a:cubicBezTo>
                  <a:pt x="469" y="673"/>
                  <a:pt x="462" y="681"/>
                  <a:pt x="459" y="679"/>
                </a:cubicBezTo>
                <a:close/>
                <a:moveTo>
                  <a:pt x="460" y="633"/>
                </a:moveTo>
                <a:cubicBezTo>
                  <a:pt x="461" y="633"/>
                  <a:pt x="458" y="632"/>
                  <a:pt x="460" y="633"/>
                </a:cubicBezTo>
                <a:close/>
                <a:moveTo>
                  <a:pt x="460" y="643"/>
                </a:moveTo>
                <a:cubicBezTo>
                  <a:pt x="459" y="644"/>
                  <a:pt x="459" y="641"/>
                  <a:pt x="460" y="643"/>
                </a:cubicBezTo>
                <a:close/>
                <a:moveTo>
                  <a:pt x="471" y="641"/>
                </a:moveTo>
                <a:cubicBezTo>
                  <a:pt x="467" y="642"/>
                  <a:pt x="468" y="638"/>
                  <a:pt x="471" y="641"/>
                </a:cubicBezTo>
                <a:close/>
                <a:moveTo>
                  <a:pt x="469" y="656"/>
                </a:moveTo>
                <a:cubicBezTo>
                  <a:pt x="470" y="656"/>
                  <a:pt x="467" y="655"/>
                  <a:pt x="469" y="656"/>
                </a:cubicBezTo>
                <a:close/>
                <a:moveTo>
                  <a:pt x="467" y="622"/>
                </a:moveTo>
                <a:cubicBezTo>
                  <a:pt x="467" y="621"/>
                  <a:pt x="468" y="622"/>
                  <a:pt x="468" y="622"/>
                </a:cubicBezTo>
                <a:cubicBezTo>
                  <a:pt x="469" y="624"/>
                  <a:pt x="466" y="622"/>
                  <a:pt x="467" y="622"/>
                </a:cubicBezTo>
                <a:close/>
                <a:moveTo>
                  <a:pt x="466" y="598"/>
                </a:moveTo>
                <a:cubicBezTo>
                  <a:pt x="467" y="598"/>
                  <a:pt x="467" y="599"/>
                  <a:pt x="467" y="599"/>
                </a:cubicBezTo>
                <a:cubicBezTo>
                  <a:pt x="468" y="601"/>
                  <a:pt x="465" y="599"/>
                  <a:pt x="466" y="598"/>
                </a:cubicBezTo>
                <a:close/>
                <a:moveTo>
                  <a:pt x="470" y="684"/>
                </a:moveTo>
                <a:cubicBezTo>
                  <a:pt x="472" y="686"/>
                  <a:pt x="466" y="685"/>
                  <a:pt x="467" y="683"/>
                </a:cubicBezTo>
                <a:cubicBezTo>
                  <a:pt x="468" y="682"/>
                  <a:pt x="470" y="683"/>
                  <a:pt x="470" y="684"/>
                </a:cubicBezTo>
                <a:close/>
                <a:moveTo>
                  <a:pt x="469" y="666"/>
                </a:moveTo>
                <a:cubicBezTo>
                  <a:pt x="469" y="665"/>
                  <a:pt x="470" y="665"/>
                  <a:pt x="470" y="666"/>
                </a:cubicBezTo>
                <a:cubicBezTo>
                  <a:pt x="471" y="667"/>
                  <a:pt x="469" y="666"/>
                  <a:pt x="469" y="666"/>
                </a:cubicBezTo>
                <a:close/>
                <a:moveTo>
                  <a:pt x="470" y="689"/>
                </a:moveTo>
                <a:cubicBezTo>
                  <a:pt x="475" y="693"/>
                  <a:pt x="467" y="695"/>
                  <a:pt x="467" y="690"/>
                </a:cubicBezTo>
                <a:cubicBezTo>
                  <a:pt x="467" y="690"/>
                  <a:pt x="468" y="687"/>
                  <a:pt x="468" y="687"/>
                </a:cubicBezTo>
                <a:cubicBezTo>
                  <a:pt x="472" y="685"/>
                  <a:pt x="474" y="691"/>
                  <a:pt x="470" y="689"/>
                </a:cubicBezTo>
                <a:close/>
                <a:moveTo>
                  <a:pt x="472" y="667"/>
                </a:moveTo>
                <a:cubicBezTo>
                  <a:pt x="472" y="667"/>
                  <a:pt x="473" y="668"/>
                  <a:pt x="473" y="668"/>
                </a:cubicBezTo>
                <a:cubicBezTo>
                  <a:pt x="475" y="670"/>
                  <a:pt x="470" y="668"/>
                  <a:pt x="472" y="667"/>
                </a:cubicBezTo>
                <a:close/>
                <a:moveTo>
                  <a:pt x="474" y="664"/>
                </a:moveTo>
                <a:cubicBezTo>
                  <a:pt x="474" y="664"/>
                  <a:pt x="475" y="664"/>
                  <a:pt x="475" y="665"/>
                </a:cubicBezTo>
                <a:cubicBezTo>
                  <a:pt x="476" y="667"/>
                  <a:pt x="472" y="665"/>
                  <a:pt x="474" y="664"/>
                </a:cubicBezTo>
                <a:close/>
                <a:moveTo>
                  <a:pt x="476" y="687"/>
                </a:moveTo>
                <a:cubicBezTo>
                  <a:pt x="475" y="687"/>
                  <a:pt x="475" y="684"/>
                  <a:pt x="476" y="685"/>
                </a:cubicBezTo>
                <a:cubicBezTo>
                  <a:pt x="476" y="685"/>
                  <a:pt x="476" y="686"/>
                  <a:pt x="476" y="687"/>
                </a:cubicBezTo>
                <a:close/>
                <a:moveTo>
                  <a:pt x="476" y="673"/>
                </a:moveTo>
                <a:cubicBezTo>
                  <a:pt x="476" y="673"/>
                  <a:pt x="477" y="672"/>
                  <a:pt x="477" y="673"/>
                </a:cubicBezTo>
                <a:cubicBezTo>
                  <a:pt x="478" y="674"/>
                  <a:pt x="476" y="674"/>
                  <a:pt x="476" y="673"/>
                </a:cubicBezTo>
                <a:close/>
                <a:moveTo>
                  <a:pt x="481" y="671"/>
                </a:moveTo>
                <a:cubicBezTo>
                  <a:pt x="477" y="671"/>
                  <a:pt x="479" y="668"/>
                  <a:pt x="481" y="671"/>
                </a:cubicBezTo>
                <a:close/>
                <a:moveTo>
                  <a:pt x="482" y="658"/>
                </a:moveTo>
                <a:cubicBezTo>
                  <a:pt x="477" y="657"/>
                  <a:pt x="479" y="654"/>
                  <a:pt x="482" y="658"/>
                </a:cubicBezTo>
                <a:close/>
                <a:moveTo>
                  <a:pt x="480" y="668"/>
                </a:moveTo>
                <a:cubicBezTo>
                  <a:pt x="481" y="667"/>
                  <a:pt x="481" y="669"/>
                  <a:pt x="480" y="668"/>
                </a:cubicBezTo>
                <a:close/>
                <a:moveTo>
                  <a:pt x="487" y="691"/>
                </a:moveTo>
                <a:cubicBezTo>
                  <a:pt x="488" y="690"/>
                  <a:pt x="489" y="692"/>
                  <a:pt x="489" y="692"/>
                </a:cubicBezTo>
                <a:cubicBezTo>
                  <a:pt x="490" y="695"/>
                  <a:pt x="486" y="693"/>
                  <a:pt x="487" y="691"/>
                </a:cubicBezTo>
                <a:close/>
                <a:moveTo>
                  <a:pt x="493" y="686"/>
                </a:moveTo>
                <a:cubicBezTo>
                  <a:pt x="493" y="686"/>
                  <a:pt x="493" y="686"/>
                  <a:pt x="493" y="686"/>
                </a:cubicBezTo>
                <a:cubicBezTo>
                  <a:pt x="493" y="686"/>
                  <a:pt x="493" y="686"/>
                  <a:pt x="493" y="686"/>
                </a:cubicBezTo>
                <a:cubicBezTo>
                  <a:pt x="493" y="686"/>
                  <a:pt x="493" y="686"/>
                  <a:pt x="493" y="686"/>
                </a:cubicBezTo>
                <a:close/>
                <a:moveTo>
                  <a:pt x="495" y="682"/>
                </a:moveTo>
                <a:cubicBezTo>
                  <a:pt x="497" y="683"/>
                  <a:pt x="494" y="681"/>
                  <a:pt x="495" y="682"/>
                </a:cubicBezTo>
                <a:close/>
                <a:moveTo>
                  <a:pt x="497" y="681"/>
                </a:moveTo>
                <a:cubicBezTo>
                  <a:pt x="497" y="681"/>
                  <a:pt x="497" y="681"/>
                  <a:pt x="497" y="681"/>
                </a:cubicBezTo>
                <a:cubicBezTo>
                  <a:pt x="496" y="680"/>
                  <a:pt x="497" y="681"/>
                  <a:pt x="497" y="681"/>
                </a:cubicBezTo>
                <a:close/>
                <a:moveTo>
                  <a:pt x="496" y="673"/>
                </a:moveTo>
                <a:cubicBezTo>
                  <a:pt x="497" y="674"/>
                  <a:pt x="494" y="674"/>
                  <a:pt x="495" y="673"/>
                </a:cubicBezTo>
                <a:cubicBezTo>
                  <a:pt x="495" y="673"/>
                  <a:pt x="496" y="672"/>
                  <a:pt x="496" y="673"/>
                </a:cubicBezTo>
                <a:close/>
                <a:moveTo>
                  <a:pt x="494" y="670"/>
                </a:moveTo>
                <a:cubicBezTo>
                  <a:pt x="494" y="670"/>
                  <a:pt x="495" y="669"/>
                  <a:pt x="495" y="670"/>
                </a:cubicBezTo>
                <a:cubicBezTo>
                  <a:pt x="496" y="671"/>
                  <a:pt x="492" y="670"/>
                  <a:pt x="494" y="670"/>
                </a:cubicBezTo>
                <a:close/>
                <a:moveTo>
                  <a:pt x="492" y="681"/>
                </a:moveTo>
                <a:cubicBezTo>
                  <a:pt x="492" y="682"/>
                  <a:pt x="494" y="684"/>
                  <a:pt x="494" y="685"/>
                </a:cubicBezTo>
                <a:cubicBezTo>
                  <a:pt x="493" y="685"/>
                  <a:pt x="489" y="685"/>
                  <a:pt x="492" y="682"/>
                </a:cubicBezTo>
                <a:cubicBezTo>
                  <a:pt x="488" y="683"/>
                  <a:pt x="489" y="680"/>
                  <a:pt x="492" y="681"/>
                </a:cubicBezTo>
                <a:close/>
                <a:moveTo>
                  <a:pt x="488" y="684"/>
                </a:moveTo>
                <a:cubicBezTo>
                  <a:pt x="488" y="684"/>
                  <a:pt x="490" y="685"/>
                  <a:pt x="490" y="685"/>
                </a:cubicBezTo>
                <a:cubicBezTo>
                  <a:pt x="491" y="687"/>
                  <a:pt x="486" y="686"/>
                  <a:pt x="488" y="684"/>
                </a:cubicBezTo>
                <a:close/>
                <a:moveTo>
                  <a:pt x="485" y="687"/>
                </a:moveTo>
                <a:cubicBezTo>
                  <a:pt x="485" y="686"/>
                  <a:pt x="486" y="685"/>
                  <a:pt x="487" y="687"/>
                </a:cubicBezTo>
                <a:cubicBezTo>
                  <a:pt x="489" y="688"/>
                  <a:pt x="485" y="688"/>
                  <a:pt x="485" y="687"/>
                </a:cubicBezTo>
                <a:close/>
                <a:moveTo>
                  <a:pt x="485" y="684"/>
                </a:moveTo>
                <a:cubicBezTo>
                  <a:pt x="485" y="683"/>
                  <a:pt x="486" y="683"/>
                  <a:pt x="486" y="683"/>
                </a:cubicBezTo>
                <a:cubicBezTo>
                  <a:pt x="487" y="685"/>
                  <a:pt x="485" y="684"/>
                  <a:pt x="485" y="684"/>
                </a:cubicBezTo>
                <a:close/>
                <a:moveTo>
                  <a:pt x="485" y="683"/>
                </a:moveTo>
                <a:cubicBezTo>
                  <a:pt x="480" y="684"/>
                  <a:pt x="485" y="678"/>
                  <a:pt x="487" y="680"/>
                </a:cubicBezTo>
                <a:cubicBezTo>
                  <a:pt x="487" y="680"/>
                  <a:pt x="485" y="683"/>
                  <a:pt x="485" y="683"/>
                </a:cubicBezTo>
                <a:close/>
                <a:moveTo>
                  <a:pt x="484" y="665"/>
                </a:moveTo>
                <a:cubicBezTo>
                  <a:pt x="484" y="665"/>
                  <a:pt x="485" y="666"/>
                  <a:pt x="485" y="666"/>
                </a:cubicBezTo>
                <a:cubicBezTo>
                  <a:pt x="486" y="667"/>
                  <a:pt x="483" y="666"/>
                  <a:pt x="484" y="665"/>
                </a:cubicBezTo>
                <a:close/>
                <a:moveTo>
                  <a:pt x="486" y="676"/>
                </a:moveTo>
                <a:cubicBezTo>
                  <a:pt x="485" y="676"/>
                  <a:pt x="483" y="672"/>
                  <a:pt x="481" y="672"/>
                </a:cubicBezTo>
                <a:cubicBezTo>
                  <a:pt x="484" y="671"/>
                  <a:pt x="487" y="675"/>
                  <a:pt x="486" y="676"/>
                </a:cubicBezTo>
                <a:close/>
                <a:moveTo>
                  <a:pt x="484" y="651"/>
                </a:moveTo>
                <a:cubicBezTo>
                  <a:pt x="482" y="653"/>
                  <a:pt x="480" y="649"/>
                  <a:pt x="479" y="648"/>
                </a:cubicBezTo>
                <a:cubicBezTo>
                  <a:pt x="480" y="648"/>
                  <a:pt x="485" y="650"/>
                  <a:pt x="484" y="651"/>
                </a:cubicBezTo>
                <a:close/>
                <a:moveTo>
                  <a:pt x="482" y="644"/>
                </a:moveTo>
                <a:cubicBezTo>
                  <a:pt x="484" y="644"/>
                  <a:pt x="483" y="646"/>
                  <a:pt x="482" y="644"/>
                </a:cubicBezTo>
                <a:close/>
                <a:moveTo>
                  <a:pt x="482" y="639"/>
                </a:moveTo>
                <a:cubicBezTo>
                  <a:pt x="483" y="642"/>
                  <a:pt x="477" y="641"/>
                  <a:pt x="478" y="639"/>
                </a:cubicBezTo>
                <a:cubicBezTo>
                  <a:pt x="479" y="637"/>
                  <a:pt x="482" y="638"/>
                  <a:pt x="482" y="639"/>
                </a:cubicBezTo>
                <a:close/>
                <a:moveTo>
                  <a:pt x="481" y="637"/>
                </a:moveTo>
                <a:cubicBezTo>
                  <a:pt x="480" y="636"/>
                  <a:pt x="481" y="635"/>
                  <a:pt x="481" y="637"/>
                </a:cubicBezTo>
                <a:close/>
                <a:moveTo>
                  <a:pt x="482" y="621"/>
                </a:moveTo>
                <a:cubicBezTo>
                  <a:pt x="481" y="622"/>
                  <a:pt x="481" y="621"/>
                  <a:pt x="480" y="621"/>
                </a:cubicBezTo>
                <a:cubicBezTo>
                  <a:pt x="481" y="620"/>
                  <a:pt x="481" y="621"/>
                  <a:pt x="482" y="621"/>
                </a:cubicBezTo>
                <a:close/>
                <a:moveTo>
                  <a:pt x="480" y="622"/>
                </a:moveTo>
                <a:cubicBezTo>
                  <a:pt x="481" y="622"/>
                  <a:pt x="480" y="623"/>
                  <a:pt x="479" y="622"/>
                </a:cubicBezTo>
                <a:cubicBezTo>
                  <a:pt x="479" y="622"/>
                  <a:pt x="480" y="621"/>
                  <a:pt x="480" y="622"/>
                </a:cubicBezTo>
                <a:close/>
                <a:moveTo>
                  <a:pt x="479" y="615"/>
                </a:moveTo>
                <a:cubicBezTo>
                  <a:pt x="480" y="616"/>
                  <a:pt x="477" y="615"/>
                  <a:pt x="477" y="615"/>
                </a:cubicBezTo>
                <a:cubicBezTo>
                  <a:pt x="477" y="614"/>
                  <a:pt x="479" y="614"/>
                  <a:pt x="479" y="615"/>
                </a:cubicBezTo>
                <a:close/>
                <a:moveTo>
                  <a:pt x="477" y="640"/>
                </a:moveTo>
                <a:cubicBezTo>
                  <a:pt x="478" y="641"/>
                  <a:pt x="476" y="638"/>
                  <a:pt x="477" y="640"/>
                </a:cubicBezTo>
                <a:close/>
                <a:moveTo>
                  <a:pt x="477" y="654"/>
                </a:moveTo>
                <a:cubicBezTo>
                  <a:pt x="478" y="655"/>
                  <a:pt x="476" y="654"/>
                  <a:pt x="476" y="654"/>
                </a:cubicBezTo>
                <a:cubicBezTo>
                  <a:pt x="475" y="653"/>
                  <a:pt x="477" y="654"/>
                  <a:pt x="477" y="654"/>
                </a:cubicBezTo>
                <a:close/>
                <a:moveTo>
                  <a:pt x="476" y="611"/>
                </a:moveTo>
                <a:cubicBezTo>
                  <a:pt x="477" y="612"/>
                  <a:pt x="475" y="609"/>
                  <a:pt x="476" y="611"/>
                </a:cubicBezTo>
                <a:close/>
                <a:moveTo>
                  <a:pt x="476" y="642"/>
                </a:moveTo>
                <a:cubicBezTo>
                  <a:pt x="475" y="643"/>
                  <a:pt x="475" y="640"/>
                  <a:pt x="476" y="642"/>
                </a:cubicBezTo>
                <a:close/>
                <a:moveTo>
                  <a:pt x="474" y="617"/>
                </a:moveTo>
                <a:cubicBezTo>
                  <a:pt x="475" y="617"/>
                  <a:pt x="474" y="618"/>
                  <a:pt x="473" y="617"/>
                </a:cubicBezTo>
                <a:cubicBezTo>
                  <a:pt x="473" y="617"/>
                  <a:pt x="474" y="616"/>
                  <a:pt x="474" y="617"/>
                </a:cubicBezTo>
                <a:close/>
                <a:moveTo>
                  <a:pt x="476" y="646"/>
                </a:moveTo>
                <a:cubicBezTo>
                  <a:pt x="475" y="645"/>
                  <a:pt x="474" y="644"/>
                  <a:pt x="473" y="644"/>
                </a:cubicBezTo>
                <a:cubicBezTo>
                  <a:pt x="474" y="644"/>
                  <a:pt x="476" y="645"/>
                  <a:pt x="476" y="646"/>
                </a:cubicBezTo>
                <a:close/>
                <a:moveTo>
                  <a:pt x="475" y="654"/>
                </a:moveTo>
                <a:cubicBezTo>
                  <a:pt x="475" y="654"/>
                  <a:pt x="474" y="657"/>
                  <a:pt x="473" y="656"/>
                </a:cubicBezTo>
                <a:cubicBezTo>
                  <a:pt x="471" y="655"/>
                  <a:pt x="474" y="651"/>
                  <a:pt x="475" y="654"/>
                </a:cubicBezTo>
                <a:close/>
                <a:moveTo>
                  <a:pt x="474" y="661"/>
                </a:moveTo>
                <a:cubicBezTo>
                  <a:pt x="476" y="667"/>
                  <a:pt x="462" y="660"/>
                  <a:pt x="467" y="656"/>
                </a:cubicBezTo>
                <a:cubicBezTo>
                  <a:pt x="466" y="657"/>
                  <a:pt x="470" y="657"/>
                  <a:pt x="469" y="657"/>
                </a:cubicBezTo>
                <a:cubicBezTo>
                  <a:pt x="470" y="657"/>
                  <a:pt x="474" y="660"/>
                  <a:pt x="474" y="661"/>
                </a:cubicBezTo>
                <a:close/>
                <a:moveTo>
                  <a:pt x="468" y="591"/>
                </a:moveTo>
                <a:cubicBezTo>
                  <a:pt x="466" y="590"/>
                  <a:pt x="467" y="589"/>
                  <a:pt x="466" y="588"/>
                </a:cubicBezTo>
                <a:cubicBezTo>
                  <a:pt x="466" y="587"/>
                  <a:pt x="465" y="586"/>
                  <a:pt x="465" y="585"/>
                </a:cubicBezTo>
                <a:cubicBezTo>
                  <a:pt x="466" y="581"/>
                  <a:pt x="472" y="585"/>
                  <a:pt x="471" y="589"/>
                </a:cubicBezTo>
                <a:cubicBezTo>
                  <a:pt x="471" y="590"/>
                  <a:pt x="470" y="593"/>
                  <a:pt x="468" y="591"/>
                </a:cubicBezTo>
                <a:close/>
                <a:moveTo>
                  <a:pt x="466" y="483"/>
                </a:moveTo>
                <a:cubicBezTo>
                  <a:pt x="468" y="484"/>
                  <a:pt x="467" y="485"/>
                  <a:pt x="469" y="486"/>
                </a:cubicBezTo>
                <a:cubicBezTo>
                  <a:pt x="468" y="486"/>
                  <a:pt x="466" y="485"/>
                  <a:pt x="466" y="483"/>
                </a:cubicBezTo>
                <a:close/>
                <a:moveTo>
                  <a:pt x="475" y="566"/>
                </a:moveTo>
                <a:cubicBezTo>
                  <a:pt x="476" y="565"/>
                  <a:pt x="478" y="567"/>
                  <a:pt x="478" y="567"/>
                </a:cubicBezTo>
                <a:cubicBezTo>
                  <a:pt x="479" y="569"/>
                  <a:pt x="474" y="567"/>
                  <a:pt x="475" y="566"/>
                </a:cubicBezTo>
                <a:close/>
                <a:moveTo>
                  <a:pt x="477" y="592"/>
                </a:moveTo>
                <a:cubicBezTo>
                  <a:pt x="477" y="592"/>
                  <a:pt x="476" y="591"/>
                  <a:pt x="477" y="592"/>
                </a:cubicBezTo>
                <a:cubicBezTo>
                  <a:pt x="477" y="593"/>
                  <a:pt x="477" y="592"/>
                  <a:pt x="477" y="592"/>
                </a:cubicBezTo>
                <a:close/>
                <a:moveTo>
                  <a:pt x="477" y="587"/>
                </a:moveTo>
                <a:cubicBezTo>
                  <a:pt x="478" y="586"/>
                  <a:pt x="479" y="588"/>
                  <a:pt x="480" y="588"/>
                </a:cubicBezTo>
                <a:cubicBezTo>
                  <a:pt x="480" y="591"/>
                  <a:pt x="475" y="588"/>
                  <a:pt x="477" y="587"/>
                </a:cubicBezTo>
                <a:close/>
                <a:moveTo>
                  <a:pt x="479" y="454"/>
                </a:moveTo>
                <a:cubicBezTo>
                  <a:pt x="478" y="453"/>
                  <a:pt x="480" y="456"/>
                  <a:pt x="479" y="454"/>
                </a:cubicBezTo>
                <a:close/>
                <a:moveTo>
                  <a:pt x="496" y="587"/>
                </a:moveTo>
                <a:cubicBezTo>
                  <a:pt x="497" y="588"/>
                  <a:pt x="495" y="587"/>
                  <a:pt x="495" y="586"/>
                </a:cubicBezTo>
                <a:cubicBezTo>
                  <a:pt x="496" y="586"/>
                  <a:pt x="496" y="586"/>
                  <a:pt x="496" y="587"/>
                </a:cubicBezTo>
                <a:close/>
                <a:moveTo>
                  <a:pt x="496" y="580"/>
                </a:moveTo>
                <a:cubicBezTo>
                  <a:pt x="495" y="578"/>
                  <a:pt x="496" y="582"/>
                  <a:pt x="496" y="580"/>
                </a:cubicBezTo>
                <a:close/>
                <a:moveTo>
                  <a:pt x="496" y="559"/>
                </a:moveTo>
                <a:cubicBezTo>
                  <a:pt x="496" y="559"/>
                  <a:pt x="496" y="559"/>
                  <a:pt x="496" y="560"/>
                </a:cubicBezTo>
                <a:cubicBezTo>
                  <a:pt x="497" y="561"/>
                  <a:pt x="496" y="560"/>
                  <a:pt x="496" y="559"/>
                </a:cubicBezTo>
                <a:close/>
                <a:moveTo>
                  <a:pt x="496" y="596"/>
                </a:moveTo>
                <a:cubicBezTo>
                  <a:pt x="495" y="595"/>
                  <a:pt x="497" y="597"/>
                  <a:pt x="496" y="596"/>
                </a:cubicBezTo>
                <a:close/>
                <a:moveTo>
                  <a:pt x="496" y="590"/>
                </a:moveTo>
                <a:cubicBezTo>
                  <a:pt x="497" y="589"/>
                  <a:pt x="498" y="592"/>
                  <a:pt x="496" y="592"/>
                </a:cubicBezTo>
                <a:cubicBezTo>
                  <a:pt x="495" y="593"/>
                  <a:pt x="495" y="591"/>
                  <a:pt x="496" y="590"/>
                </a:cubicBezTo>
                <a:close/>
                <a:moveTo>
                  <a:pt x="499" y="609"/>
                </a:moveTo>
                <a:cubicBezTo>
                  <a:pt x="502" y="612"/>
                  <a:pt x="502" y="609"/>
                  <a:pt x="504" y="609"/>
                </a:cubicBezTo>
                <a:cubicBezTo>
                  <a:pt x="504" y="609"/>
                  <a:pt x="506" y="610"/>
                  <a:pt x="506" y="611"/>
                </a:cubicBezTo>
                <a:cubicBezTo>
                  <a:pt x="508" y="615"/>
                  <a:pt x="499" y="614"/>
                  <a:pt x="499" y="609"/>
                </a:cubicBezTo>
                <a:close/>
                <a:moveTo>
                  <a:pt x="505" y="598"/>
                </a:moveTo>
                <a:cubicBezTo>
                  <a:pt x="505" y="600"/>
                  <a:pt x="503" y="601"/>
                  <a:pt x="501" y="601"/>
                </a:cubicBezTo>
                <a:cubicBezTo>
                  <a:pt x="498" y="601"/>
                  <a:pt x="497" y="598"/>
                  <a:pt x="497" y="595"/>
                </a:cubicBezTo>
                <a:cubicBezTo>
                  <a:pt x="497" y="595"/>
                  <a:pt x="497" y="594"/>
                  <a:pt x="496" y="594"/>
                </a:cubicBezTo>
                <a:cubicBezTo>
                  <a:pt x="497" y="593"/>
                  <a:pt x="500" y="593"/>
                  <a:pt x="500" y="593"/>
                </a:cubicBezTo>
                <a:cubicBezTo>
                  <a:pt x="501" y="591"/>
                  <a:pt x="496" y="591"/>
                  <a:pt x="497" y="589"/>
                </a:cubicBezTo>
                <a:cubicBezTo>
                  <a:pt x="498" y="587"/>
                  <a:pt x="500" y="590"/>
                  <a:pt x="500" y="591"/>
                </a:cubicBezTo>
                <a:cubicBezTo>
                  <a:pt x="502" y="592"/>
                  <a:pt x="503" y="590"/>
                  <a:pt x="503" y="593"/>
                </a:cubicBezTo>
                <a:cubicBezTo>
                  <a:pt x="503" y="594"/>
                  <a:pt x="506" y="597"/>
                  <a:pt x="506" y="597"/>
                </a:cubicBezTo>
                <a:cubicBezTo>
                  <a:pt x="507" y="597"/>
                  <a:pt x="507" y="595"/>
                  <a:pt x="508" y="597"/>
                </a:cubicBezTo>
                <a:cubicBezTo>
                  <a:pt x="508" y="596"/>
                  <a:pt x="507" y="600"/>
                  <a:pt x="508" y="600"/>
                </a:cubicBezTo>
                <a:cubicBezTo>
                  <a:pt x="507" y="600"/>
                  <a:pt x="506" y="600"/>
                  <a:pt x="505" y="598"/>
                </a:cubicBezTo>
                <a:close/>
                <a:moveTo>
                  <a:pt x="499" y="528"/>
                </a:moveTo>
                <a:cubicBezTo>
                  <a:pt x="500" y="528"/>
                  <a:pt x="500" y="529"/>
                  <a:pt x="501" y="529"/>
                </a:cubicBezTo>
                <a:cubicBezTo>
                  <a:pt x="502" y="530"/>
                  <a:pt x="498" y="529"/>
                  <a:pt x="499" y="528"/>
                </a:cubicBezTo>
                <a:close/>
                <a:moveTo>
                  <a:pt x="501" y="521"/>
                </a:moveTo>
                <a:cubicBezTo>
                  <a:pt x="502" y="520"/>
                  <a:pt x="502" y="522"/>
                  <a:pt x="502" y="522"/>
                </a:cubicBezTo>
                <a:cubicBezTo>
                  <a:pt x="502" y="523"/>
                  <a:pt x="500" y="521"/>
                  <a:pt x="501" y="521"/>
                </a:cubicBezTo>
                <a:close/>
                <a:moveTo>
                  <a:pt x="509" y="616"/>
                </a:moveTo>
                <a:cubicBezTo>
                  <a:pt x="508" y="616"/>
                  <a:pt x="507" y="614"/>
                  <a:pt x="508" y="614"/>
                </a:cubicBezTo>
                <a:cubicBezTo>
                  <a:pt x="510" y="614"/>
                  <a:pt x="510" y="616"/>
                  <a:pt x="509" y="616"/>
                </a:cubicBezTo>
                <a:close/>
                <a:moveTo>
                  <a:pt x="510" y="615"/>
                </a:moveTo>
                <a:cubicBezTo>
                  <a:pt x="510" y="615"/>
                  <a:pt x="511" y="615"/>
                  <a:pt x="511" y="616"/>
                </a:cubicBezTo>
                <a:cubicBezTo>
                  <a:pt x="512" y="617"/>
                  <a:pt x="510" y="616"/>
                  <a:pt x="510" y="615"/>
                </a:cubicBezTo>
                <a:close/>
                <a:moveTo>
                  <a:pt x="515" y="611"/>
                </a:moveTo>
                <a:cubicBezTo>
                  <a:pt x="514" y="610"/>
                  <a:pt x="516" y="610"/>
                  <a:pt x="515" y="611"/>
                </a:cubicBezTo>
                <a:close/>
                <a:moveTo>
                  <a:pt x="518" y="606"/>
                </a:moveTo>
                <a:cubicBezTo>
                  <a:pt x="517" y="604"/>
                  <a:pt x="519" y="603"/>
                  <a:pt x="518" y="606"/>
                </a:cubicBezTo>
                <a:close/>
                <a:moveTo>
                  <a:pt x="518" y="567"/>
                </a:moveTo>
                <a:cubicBezTo>
                  <a:pt x="517" y="568"/>
                  <a:pt x="518" y="565"/>
                  <a:pt x="518" y="567"/>
                </a:cubicBezTo>
                <a:close/>
                <a:moveTo>
                  <a:pt x="520" y="607"/>
                </a:moveTo>
                <a:cubicBezTo>
                  <a:pt x="519" y="607"/>
                  <a:pt x="520" y="607"/>
                  <a:pt x="520" y="607"/>
                </a:cubicBezTo>
                <a:close/>
                <a:moveTo>
                  <a:pt x="520" y="607"/>
                </a:moveTo>
                <a:cubicBezTo>
                  <a:pt x="520" y="608"/>
                  <a:pt x="520" y="608"/>
                  <a:pt x="520" y="608"/>
                </a:cubicBezTo>
                <a:cubicBezTo>
                  <a:pt x="520" y="608"/>
                  <a:pt x="520" y="608"/>
                  <a:pt x="520" y="608"/>
                </a:cubicBezTo>
                <a:cubicBezTo>
                  <a:pt x="520" y="608"/>
                  <a:pt x="520" y="608"/>
                  <a:pt x="520" y="607"/>
                </a:cubicBezTo>
                <a:close/>
                <a:moveTo>
                  <a:pt x="520" y="587"/>
                </a:moveTo>
                <a:cubicBezTo>
                  <a:pt x="520" y="587"/>
                  <a:pt x="521" y="588"/>
                  <a:pt x="521" y="588"/>
                </a:cubicBezTo>
                <a:cubicBezTo>
                  <a:pt x="522" y="589"/>
                  <a:pt x="519" y="588"/>
                  <a:pt x="520" y="587"/>
                </a:cubicBezTo>
                <a:close/>
                <a:moveTo>
                  <a:pt x="524" y="590"/>
                </a:moveTo>
                <a:cubicBezTo>
                  <a:pt x="523" y="591"/>
                  <a:pt x="524" y="588"/>
                  <a:pt x="524" y="590"/>
                </a:cubicBezTo>
                <a:close/>
                <a:moveTo>
                  <a:pt x="525" y="609"/>
                </a:moveTo>
                <a:cubicBezTo>
                  <a:pt x="528" y="610"/>
                  <a:pt x="527" y="613"/>
                  <a:pt x="529" y="615"/>
                </a:cubicBezTo>
                <a:cubicBezTo>
                  <a:pt x="527" y="614"/>
                  <a:pt x="526" y="611"/>
                  <a:pt x="525" y="609"/>
                </a:cubicBezTo>
                <a:close/>
                <a:moveTo>
                  <a:pt x="525" y="580"/>
                </a:moveTo>
                <a:cubicBezTo>
                  <a:pt x="525" y="582"/>
                  <a:pt x="522" y="580"/>
                  <a:pt x="523" y="579"/>
                </a:cubicBezTo>
                <a:cubicBezTo>
                  <a:pt x="524" y="578"/>
                  <a:pt x="525" y="579"/>
                  <a:pt x="525" y="580"/>
                </a:cubicBezTo>
                <a:close/>
                <a:moveTo>
                  <a:pt x="524" y="565"/>
                </a:moveTo>
                <a:cubicBezTo>
                  <a:pt x="524" y="564"/>
                  <a:pt x="525" y="566"/>
                  <a:pt x="525" y="566"/>
                </a:cubicBezTo>
                <a:cubicBezTo>
                  <a:pt x="525" y="568"/>
                  <a:pt x="523" y="566"/>
                  <a:pt x="524" y="565"/>
                </a:cubicBezTo>
                <a:close/>
                <a:moveTo>
                  <a:pt x="524" y="549"/>
                </a:moveTo>
                <a:cubicBezTo>
                  <a:pt x="525" y="547"/>
                  <a:pt x="529" y="549"/>
                  <a:pt x="529" y="551"/>
                </a:cubicBezTo>
                <a:cubicBezTo>
                  <a:pt x="530" y="557"/>
                  <a:pt x="524" y="550"/>
                  <a:pt x="524" y="549"/>
                </a:cubicBezTo>
                <a:close/>
                <a:moveTo>
                  <a:pt x="525" y="541"/>
                </a:moveTo>
                <a:cubicBezTo>
                  <a:pt x="523" y="541"/>
                  <a:pt x="525" y="539"/>
                  <a:pt x="525" y="541"/>
                </a:cubicBezTo>
                <a:close/>
                <a:moveTo>
                  <a:pt x="526" y="576"/>
                </a:moveTo>
                <a:cubicBezTo>
                  <a:pt x="526" y="576"/>
                  <a:pt x="526" y="576"/>
                  <a:pt x="526" y="576"/>
                </a:cubicBezTo>
                <a:cubicBezTo>
                  <a:pt x="526" y="574"/>
                  <a:pt x="526" y="576"/>
                  <a:pt x="526" y="576"/>
                </a:cubicBezTo>
                <a:close/>
                <a:moveTo>
                  <a:pt x="530" y="596"/>
                </a:moveTo>
                <a:cubicBezTo>
                  <a:pt x="530" y="596"/>
                  <a:pt x="530" y="597"/>
                  <a:pt x="531" y="597"/>
                </a:cubicBezTo>
                <a:cubicBezTo>
                  <a:pt x="531" y="599"/>
                  <a:pt x="528" y="596"/>
                  <a:pt x="530" y="596"/>
                </a:cubicBezTo>
                <a:close/>
                <a:moveTo>
                  <a:pt x="527" y="595"/>
                </a:moveTo>
                <a:cubicBezTo>
                  <a:pt x="526" y="594"/>
                  <a:pt x="528" y="590"/>
                  <a:pt x="530" y="591"/>
                </a:cubicBezTo>
                <a:cubicBezTo>
                  <a:pt x="532" y="592"/>
                  <a:pt x="531" y="598"/>
                  <a:pt x="527" y="595"/>
                </a:cubicBezTo>
                <a:close/>
                <a:moveTo>
                  <a:pt x="533" y="617"/>
                </a:moveTo>
                <a:cubicBezTo>
                  <a:pt x="533" y="618"/>
                  <a:pt x="532" y="616"/>
                  <a:pt x="533" y="617"/>
                </a:cubicBezTo>
                <a:close/>
                <a:moveTo>
                  <a:pt x="533" y="600"/>
                </a:moveTo>
                <a:cubicBezTo>
                  <a:pt x="534" y="601"/>
                  <a:pt x="531" y="600"/>
                  <a:pt x="532" y="599"/>
                </a:cubicBezTo>
                <a:cubicBezTo>
                  <a:pt x="532" y="598"/>
                  <a:pt x="533" y="599"/>
                  <a:pt x="533" y="600"/>
                </a:cubicBezTo>
                <a:close/>
                <a:moveTo>
                  <a:pt x="531" y="579"/>
                </a:moveTo>
                <a:cubicBezTo>
                  <a:pt x="530" y="577"/>
                  <a:pt x="529" y="575"/>
                  <a:pt x="529" y="572"/>
                </a:cubicBezTo>
                <a:cubicBezTo>
                  <a:pt x="530" y="574"/>
                  <a:pt x="531" y="576"/>
                  <a:pt x="531" y="579"/>
                </a:cubicBezTo>
                <a:close/>
                <a:moveTo>
                  <a:pt x="532" y="541"/>
                </a:moveTo>
                <a:cubicBezTo>
                  <a:pt x="533" y="541"/>
                  <a:pt x="530" y="540"/>
                  <a:pt x="532" y="541"/>
                </a:cubicBezTo>
                <a:close/>
                <a:moveTo>
                  <a:pt x="531" y="502"/>
                </a:moveTo>
                <a:cubicBezTo>
                  <a:pt x="529" y="501"/>
                  <a:pt x="529" y="499"/>
                  <a:pt x="529" y="498"/>
                </a:cubicBezTo>
                <a:cubicBezTo>
                  <a:pt x="530" y="499"/>
                  <a:pt x="530" y="500"/>
                  <a:pt x="531" y="502"/>
                </a:cubicBezTo>
                <a:close/>
                <a:moveTo>
                  <a:pt x="526" y="400"/>
                </a:moveTo>
                <a:cubicBezTo>
                  <a:pt x="528" y="399"/>
                  <a:pt x="530" y="401"/>
                  <a:pt x="529" y="402"/>
                </a:cubicBezTo>
                <a:cubicBezTo>
                  <a:pt x="529" y="406"/>
                  <a:pt x="525" y="401"/>
                  <a:pt x="526" y="400"/>
                </a:cubicBezTo>
                <a:close/>
                <a:moveTo>
                  <a:pt x="529" y="495"/>
                </a:moveTo>
                <a:cubicBezTo>
                  <a:pt x="528" y="491"/>
                  <a:pt x="529" y="498"/>
                  <a:pt x="529" y="495"/>
                </a:cubicBezTo>
                <a:close/>
                <a:moveTo>
                  <a:pt x="528" y="472"/>
                </a:moveTo>
                <a:cubicBezTo>
                  <a:pt x="528" y="473"/>
                  <a:pt x="528" y="472"/>
                  <a:pt x="528" y="473"/>
                </a:cubicBezTo>
                <a:cubicBezTo>
                  <a:pt x="529" y="474"/>
                  <a:pt x="526" y="471"/>
                  <a:pt x="528" y="472"/>
                </a:cubicBezTo>
                <a:close/>
                <a:moveTo>
                  <a:pt x="527" y="451"/>
                </a:moveTo>
                <a:cubicBezTo>
                  <a:pt x="527" y="452"/>
                  <a:pt x="527" y="453"/>
                  <a:pt x="527" y="454"/>
                </a:cubicBezTo>
                <a:cubicBezTo>
                  <a:pt x="527" y="452"/>
                  <a:pt x="527" y="452"/>
                  <a:pt x="527" y="451"/>
                </a:cubicBezTo>
                <a:close/>
                <a:moveTo>
                  <a:pt x="526" y="427"/>
                </a:moveTo>
                <a:cubicBezTo>
                  <a:pt x="525" y="428"/>
                  <a:pt x="526" y="425"/>
                  <a:pt x="526" y="427"/>
                </a:cubicBezTo>
                <a:close/>
                <a:moveTo>
                  <a:pt x="525" y="423"/>
                </a:moveTo>
                <a:cubicBezTo>
                  <a:pt x="525" y="424"/>
                  <a:pt x="526" y="425"/>
                  <a:pt x="525" y="426"/>
                </a:cubicBezTo>
                <a:cubicBezTo>
                  <a:pt x="525" y="425"/>
                  <a:pt x="524" y="424"/>
                  <a:pt x="525" y="423"/>
                </a:cubicBezTo>
                <a:close/>
                <a:moveTo>
                  <a:pt x="523" y="458"/>
                </a:moveTo>
                <a:cubicBezTo>
                  <a:pt x="523" y="458"/>
                  <a:pt x="523" y="458"/>
                  <a:pt x="523" y="458"/>
                </a:cubicBezTo>
                <a:cubicBezTo>
                  <a:pt x="523" y="458"/>
                  <a:pt x="523" y="458"/>
                  <a:pt x="523" y="458"/>
                </a:cubicBezTo>
                <a:cubicBezTo>
                  <a:pt x="523" y="458"/>
                  <a:pt x="523" y="458"/>
                  <a:pt x="523" y="458"/>
                </a:cubicBezTo>
                <a:close/>
                <a:moveTo>
                  <a:pt x="530" y="536"/>
                </a:moveTo>
                <a:cubicBezTo>
                  <a:pt x="527" y="532"/>
                  <a:pt x="525" y="528"/>
                  <a:pt x="523" y="523"/>
                </a:cubicBezTo>
                <a:cubicBezTo>
                  <a:pt x="526" y="527"/>
                  <a:pt x="529" y="531"/>
                  <a:pt x="530" y="536"/>
                </a:cubicBezTo>
                <a:close/>
                <a:moveTo>
                  <a:pt x="525" y="586"/>
                </a:moveTo>
                <a:cubicBezTo>
                  <a:pt x="525" y="586"/>
                  <a:pt x="525" y="587"/>
                  <a:pt x="524" y="587"/>
                </a:cubicBezTo>
                <a:cubicBezTo>
                  <a:pt x="520" y="589"/>
                  <a:pt x="523" y="581"/>
                  <a:pt x="525" y="586"/>
                </a:cubicBezTo>
                <a:close/>
                <a:moveTo>
                  <a:pt x="521" y="487"/>
                </a:moveTo>
                <a:cubicBezTo>
                  <a:pt x="522" y="487"/>
                  <a:pt x="522" y="487"/>
                  <a:pt x="522" y="487"/>
                </a:cubicBezTo>
                <a:cubicBezTo>
                  <a:pt x="523" y="489"/>
                  <a:pt x="520" y="487"/>
                  <a:pt x="521" y="487"/>
                </a:cubicBezTo>
                <a:close/>
                <a:moveTo>
                  <a:pt x="520" y="406"/>
                </a:moveTo>
                <a:cubicBezTo>
                  <a:pt x="519" y="407"/>
                  <a:pt x="519" y="405"/>
                  <a:pt x="519" y="404"/>
                </a:cubicBezTo>
                <a:cubicBezTo>
                  <a:pt x="520" y="404"/>
                  <a:pt x="520" y="406"/>
                  <a:pt x="520" y="406"/>
                </a:cubicBezTo>
                <a:close/>
                <a:moveTo>
                  <a:pt x="518" y="118"/>
                </a:moveTo>
                <a:cubicBezTo>
                  <a:pt x="516" y="117"/>
                  <a:pt x="520" y="119"/>
                  <a:pt x="518" y="118"/>
                </a:cubicBezTo>
                <a:close/>
                <a:moveTo>
                  <a:pt x="520" y="517"/>
                </a:moveTo>
                <a:cubicBezTo>
                  <a:pt x="520" y="517"/>
                  <a:pt x="523" y="522"/>
                  <a:pt x="521" y="521"/>
                </a:cubicBezTo>
                <a:cubicBezTo>
                  <a:pt x="519" y="520"/>
                  <a:pt x="518" y="514"/>
                  <a:pt x="517" y="511"/>
                </a:cubicBezTo>
                <a:cubicBezTo>
                  <a:pt x="518" y="512"/>
                  <a:pt x="519" y="515"/>
                  <a:pt x="520" y="517"/>
                </a:cubicBezTo>
                <a:close/>
                <a:moveTo>
                  <a:pt x="517" y="510"/>
                </a:moveTo>
                <a:cubicBezTo>
                  <a:pt x="516" y="508"/>
                  <a:pt x="515" y="507"/>
                  <a:pt x="515" y="506"/>
                </a:cubicBezTo>
                <a:cubicBezTo>
                  <a:pt x="516" y="506"/>
                  <a:pt x="517" y="508"/>
                  <a:pt x="517" y="510"/>
                </a:cubicBezTo>
                <a:close/>
                <a:moveTo>
                  <a:pt x="517" y="585"/>
                </a:moveTo>
                <a:cubicBezTo>
                  <a:pt x="516" y="585"/>
                  <a:pt x="516" y="584"/>
                  <a:pt x="516" y="584"/>
                </a:cubicBezTo>
                <a:cubicBezTo>
                  <a:pt x="517" y="584"/>
                  <a:pt x="517" y="585"/>
                  <a:pt x="517" y="585"/>
                </a:cubicBezTo>
                <a:close/>
                <a:moveTo>
                  <a:pt x="513" y="496"/>
                </a:moveTo>
                <a:cubicBezTo>
                  <a:pt x="514" y="498"/>
                  <a:pt x="515" y="500"/>
                  <a:pt x="516" y="502"/>
                </a:cubicBezTo>
                <a:cubicBezTo>
                  <a:pt x="516" y="502"/>
                  <a:pt x="513" y="498"/>
                  <a:pt x="513" y="496"/>
                </a:cubicBezTo>
                <a:close/>
                <a:moveTo>
                  <a:pt x="513" y="532"/>
                </a:moveTo>
                <a:cubicBezTo>
                  <a:pt x="513" y="532"/>
                  <a:pt x="513" y="531"/>
                  <a:pt x="513" y="532"/>
                </a:cubicBezTo>
                <a:cubicBezTo>
                  <a:pt x="513" y="532"/>
                  <a:pt x="513" y="532"/>
                  <a:pt x="513" y="532"/>
                </a:cubicBezTo>
                <a:close/>
                <a:moveTo>
                  <a:pt x="514" y="115"/>
                </a:moveTo>
                <a:cubicBezTo>
                  <a:pt x="514" y="116"/>
                  <a:pt x="512" y="115"/>
                  <a:pt x="512" y="114"/>
                </a:cubicBezTo>
                <a:cubicBezTo>
                  <a:pt x="513" y="114"/>
                  <a:pt x="513" y="115"/>
                  <a:pt x="514" y="115"/>
                </a:cubicBezTo>
                <a:close/>
                <a:moveTo>
                  <a:pt x="513" y="495"/>
                </a:moveTo>
                <a:cubicBezTo>
                  <a:pt x="513" y="496"/>
                  <a:pt x="512" y="493"/>
                  <a:pt x="513" y="495"/>
                </a:cubicBezTo>
                <a:close/>
                <a:moveTo>
                  <a:pt x="515" y="592"/>
                </a:moveTo>
                <a:cubicBezTo>
                  <a:pt x="516" y="594"/>
                  <a:pt x="518" y="595"/>
                  <a:pt x="518" y="598"/>
                </a:cubicBezTo>
                <a:cubicBezTo>
                  <a:pt x="514" y="592"/>
                  <a:pt x="511" y="585"/>
                  <a:pt x="507" y="580"/>
                </a:cubicBezTo>
                <a:cubicBezTo>
                  <a:pt x="504" y="575"/>
                  <a:pt x="511" y="583"/>
                  <a:pt x="512" y="584"/>
                </a:cubicBezTo>
                <a:cubicBezTo>
                  <a:pt x="513" y="586"/>
                  <a:pt x="514" y="590"/>
                  <a:pt x="515" y="592"/>
                </a:cubicBezTo>
                <a:close/>
                <a:moveTo>
                  <a:pt x="509" y="537"/>
                </a:moveTo>
                <a:cubicBezTo>
                  <a:pt x="509" y="539"/>
                  <a:pt x="507" y="537"/>
                  <a:pt x="508" y="537"/>
                </a:cubicBezTo>
                <a:cubicBezTo>
                  <a:pt x="508" y="536"/>
                  <a:pt x="509" y="537"/>
                  <a:pt x="509" y="537"/>
                </a:cubicBezTo>
                <a:close/>
                <a:moveTo>
                  <a:pt x="508" y="484"/>
                </a:moveTo>
                <a:cubicBezTo>
                  <a:pt x="509" y="485"/>
                  <a:pt x="508" y="483"/>
                  <a:pt x="508" y="484"/>
                </a:cubicBezTo>
                <a:close/>
                <a:moveTo>
                  <a:pt x="510" y="544"/>
                </a:moveTo>
                <a:cubicBezTo>
                  <a:pt x="510" y="544"/>
                  <a:pt x="510" y="545"/>
                  <a:pt x="510" y="545"/>
                </a:cubicBezTo>
                <a:cubicBezTo>
                  <a:pt x="507" y="546"/>
                  <a:pt x="508" y="541"/>
                  <a:pt x="510" y="544"/>
                </a:cubicBezTo>
                <a:close/>
                <a:moveTo>
                  <a:pt x="507" y="463"/>
                </a:moveTo>
                <a:cubicBezTo>
                  <a:pt x="508" y="467"/>
                  <a:pt x="511" y="471"/>
                  <a:pt x="511" y="476"/>
                </a:cubicBezTo>
                <a:cubicBezTo>
                  <a:pt x="509" y="472"/>
                  <a:pt x="508" y="468"/>
                  <a:pt x="507" y="463"/>
                </a:cubicBezTo>
                <a:close/>
                <a:moveTo>
                  <a:pt x="508" y="387"/>
                </a:moveTo>
                <a:cubicBezTo>
                  <a:pt x="506" y="384"/>
                  <a:pt x="505" y="381"/>
                  <a:pt x="505" y="378"/>
                </a:cubicBezTo>
                <a:cubicBezTo>
                  <a:pt x="506" y="381"/>
                  <a:pt x="507" y="383"/>
                  <a:pt x="508" y="387"/>
                </a:cubicBezTo>
                <a:close/>
                <a:moveTo>
                  <a:pt x="507" y="528"/>
                </a:moveTo>
                <a:cubicBezTo>
                  <a:pt x="506" y="529"/>
                  <a:pt x="505" y="527"/>
                  <a:pt x="504" y="526"/>
                </a:cubicBezTo>
                <a:cubicBezTo>
                  <a:pt x="506" y="525"/>
                  <a:pt x="506" y="528"/>
                  <a:pt x="507" y="528"/>
                </a:cubicBezTo>
                <a:close/>
                <a:moveTo>
                  <a:pt x="504" y="525"/>
                </a:moveTo>
                <a:cubicBezTo>
                  <a:pt x="504" y="525"/>
                  <a:pt x="502" y="524"/>
                  <a:pt x="503" y="523"/>
                </a:cubicBezTo>
                <a:cubicBezTo>
                  <a:pt x="504" y="523"/>
                  <a:pt x="503" y="524"/>
                  <a:pt x="504" y="525"/>
                </a:cubicBezTo>
                <a:close/>
                <a:moveTo>
                  <a:pt x="503" y="434"/>
                </a:moveTo>
                <a:cubicBezTo>
                  <a:pt x="502" y="434"/>
                  <a:pt x="502" y="433"/>
                  <a:pt x="502" y="432"/>
                </a:cubicBezTo>
                <a:cubicBezTo>
                  <a:pt x="503" y="433"/>
                  <a:pt x="503" y="434"/>
                  <a:pt x="503" y="434"/>
                </a:cubicBezTo>
                <a:close/>
                <a:moveTo>
                  <a:pt x="501" y="431"/>
                </a:moveTo>
                <a:cubicBezTo>
                  <a:pt x="502" y="430"/>
                  <a:pt x="502" y="432"/>
                  <a:pt x="501" y="431"/>
                </a:cubicBezTo>
                <a:close/>
                <a:moveTo>
                  <a:pt x="500" y="448"/>
                </a:moveTo>
                <a:cubicBezTo>
                  <a:pt x="500" y="447"/>
                  <a:pt x="501" y="447"/>
                  <a:pt x="501" y="447"/>
                </a:cubicBezTo>
                <a:cubicBezTo>
                  <a:pt x="502" y="448"/>
                  <a:pt x="500" y="448"/>
                  <a:pt x="500" y="448"/>
                </a:cubicBezTo>
                <a:close/>
                <a:moveTo>
                  <a:pt x="501" y="429"/>
                </a:moveTo>
                <a:cubicBezTo>
                  <a:pt x="500" y="429"/>
                  <a:pt x="499" y="427"/>
                  <a:pt x="499" y="426"/>
                </a:cubicBezTo>
                <a:cubicBezTo>
                  <a:pt x="500" y="427"/>
                  <a:pt x="500" y="428"/>
                  <a:pt x="501" y="429"/>
                </a:cubicBezTo>
                <a:close/>
                <a:moveTo>
                  <a:pt x="499" y="566"/>
                </a:moveTo>
                <a:cubicBezTo>
                  <a:pt x="500" y="568"/>
                  <a:pt x="495" y="566"/>
                  <a:pt x="497" y="565"/>
                </a:cubicBezTo>
                <a:cubicBezTo>
                  <a:pt x="498" y="564"/>
                  <a:pt x="499" y="565"/>
                  <a:pt x="499" y="566"/>
                </a:cubicBezTo>
                <a:close/>
                <a:moveTo>
                  <a:pt x="498" y="149"/>
                </a:moveTo>
                <a:cubicBezTo>
                  <a:pt x="497" y="149"/>
                  <a:pt x="496" y="149"/>
                  <a:pt x="495" y="148"/>
                </a:cubicBezTo>
                <a:cubicBezTo>
                  <a:pt x="496" y="147"/>
                  <a:pt x="497" y="149"/>
                  <a:pt x="498" y="149"/>
                </a:cubicBezTo>
                <a:close/>
                <a:moveTo>
                  <a:pt x="494" y="480"/>
                </a:moveTo>
                <a:cubicBezTo>
                  <a:pt x="495" y="480"/>
                  <a:pt x="494" y="482"/>
                  <a:pt x="494" y="481"/>
                </a:cubicBezTo>
                <a:cubicBezTo>
                  <a:pt x="494" y="481"/>
                  <a:pt x="494" y="480"/>
                  <a:pt x="494" y="480"/>
                </a:cubicBezTo>
                <a:close/>
                <a:moveTo>
                  <a:pt x="487" y="591"/>
                </a:moveTo>
                <a:cubicBezTo>
                  <a:pt x="488" y="592"/>
                  <a:pt x="491" y="594"/>
                  <a:pt x="491" y="595"/>
                </a:cubicBezTo>
                <a:cubicBezTo>
                  <a:pt x="491" y="596"/>
                  <a:pt x="487" y="593"/>
                  <a:pt x="487" y="591"/>
                </a:cubicBezTo>
                <a:close/>
                <a:moveTo>
                  <a:pt x="487" y="573"/>
                </a:moveTo>
                <a:cubicBezTo>
                  <a:pt x="486" y="573"/>
                  <a:pt x="488" y="573"/>
                  <a:pt x="487" y="573"/>
                </a:cubicBezTo>
                <a:close/>
                <a:moveTo>
                  <a:pt x="490" y="482"/>
                </a:moveTo>
                <a:cubicBezTo>
                  <a:pt x="490" y="485"/>
                  <a:pt x="485" y="482"/>
                  <a:pt x="487" y="481"/>
                </a:cubicBezTo>
                <a:cubicBezTo>
                  <a:pt x="488" y="480"/>
                  <a:pt x="490" y="482"/>
                  <a:pt x="490" y="482"/>
                </a:cubicBezTo>
                <a:close/>
                <a:moveTo>
                  <a:pt x="487" y="468"/>
                </a:moveTo>
                <a:cubicBezTo>
                  <a:pt x="487" y="469"/>
                  <a:pt x="486" y="466"/>
                  <a:pt x="487" y="468"/>
                </a:cubicBezTo>
                <a:close/>
                <a:moveTo>
                  <a:pt x="486" y="380"/>
                </a:moveTo>
                <a:cubicBezTo>
                  <a:pt x="486" y="379"/>
                  <a:pt x="488" y="382"/>
                  <a:pt x="486" y="380"/>
                </a:cubicBezTo>
                <a:close/>
                <a:moveTo>
                  <a:pt x="486" y="467"/>
                </a:moveTo>
                <a:cubicBezTo>
                  <a:pt x="486" y="466"/>
                  <a:pt x="485" y="466"/>
                  <a:pt x="485" y="465"/>
                </a:cubicBezTo>
                <a:cubicBezTo>
                  <a:pt x="486" y="465"/>
                  <a:pt x="486" y="466"/>
                  <a:pt x="486" y="467"/>
                </a:cubicBezTo>
                <a:close/>
                <a:moveTo>
                  <a:pt x="486" y="560"/>
                </a:moveTo>
                <a:cubicBezTo>
                  <a:pt x="485" y="561"/>
                  <a:pt x="485" y="558"/>
                  <a:pt x="486" y="560"/>
                </a:cubicBezTo>
                <a:close/>
                <a:moveTo>
                  <a:pt x="484" y="463"/>
                </a:moveTo>
                <a:cubicBezTo>
                  <a:pt x="485" y="463"/>
                  <a:pt x="485" y="464"/>
                  <a:pt x="485" y="464"/>
                </a:cubicBezTo>
                <a:cubicBezTo>
                  <a:pt x="485" y="464"/>
                  <a:pt x="484" y="464"/>
                  <a:pt x="484" y="463"/>
                </a:cubicBezTo>
                <a:close/>
                <a:moveTo>
                  <a:pt x="484" y="462"/>
                </a:moveTo>
                <a:cubicBezTo>
                  <a:pt x="483" y="461"/>
                  <a:pt x="484" y="460"/>
                  <a:pt x="484" y="462"/>
                </a:cubicBezTo>
                <a:close/>
                <a:moveTo>
                  <a:pt x="484" y="465"/>
                </a:moveTo>
                <a:cubicBezTo>
                  <a:pt x="483" y="465"/>
                  <a:pt x="483" y="464"/>
                  <a:pt x="483" y="463"/>
                </a:cubicBezTo>
                <a:cubicBezTo>
                  <a:pt x="484" y="463"/>
                  <a:pt x="484" y="464"/>
                  <a:pt x="484" y="465"/>
                </a:cubicBezTo>
                <a:close/>
                <a:moveTo>
                  <a:pt x="483" y="460"/>
                </a:moveTo>
                <a:cubicBezTo>
                  <a:pt x="482" y="459"/>
                  <a:pt x="481" y="458"/>
                  <a:pt x="482" y="456"/>
                </a:cubicBezTo>
                <a:cubicBezTo>
                  <a:pt x="482" y="457"/>
                  <a:pt x="483" y="458"/>
                  <a:pt x="483" y="460"/>
                </a:cubicBezTo>
                <a:close/>
                <a:moveTo>
                  <a:pt x="482" y="461"/>
                </a:moveTo>
                <a:cubicBezTo>
                  <a:pt x="483" y="462"/>
                  <a:pt x="481" y="460"/>
                  <a:pt x="482" y="461"/>
                </a:cubicBezTo>
                <a:close/>
                <a:moveTo>
                  <a:pt x="486" y="590"/>
                </a:moveTo>
                <a:cubicBezTo>
                  <a:pt x="484" y="587"/>
                  <a:pt x="482" y="585"/>
                  <a:pt x="481" y="582"/>
                </a:cubicBezTo>
                <a:cubicBezTo>
                  <a:pt x="483" y="584"/>
                  <a:pt x="485" y="587"/>
                  <a:pt x="486" y="590"/>
                </a:cubicBezTo>
                <a:close/>
                <a:moveTo>
                  <a:pt x="480" y="457"/>
                </a:moveTo>
                <a:cubicBezTo>
                  <a:pt x="480" y="457"/>
                  <a:pt x="479" y="454"/>
                  <a:pt x="480" y="457"/>
                </a:cubicBezTo>
                <a:close/>
                <a:moveTo>
                  <a:pt x="479" y="414"/>
                </a:moveTo>
                <a:cubicBezTo>
                  <a:pt x="479" y="413"/>
                  <a:pt x="478" y="413"/>
                  <a:pt x="479" y="412"/>
                </a:cubicBezTo>
                <a:cubicBezTo>
                  <a:pt x="479" y="413"/>
                  <a:pt x="480" y="413"/>
                  <a:pt x="479" y="414"/>
                </a:cubicBezTo>
                <a:close/>
                <a:moveTo>
                  <a:pt x="478" y="401"/>
                </a:moveTo>
                <a:cubicBezTo>
                  <a:pt x="477" y="400"/>
                  <a:pt x="475" y="397"/>
                  <a:pt x="475" y="394"/>
                </a:cubicBezTo>
                <a:cubicBezTo>
                  <a:pt x="477" y="396"/>
                  <a:pt x="480" y="404"/>
                  <a:pt x="478" y="401"/>
                </a:cubicBezTo>
                <a:close/>
                <a:moveTo>
                  <a:pt x="474" y="393"/>
                </a:moveTo>
                <a:cubicBezTo>
                  <a:pt x="474" y="393"/>
                  <a:pt x="474" y="393"/>
                  <a:pt x="474" y="393"/>
                </a:cubicBezTo>
                <a:cubicBezTo>
                  <a:pt x="474" y="393"/>
                  <a:pt x="474" y="393"/>
                  <a:pt x="474" y="393"/>
                </a:cubicBezTo>
                <a:cubicBezTo>
                  <a:pt x="474" y="393"/>
                  <a:pt x="474" y="393"/>
                  <a:pt x="474" y="393"/>
                </a:cubicBezTo>
                <a:close/>
                <a:moveTo>
                  <a:pt x="469" y="488"/>
                </a:moveTo>
                <a:cubicBezTo>
                  <a:pt x="471" y="488"/>
                  <a:pt x="472" y="491"/>
                  <a:pt x="473" y="493"/>
                </a:cubicBezTo>
                <a:cubicBezTo>
                  <a:pt x="471" y="492"/>
                  <a:pt x="470" y="489"/>
                  <a:pt x="469" y="488"/>
                </a:cubicBezTo>
                <a:close/>
                <a:moveTo>
                  <a:pt x="472" y="391"/>
                </a:moveTo>
                <a:cubicBezTo>
                  <a:pt x="471" y="389"/>
                  <a:pt x="470" y="388"/>
                  <a:pt x="469" y="385"/>
                </a:cubicBezTo>
                <a:cubicBezTo>
                  <a:pt x="471" y="386"/>
                  <a:pt x="472" y="389"/>
                  <a:pt x="472" y="391"/>
                </a:cubicBezTo>
                <a:close/>
                <a:moveTo>
                  <a:pt x="469" y="124"/>
                </a:moveTo>
                <a:cubicBezTo>
                  <a:pt x="469" y="125"/>
                  <a:pt x="467" y="124"/>
                  <a:pt x="467" y="124"/>
                </a:cubicBezTo>
                <a:cubicBezTo>
                  <a:pt x="464" y="122"/>
                  <a:pt x="470" y="123"/>
                  <a:pt x="469" y="124"/>
                </a:cubicBezTo>
                <a:close/>
                <a:moveTo>
                  <a:pt x="466" y="430"/>
                </a:moveTo>
                <a:cubicBezTo>
                  <a:pt x="466" y="434"/>
                  <a:pt x="471" y="437"/>
                  <a:pt x="470" y="440"/>
                </a:cubicBezTo>
                <a:cubicBezTo>
                  <a:pt x="470" y="440"/>
                  <a:pt x="465" y="433"/>
                  <a:pt x="466" y="430"/>
                </a:cubicBezTo>
                <a:close/>
                <a:moveTo>
                  <a:pt x="465" y="555"/>
                </a:moveTo>
                <a:cubicBezTo>
                  <a:pt x="465" y="555"/>
                  <a:pt x="466" y="556"/>
                  <a:pt x="466" y="556"/>
                </a:cubicBezTo>
                <a:cubicBezTo>
                  <a:pt x="467" y="557"/>
                  <a:pt x="464" y="556"/>
                  <a:pt x="465" y="555"/>
                </a:cubicBezTo>
                <a:close/>
                <a:moveTo>
                  <a:pt x="465" y="575"/>
                </a:moveTo>
                <a:cubicBezTo>
                  <a:pt x="465" y="575"/>
                  <a:pt x="465" y="575"/>
                  <a:pt x="466" y="576"/>
                </a:cubicBezTo>
                <a:cubicBezTo>
                  <a:pt x="467" y="577"/>
                  <a:pt x="464" y="576"/>
                  <a:pt x="465" y="575"/>
                </a:cubicBezTo>
                <a:close/>
                <a:moveTo>
                  <a:pt x="463" y="584"/>
                </a:moveTo>
                <a:cubicBezTo>
                  <a:pt x="464" y="583"/>
                  <a:pt x="464" y="584"/>
                  <a:pt x="465" y="585"/>
                </a:cubicBezTo>
                <a:cubicBezTo>
                  <a:pt x="465" y="586"/>
                  <a:pt x="463" y="585"/>
                  <a:pt x="463" y="584"/>
                </a:cubicBezTo>
                <a:close/>
                <a:moveTo>
                  <a:pt x="464" y="655"/>
                </a:moveTo>
                <a:cubicBezTo>
                  <a:pt x="464" y="656"/>
                  <a:pt x="462" y="656"/>
                  <a:pt x="462" y="655"/>
                </a:cubicBezTo>
                <a:cubicBezTo>
                  <a:pt x="462" y="655"/>
                  <a:pt x="464" y="654"/>
                  <a:pt x="464" y="655"/>
                </a:cubicBezTo>
                <a:close/>
                <a:moveTo>
                  <a:pt x="463" y="619"/>
                </a:moveTo>
                <a:cubicBezTo>
                  <a:pt x="462" y="620"/>
                  <a:pt x="461" y="619"/>
                  <a:pt x="461" y="618"/>
                </a:cubicBezTo>
                <a:cubicBezTo>
                  <a:pt x="462" y="619"/>
                  <a:pt x="462" y="619"/>
                  <a:pt x="463" y="619"/>
                </a:cubicBezTo>
                <a:close/>
                <a:moveTo>
                  <a:pt x="461" y="536"/>
                </a:moveTo>
                <a:cubicBezTo>
                  <a:pt x="462" y="537"/>
                  <a:pt x="458" y="535"/>
                  <a:pt x="459" y="534"/>
                </a:cubicBezTo>
                <a:cubicBezTo>
                  <a:pt x="461" y="533"/>
                  <a:pt x="461" y="535"/>
                  <a:pt x="461" y="536"/>
                </a:cubicBezTo>
                <a:close/>
                <a:moveTo>
                  <a:pt x="454" y="150"/>
                </a:moveTo>
                <a:cubicBezTo>
                  <a:pt x="456" y="152"/>
                  <a:pt x="459" y="152"/>
                  <a:pt x="460" y="154"/>
                </a:cubicBezTo>
                <a:cubicBezTo>
                  <a:pt x="458" y="154"/>
                  <a:pt x="456" y="152"/>
                  <a:pt x="454" y="150"/>
                </a:cubicBezTo>
                <a:close/>
                <a:moveTo>
                  <a:pt x="459" y="122"/>
                </a:moveTo>
                <a:cubicBezTo>
                  <a:pt x="457" y="120"/>
                  <a:pt x="461" y="123"/>
                  <a:pt x="459" y="122"/>
                </a:cubicBezTo>
                <a:close/>
                <a:moveTo>
                  <a:pt x="453" y="94"/>
                </a:moveTo>
                <a:cubicBezTo>
                  <a:pt x="451" y="92"/>
                  <a:pt x="455" y="96"/>
                  <a:pt x="453" y="94"/>
                </a:cubicBezTo>
                <a:close/>
                <a:moveTo>
                  <a:pt x="451" y="96"/>
                </a:moveTo>
                <a:cubicBezTo>
                  <a:pt x="455" y="93"/>
                  <a:pt x="458" y="100"/>
                  <a:pt x="454" y="100"/>
                </a:cubicBezTo>
                <a:cubicBezTo>
                  <a:pt x="453" y="101"/>
                  <a:pt x="452" y="100"/>
                  <a:pt x="451" y="98"/>
                </a:cubicBezTo>
                <a:cubicBezTo>
                  <a:pt x="450" y="97"/>
                  <a:pt x="450" y="96"/>
                  <a:pt x="451" y="96"/>
                </a:cubicBezTo>
                <a:close/>
                <a:moveTo>
                  <a:pt x="447" y="103"/>
                </a:moveTo>
                <a:cubicBezTo>
                  <a:pt x="447" y="103"/>
                  <a:pt x="447" y="103"/>
                  <a:pt x="447" y="103"/>
                </a:cubicBezTo>
                <a:cubicBezTo>
                  <a:pt x="446" y="103"/>
                  <a:pt x="447" y="103"/>
                  <a:pt x="447" y="103"/>
                </a:cubicBezTo>
                <a:close/>
                <a:moveTo>
                  <a:pt x="444" y="145"/>
                </a:moveTo>
                <a:cubicBezTo>
                  <a:pt x="446" y="145"/>
                  <a:pt x="449" y="147"/>
                  <a:pt x="451" y="149"/>
                </a:cubicBezTo>
                <a:cubicBezTo>
                  <a:pt x="448" y="149"/>
                  <a:pt x="441" y="143"/>
                  <a:pt x="444" y="145"/>
                </a:cubicBezTo>
                <a:close/>
                <a:moveTo>
                  <a:pt x="442" y="515"/>
                </a:moveTo>
                <a:cubicBezTo>
                  <a:pt x="440" y="516"/>
                  <a:pt x="441" y="513"/>
                  <a:pt x="442" y="515"/>
                </a:cubicBezTo>
                <a:close/>
                <a:moveTo>
                  <a:pt x="436" y="80"/>
                </a:moveTo>
                <a:cubicBezTo>
                  <a:pt x="434" y="80"/>
                  <a:pt x="435" y="78"/>
                  <a:pt x="436" y="80"/>
                </a:cubicBezTo>
                <a:close/>
                <a:moveTo>
                  <a:pt x="440" y="114"/>
                </a:moveTo>
                <a:cubicBezTo>
                  <a:pt x="438" y="111"/>
                  <a:pt x="432" y="110"/>
                  <a:pt x="431" y="107"/>
                </a:cubicBezTo>
                <a:cubicBezTo>
                  <a:pt x="432" y="108"/>
                  <a:pt x="439" y="111"/>
                  <a:pt x="440" y="114"/>
                </a:cubicBezTo>
                <a:close/>
                <a:moveTo>
                  <a:pt x="433" y="179"/>
                </a:moveTo>
                <a:cubicBezTo>
                  <a:pt x="431" y="177"/>
                  <a:pt x="428" y="175"/>
                  <a:pt x="426" y="172"/>
                </a:cubicBezTo>
                <a:cubicBezTo>
                  <a:pt x="429" y="174"/>
                  <a:pt x="432" y="176"/>
                  <a:pt x="433" y="179"/>
                </a:cubicBezTo>
                <a:close/>
                <a:moveTo>
                  <a:pt x="425" y="594"/>
                </a:moveTo>
                <a:cubicBezTo>
                  <a:pt x="425" y="595"/>
                  <a:pt x="426" y="595"/>
                  <a:pt x="426" y="595"/>
                </a:cubicBezTo>
                <a:cubicBezTo>
                  <a:pt x="426" y="596"/>
                  <a:pt x="424" y="595"/>
                  <a:pt x="425" y="594"/>
                </a:cubicBezTo>
                <a:close/>
                <a:moveTo>
                  <a:pt x="426" y="549"/>
                </a:moveTo>
                <a:cubicBezTo>
                  <a:pt x="426" y="550"/>
                  <a:pt x="425" y="548"/>
                  <a:pt x="426" y="549"/>
                </a:cubicBezTo>
                <a:close/>
                <a:moveTo>
                  <a:pt x="426" y="468"/>
                </a:moveTo>
                <a:cubicBezTo>
                  <a:pt x="423" y="467"/>
                  <a:pt x="426" y="466"/>
                  <a:pt x="426" y="468"/>
                </a:cubicBezTo>
                <a:close/>
                <a:moveTo>
                  <a:pt x="425" y="542"/>
                </a:moveTo>
                <a:cubicBezTo>
                  <a:pt x="424" y="541"/>
                  <a:pt x="424" y="539"/>
                  <a:pt x="424" y="538"/>
                </a:cubicBezTo>
                <a:cubicBezTo>
                  <a:pt x="426" y="538"/>
                  <a:pt x="425" y="541"/>
                  <a:pt x="425" y="542"/>
                </a:cubicBezTo>
                <a:close/>
                <a:moveTo>
                  <a:pt x="423" y="592"/>
                </a:moveTo>
                <a:cubicBezTo>
                  <a:pt x="421" y="592"/>
                  <a:pt x="420" y="590"/>
                  <a:pt x="418" y="589"/>
                </a:cubicBezTo>
                <a:cubicBezTo>
                  <a:pt x="420" y="590"/>
                  <a:pt x="419" y="589"/>
                  <a:pt x="420" y="588"/>
                </a:cubicBezTo>
                <a:cubicBezTo>
                  <a:pt x="423" y="587"/>
                  <a:pt x="425" y="591"/>
                  <a:pt x="423" y="592"/>
                </a:cubicBezTo>
                <a:close/>
                <a:moveTo>
                  <a:pt x="420" y="499"/>
                </a:moveTo>
                <a:cubicBezTo>
                  <a:pt x="419" y="500"/>
                  <a:pt x="417" y="496"/>
                  <a:pt x="416" y="494"/>
                </a:cubicBezTo>
                <a:cubicBezTo>
                  <a:pt x="418" y="496"/>
                  <a:pt x="419" y="497"/>
                  <a:pt x="420" y="499"/>
                </a:cubicBezTo>
                <a:close/>
                <a:moveTo>
                  <a:pt x="417" y="100"/>
                </a:moveTo>
                <a:cubicBezTo>
                  <a:pt x="418" y="101"/>
                  <a:pt x="415" y="99"/>
                  <a:pt x="417" y="100"/>
                </a:cubicBezTo>
                <a:close/>
                <a:moveTo>
                  <a:pt x="416" y="49"/>
                </a:moveTo>
                <a:cubicBezTo>
                  <a:pt x="416" y="49"/>
                  <a:pt x="415" y="49"/>
                  <a:pt x="416" y="49"/>
                </a:cubicBezTo>
                <a:cubicBezTo>
                  <a:pt x="416" y="48"/>
                  <a:pt x="418" y="50"/>
                  <a:pt x="416" y="49"/>
                </a:cubicBezTo>
                <a:close/>
                <a:moveTo>
                  <a:pt x="413" y="491"/>
                </a:moveTo>
                <a:cubicBezTo>
                  <a:pt x="414" y="491"/>
                  <a:pt x="414" y="493"/>
                  <a:pt x="416" y="494"/>
                </a:cubicBezTo>
                <a:cubicBezTo>
                  <a:pt x="415" y="494"/>
                  <a:pt x="413" y="492"/>
                  <a:pt x="413" y="491"/>
                </a:cubicBezTo>
                <a:close/>
                <a:moveTo>
                  <a:pt x="415" y="46"/>
                </a:moveTo>
                <a:cubicBezTo>
                  <a:pt x="417" y="47"/>
                  <a:pt x="414" y="45"/>
                  <a:pt x="415" y="46"/>
                </a:cubicBezTo>
                <a:close/>
                <a:moveTo>
                  <a:pt x="414" y="98"/>
                </a:moveTo>
                <a:cubicBezTo>
                  <a:pt x="414" y="97"/>
                  <a:pt x="417" y="100"/>
                  <a:pt x="414" y="98"/>
                </a:cubicBezTo>
                <a:close/>
                <a:moveTo>
                  <a:pt x="414" y="134"/>
                </a:moveTo>
                <a:cubicBezTo>
                  <a:pt x="413" y="134"/>
                  <a:pt x="412" y="133"/>
                  <a:pt x="411" y="133"/>
                </a:cubicBezTo>
                <a:cubicBezTo>
                  <a:pt x="411" y="132"/>
                  <a:pt x="413" y="133"/>
                  <a:pt x="414" y="134"/>
                </a:cubicBezTo>
                <a:close/>
                <a:moveTo>
                  <a:pt x="413" y="99"/>
                </a:moveTo>
                <a:cubicBezTo>
                  <a:pt x="412" y="99"/>
                  <a:pt x="411" y="98"/>
                  <a:pt x="411" y="97"/>
                </a:cubicBezTo>
                <a:cubicBezTo>
                  <a:pt x="412" y="98"/>
                  <a:pt x="413" y="98"/>
                  <a:pt x="413" y="99"/>
                </a:cubicBezTo>
                <a:close/>
                <a:moveTo>
                  <a:pt x="411" y="96"/>
                </a:moveTo>
                <a:cubicBezTo>
                  <a:pt x="409" y="95"/>
                  <a:pt x="412" y="96"/>
                  <a:pt x="411" y="96"/>
                </a:cubicBezTo>
                <a:close/>
                <a:moveTo>
                  <a:pt x="412" y="68"/>
                </a:moveTo>
                <a:cubicBezTo>
                  <a:pt x="411" y="68"/>
                  <a:pt x="410" y="67"/>
                  <a:pt x="409" y="67"/>
                </a:cubicBezTo>
                <a:cubicBezTo>
                  <a:pt x="410" y="66"/>
                  <a:pt x="412" y="67"/>
                  <a:pt x="412" y="68"/>
                </a:cubicBezTo>
                <a:close/>
                <a:moveTo>
                  <a:pt x="408" y="95"/>
                </a:moveTo>
                <a:cubicBezTo>
                  <a:pt x="410" y="96"/>
                  <a:pt x="409" y="97"/>
                  <a:pt x="408" y="95"/>
                </a:cubicBezTo>
                <a:close/>
                <a:moveTo>
                  <a:pt x="406" y="93"/>
                </a:moveTo>
                <a:cubicBezTo>
                  <a:pt x="407" y="93"/>
                  <a:pt x="408" y="94"/>
                  <a:pt x="409" y="95"/>
                </a:cubicBezTo>
                <a:cubicBezTo>
                  <a:pt x="408" y="94"/>
                  <a:pt x="407" y="94"/>
                  <a:pt x="406" y="93"/>
                </a:cubicBezTo>
                <a:close/>
                <a:moveTo>
                  <a:pt x="408" y="66"/>
                </a:moveTo>
                <a:cubicBezTo>
                  <a:pt x="406" y="66"/>
                  <a:pt x="404" y="64"/>
                  <a:pt x="402" y="63"/>
                </a:cubicBezTo>
                <a:cubicBezTo>
                  <a:pt x="404" y="63"/>
                  <a:pt x="406" y="65"/>
                  <a:pt x="408" y="66"/>
                </a:cubicBezTo>
                <a:close/>
                <a:moveTo>
                  <a:pt x="403" y="92"/>
                </a:moveTo>
                <a:cubicBezTo>
                  <a:pt x="402" y="91"/>
                  <a:pt x="404" y="94"/>
                  <a:pt x="403" y="92"/>
                </a:cubicBezTo>
                <a:close/>
                <a:moveTo>
                  <a:pt x="402" y="116"/>
                </a:moveTo>
                <a:cubicBezTo>
                  <a:pt x="402" y="116"/>
                  <a:pt x="401" y="117"/>
                  <a:pt x="401" y="117"/>
                </a:cubicBezTo>
                <a:cubicBezTo>
                  <a:pt x="400" y="117"/>
                  <a:pt x="401" y="115"/>
                  <a:pt x="402" y="116"/>
                </a:cubicBezTo>
                <a:close/>
                <a:moveTo>
                  <a:pt x="404" y="171"/>
                </a:moveTo>
                <a:cubicBezTo>
                  <a:pt x="403" y="173"/>
                  <a:pt x="400" y="171"/>
                  <a:pt x="400" y="170"/>
                </a:cubicBezTo>
                <a:cubicBezTo>
                  <a:pt x="398" y="167"/>
                  <a:pt x="404" y="169"/>
                  <a:pt x="404" y="171"/>
                </a:cubicBezTo>
                <a:close/>
                <a:moveTo>
                  <a:pt x="398" y="513"/>
                </a:moveTo>
                <a:cubicBezTo>
                  <a:pt x="398" y="512"/>
                  <a:pt x="399" y="513"/>
                  <a:pt x="400" y="513"/>
                </a:cubicBezTo>
                <a:cubicBezTo>
                  <a:pt x="401" y="516"/>
                  <a:pt x="396" y="514"/>
                  <a:pt x="398" y="513"/>
                </a:cubicBezTo>
                <a:close/>
                <a:moveTo>
                  <a:pt x="397" y="471"/>
                </a:moveTo>
                <a:cubicBezTo>
                  <a:pt x="396" y="472"/>
                  <a:pt x="396" y="469"/>
                  <a:pt x="397" y="470"/>
                </a:cubicBezTo>
                <a:cubicBezTo>
                  <a:pt x="397" y="470"/>
                  <a:pt x="397" y="471"/>
                  <a:pt x="397" y="471"/>
                </a:cubicBezTo>
                <a:close/>
                <a:moveTo>
                  <a:pt x="397" y="427"/>
                </a:moveTo>
                <a:cubicBezTo>
                  <a:pt x="398" y="428"/>
                  <a:pt x="394" y="427"/>
                  <a:pt x="396" y="426"/>
                </a:cubicBezTo>
                <a:cubicBezTo>
                  <a:pt x="396" y="426"/>
                  <a:pt x="397" y="427"/>
                  <a:pt x="397" y="427"/>
                </a:cubicBezTo>
                <a:close/>
                <a:moveTo>
                  <a:pt x="396" y="81"/>
                </a:moveTo>
                <a:cubicBezTo>
                  <a:pt x="396" y="82"/>
                  <a:pt x="393" y="82"/>
                  <a:pt x="393" y="81"/>
                </a:cubicBezTo>
                <a:cubicBezTo>
                  <a:pt x="391" y="79"/>
                  <a:pt x="397" y="79"/>
                  <a:pt x="396" y="81"/>
                </a:cubicBezTo>
                <a:close/>
                <a:moveTo>
                  <a:pt x="393" y="150"/>
                </a:moveTo>
                <a:cubicBezTo>
                  <a:pt x="392" y="150"/>
                  <a:pt x="391" y="149"/>
                  <a:pt x="391" y="148"/>
                </a:cubicBezTo>
                <a:cubicBezTo>
                  <a:pt x="392" y="148"/>
                  <a:pt x="393" y="149"/>
                  <a:pt x="393" y="150"/>
                </a:cubicBezTo>
                <a:close/>
                <a:moveTo>
                  <a:pt x="395" y="400"/>
                </a:moveTo>
                <a:cubicBezTo>
                  <a:pt x="394" y="403"/>
                  <a:pt x="389" y="398"/>
                  <a:pt x="390" y="397"/>
                </a:cubicBezTo>
                <a:cubicBezTo>
                  <a:pt x="392" y="395"/>
                  <a:pt x="395" y="399"/>
                  <a:pt x="395" y="400"/>
                </a:cubicBezTo>
                <a:close/>
                <a:moveTo>
                  <a:pt x="391" y="167"/>
                </a:moveTo>
                <a:cubicBezTo>
                  <a:pt x="390" y="168"/>
                  <a:pt x="389" y="166"/>
                  <a:pt x="391" y="167"/>
                </a:cubicBezTo>
                <a:close/>
                <a:moveTo>
                  <a:pt x="390" y="147"/>
                </a:moveTo>
                <a:cubicBezTo>
                  <a:pt x="390" y="146"/>
                  <a:pt x="391" y="149"/>
                  <a:pt x="390" y="147"/>
                </a:cubicBezTo>
                <a:close/>
                <a:moveTo>
                  <a:pt x="390" y="84"/>
                </a:moveTo>
                <a:cubicBezTo>
                  <a:pt x="390" y="85"/>
                  <a:pt x="390" y="85"/>
                  <a:pt x="390" y="85"/>
                </a:cubicBezTo>
                <a:cubicBezTo>
                  <a:pt x="389" y="86"/>
                  <a:pt x="389" y="84"/>
                  <a:pt x="390" y="84"/>
                </a:cubicBezTo>
                <a:close/>
                <a:moveTo>
                  <a:pt x="391" y="691"/>
                </a:moveTo>
                <a:cubicBezTo>
                  <a:pt x="391" y="691"/>
                  <a:pt x="391" y="691"/>
                  <a:pt x="391" y="692"/>
                </a:cubicBezTo>
                <a:cubicBezTo>
                  <a:pt x="388" y="691"/>
                  <a:pt x="382" y="691"/>
                  <a:pt x="384" y="687"/>
                </a:cubicBezTo>
                <a:cubicBezTo>
                  <a:pt x="384" y="687"/>
                  <a:pt x="387" y="686"/>
                  <a:pt x="388" y="687"/>
                </a:cubicBezTo>
                <a:cubicBezTo>
                  <a:pt x="391" y="688"/>
                  <a:pt x="388" y="691"/>
                  <a:pt x="391" y="691"/>
                </a:cubicBezTo>
                <a:close/>
                <a:moveTo>
                  <a:pt x="381" y="643"/>
                </a:moveTo>
                <a:cubicBezTo>
                  <a:pt x="381" y="642"/>
                  <a:pt x="381" y="641"/>
                  <a:pt x="381" y="641"/>
                </a:cubicBezTo>
                <a:cubicBezTo>
                  <a:pt x="381" y="641"/>
                  <a:pt x="379" y="641"/>
                  <a:pt x="379" y="640"/>
                </a:cubicBezTo>
                <a:cubicBezTo>
                  <a:pt x="380" y="637"/>
                  <a:pt x="387" y="642"/>
                  <a:pt x="388" y="643"/>
                </a:cubicBezTo>
                <a:cubicBezTo>
                  <a:pt x="387" y="642"/>
                  <a:pt x="383" y="646"/>
                  <a:pt x="381" y="643"/>
                </a:cubicBezTo>
                <a:close/>
                <a:moveTo>
                  <a:pt x="382" y="615"/>
                </a:moveTo>
                <a:cubicBezTo>
                  <a:pt x="383" y="616"/>
                  <a:pt x="381" y="614"/>
                  <a:pt x="382" y="615"/>
                </a:cubicBezTo>
                <a:close/>
                <a:moveTo>
                  <a:pt x="383" y="159"/>
                </a:moveTo>
                <a:cubicBezTo>
                  <a:pt x="383" y="158"/>
                  <a:pt x="385" y="161"/>
                  <a:pt x="383" y="160"/>
                </a:cubicBezTo>
                <a:cubicBezTo>
                  <a:pt x="383" y="160"/>
                  <a:pt x="382" y="159"/>
                  <a:pt x="383" y="159"/>
                </a:cubicBezTo>
                <a:close/>
                <a:moveTo>
                  <a:pt x="387" y="432"/>
                </a:moveTo>
                <a:cubicBezTo>
                  <a:pt x="387" y="432"/>
                  <a:pt x="387" y="433"/>
                  <a:pt x="387" y="433"/>
                </a:cubicBezTo>
                <a:cubicBezTo>
                  <a:pt x="386" y="434"/>
                  <a:pt x="386" y="432"/>
                  <a:pt x="387" y="432"/>
                </a:cubicBezTo>
                <a:close/>
                <a:moveTo>
                  <a:pt x="387" y="159"/>
                </a:moveTo>
                <a:cubicBezTo>
                  <a:pt x="388" y="159"/>
                  <a:pt x="387" y="161"/>
                  <a:pt x="387" y="159"/>
                </a:cubicBezTo>
                <a:close/>
                <a:moveTo>
                  <a:pt x="388" y="106"/>
                </a:moveTo>
                <a:cubicBezTo>
                  <a:pt x="384" y="103"/>
                  <a:pt x="381" y="102"/>
                  <a:pt x="378" y="97"/>
                </a:cubicBezTo>
                <a:cubicBezTo>
                  <a:pt x="382" y="99"/>
                  <a:pt x="385" y="103"/>
                  <a:pt x="388" y="106"/>
                </a:cubicBezTo>
                <a:close/>
                <a:moveTo>
                  <a:pt x="377" y="583"/>
                </a:moveTo>
                <a:cubicBezTo>
                  <a:pt x="379" y="584"/>
                  <a:pt x="377" y="585"/>
                  <a:pt x="377" y="583"/>
                </a:cubicBezTo>
                <a:close/>
                <a:moveTo>
                  <a:pt x="376" y="149"/>
                </a:moveTo>
                <a:cubicBezTo>
                  <a:pt x="376" y="149"/>
                  <a:pt x="375" y="149"/>
                  <a:pt x="376" y="148"/>
                </a:cubicBezTo>
                <a:cubicBezTo>
                  <a:pt x="376" y="147"/>
                  <a:pt x="378" y="151"/>
                  <a:pt x="376" y="149"/>
                </a:cubicBezTo>
                <a:close/>
                <a:moveTo>
                  <a:pt x="376" y="89"/>
                </a:moveTo>
                <a:cubicBezTo>
                  <a:pt x="375" y="89"/>
                  <a:pt x="377" y="90"/>
                  <a:pt x="376" y="89"/>
                </a:cubicBezTo>
                <a:close/>
                <a:moveTo>
                  <a:pt x="376" y="119"/>
                </a:moveTo>
                <a:cubicBezTo>
                  <a:pt x="376" y="119"/>
                  <a:pt x="376" y="119"/>
                  <a:pt x="376" y="119"/>
                </a:cubicBezTo>
                <a:cubicBezTo>
                  <a:pt x="376" y="119"/>
                  <a:pt x="377" y="119"/>
                  <a:pt x="376" y="119"/>
                </a:cubicBezTo>
                <a:close/>
                <a:moveTo>
                  <a:pt x="377" y="127"/>
                </a:moveTo>
                <a:cubicBezTo>
                  <a:pt x="376" y="126"/>
                  <a:pt x="376" y="126"/>
                  <a:pt x="375" y="125"/>
                </a:cubicBezTo>
                <a:cubicBezTo>
                  <a:pt x="376" y="126"/>
                  <a:pt x="377" y="126"/>
                  <a:pt x="377" y="127"/>
                </a:cubicBezTo>
                <a:close/>
                <a:moveTo>
                  <a:pt x="376" y="147"/>
                </a:moveTo>
                <a:cubicBezTo>
                  <a:pt x="374" y="147"/>
                  <a:pt x="373" y="146"/>
                  <a:pt x="372" y="144"/>
                </a:cubicBezTo>
                <a:cubicBezTo>
                  <a:pt x="374" y="144"/>
                  <a:pt x="375" y="146"/>
                  <a:pt x="376" y="147"/>
                </a:cubicBezTo>
                <a:close/>
                <a:moveTo>
                  <a:pt x="362" y="132"/>
                </a:moveTo>
                <a:cubicBezTo>
                  <a:pt x="366" y="134"/>
                  <a:pt x="369" y="139"/>
                  <a:pt x="372" y="143"/>
                </a:cubicBezTo>
                <a:cubicBezTo>
                  <a:pt x="369" y="141"/>
                  <a:pt x="365" y="135"/>
                  <a:pt x="362" y="132"/>
                </a:cubicBezTo>
                <a:close/>
                <a:moveTo>
                  <a:pt x="367" y="82"/>
                </a:moveTo>
                <a:cubicBezTo>
                  <a:pt x="366" y="81"/>
                  <a:pt x="368" y="83"/>
                  <a:pt x="367" y="82"/>
                </a:cubicBezTo>
                <a:close/>
                <a:moveTo>
                  <a:pt x="366" y="81"/>
                </a:moveTo>
                <a:cubicBezTo>
                  <a:pt x="364" y="81"/>
                  <a:pt x="362" y="79"/>
                  <a:pt x="360" y="77"/>
                </a:cubicBezTo>
                <a:cubicBezTo>
                  <a:pt x="361" y="78"/>
                  <a:pt x="365" y="79"/>
                  <a:pt x="366" y="81"/>
                </a:cubicBezTo>
                <a:close/>
                <a:moveTo>
                  <a:pt x="364" y="54"/>
                </a:moveTo>
                <a:cubicBezTo>
                  <a:pt x="363" y="54"/>
                  <a:pt x="362" y="53"/>
                  <a:pt x="362" y="53"/>
                </a:cubicBezTo>
                <a:cubicBezTo>
                  <a:pt x="362" y="52"/>
                  <a:pt x="364" y="53"/>
                  <a:pt x="364" y="54"/>
                </a:cubicBezTo>
                <a:close/>
                <a:moveTo>
                  <a:pt x="361" y="47"/>
                </a:moveTo>
                <a:cubicBezTo>
                  <a:pt x="361" y="47"/>
                  <a:pt x="360" y="47"/>
                  <a:pt x="360" y="47"/>
                </a:cubicBezTo>
                <a:cubicBezTo>
                  <a:pt x="358" y="46"/>
                  <a:pt x="362" y="45"/>
                  <a:pt x="361" y="47"/>
                </a:cubicBezTo>
                <a:close/>
                <a:moveTo>
                  <a:pt x="361" y="52"/>
                </a:moveTo>
                <a:cubicBezTo>
                  <a:pt x="360" y="53"/>
                  <a:pt x="360" y="52"/>
                  <a:pt x="359" y="52"/>
                </a:cubicBezTo>
                <a:cubicBezTo>
                  <a:pt x="359" y="51"/>
                  <a:pt x="361" y="52"/>
                  <a:pt x="361" y="52"/>
                </a:cubicBezTo>
                <a:close/>
                <a:moveTo>
                  <a:pt x="359" y="74"/>
                </a:moveTo>
                <a:cubicBezTo>
                  <a:pt x="359" y="74"/>
                  <a:pt x="357" y="73"/>
                  <a:pt x="356" y="71"/>
                </a:cubicBezTo>
                <a:cubicBezTo>
                  <a:pt x="357" y="72"/>
                  <a:pt x="358" y="72"/>
                  <a:pt x="359" y="74"/>
                </a:cubicBezTo>
                <a:close/>
                <a:moveTo>
                  <a:pt x="356" y="12"/>
                </a:moveTo>
                <a:cubicBezTo>
                  <a:pt x="357" y="11"/>
                  <a:pt x="358" y="13"/>
                  <a:pt x="356" y="12"/>
                </a:cubicBezTo>
                <a:close/>
                <a:moveTo>
                  <a:pt x="358" y="51"/>
                </a:moveTo>
                <a:cubicBezTo>
                  <a:pt x="357" y="52"/>
                  <a:pt x="356" y="51"/>
                  <a:pt x="355" y="50"/>
                </a:cubicBezTo>
                <a:cubicBezTo>
                  <a:pt x="355" y="49"/>
                  <a:pt x="357" y="51"/>
                  <a:pt x="358" y="51"/>
                </a:cubicBezTo>
                <a:close/>
                <a:moveTo>
                  <a:pt x="350" y="44"/>
                </a:moveTo>
                <a:cubicBezTo>
                  <a:pt x="349" y="44"/>
                  <a:pt x="349" y="44"/>
                  <a:pt x="349" y="43"/>
                </a:cubicBezTo>
                <a:cubicBezTo>
                  <a:pt x="348" y="43"/>
                  <a:pt x="350" y="43"/>
                  <a:pt x="350" y="44"/>
                </a:cubicBezTo>
                <a:close/>
                <a:moveTo>
                  <a:pt x="348" y="18"/>
                </a:moveTo>
                <a:cubicBezTo>
                  <a:pt x="346" y="17"/>
                  <a:pt x="349" y="18"/>
                  <a:pt x="348" y="18"/>
                </a:cubicBezTo>
                <a:close/>
                <a:moveTo>
                  <a:pt x="348" y="50"/>
                </a:moveTo>
                <a:cubicBezTo>
                  <a:pt x="347" y="50"/>
                  <a:pt x="347" y="50"/>
                  <a:pt x="347" y="50"/>
                </a:cubicBezTo>
                <a:cubicBezTo>
                  <a:pt x="348" y="50"/>
                  <a:pt x="348" y="51"/>
                  <a:pt x="348" y="50"/>
                </a:cubicBezTo>
                <a:close/>
                <a:moveTo>
                  <a:pt x="347" y="64"/>
                </a:moveTo>
                <a:cubicBezTo>
                  <a:pt x="349" y="64"/>
                  <a:pt x="352" y="68"/>
                  <a:pt x="355" y="71"/>
                </a:cubicBezTo>
                <a:cubicBezTo>
                  <a:pt x="353" y="70"/>
                  <a:pt x="351" y="68"/>
                  <a:pt x="349" y="66"/>
                </a:cubicBezTo>
                <a:cubicBezTo>
                  <a:pt x="349" y="66"/>
                  <a:pt x="344" y="64"/>
                  <a:pt x="347" y="64"/>
                </a:cubicBezTo>
                <a:close/>
                <a:moveTo>
                  <a:pt x="345" y="38"/>
                </a:moveTo>
                <a:cubicBezTo>
                  <a:pt x="345" y="38"/>
                  <a:pt x="344" y="38"/>
                  <a:pt x="344" y="37"/>
                </a:cubicBezTo>
                <a:cubicBezTo>
                  <a:pt x="345" y="35"/>
                  <a:pt x="347" y="40"/>
                  <a:pt x="345" y="38"/>
                </a:cubicBezTo>
                <a:close/>
                <a:moveTo>
                  <a:pt x="345" y="14"/>
                </a:moveTo>
                <a:cubicBezTo>
                  <a:pt x="345" y="15"/>
                  <a:pt x="343" y="14"/>
                  <a:pt x="343" y="14"/>
                </a:cubicBezTo>
                <a:cubicBezTo>
                  <a:pt x="341" y="12"/>
                  <a:pt x="346" y="12"/>
                  <a:pt x="345" y="14"/>
                </a:cubicBezTo>
                <a:close/>
                <a:moveTo>
                  <a:pt x="333" y="49"/>
                </a:moveTo>
                <a:cubicBezTo>
                  <a:pt x="335" y="48"/>
                  <a:pt x="334" y="50"/>
                  <a:pt x="333" y="49"/>
                </a:cubicBezTo>
                <a:close/>
                <a:moveTo>
                  <a:pt x="344" y="63"/>
                </a:moveTo>
                <a:cubicBezTo>
                  <a:pt x="339" y="61"/>
                  <a:pt x="335" y="59"/>
                  <a:pt x="331" y="56"/>
                </a:cubicBezTo>
                <a:cubicBezTo>
                  <a:pt x="336" y="57"/>
                  <a:pt x="340" y="60"/>
                  <a:pt x="344" y="63"/>
                </a:cubicBezTo>
                <a:close/>
                <a:moveTo>
                  <a:pt x="331" y="76"/>
                </a:moveTo>
                <a:cubicBezTo>
                  <a:pt x="331" y="77"/>
                  <a:pt x="329" y="78"/>
                  <a:pt x="329" y="77"/>
                </a:cubicBezTo>
                <a:cubicBezTo>
                  <a:pt x="329" y="77"/>
                  <a:pt x="329" y="77"/>
                  <a:pt x="329" y="77"/>
                </a:cubicBezTo>
                <a:cubicBezTo>
                  <a:pt x="329" y="78"/>
                  <a:pt x="329" y="78"/>
                  <a:pt x="328" y="78"/>
                </a:cubicBezTo>
                <a:cubicBezTo>
                  <a:pt x="327" y="79"/>
                  <a:pt x="324" y="75"/>
                  <a:pt x="327" y="75"/>
                </a:cubicBezTo>
                <a:cubicBezTo>
                  <a:pt x="328" y="75"/>
                  <a:pt x="329" y="75"/>
                  <a:pt x="329" y="76"/>
                </a:cubicBezTo>
                <a:cubicBezTo>
                  <a:pt x="329" y="76"/>
                  <a:pt x="330" y="75"/>
                  <a:pt x="331" y="76"/>
                </a:cubicBezTo>
                <a:close/>
                <a:moveTo>
                  <a:pt x="327" y="52"/>
                </a:moveTo>
                <a:cubicBezTo>
                  <a:pt x="326" y="52"/>
                  <a:pt x="329" y="52"/>
                  <a:pt x="327" y="52"/>
                </a:cubicBezTo>
                <a:close/>
                <a:moveTo>
                  <a:pt x="325" y="23"/>
                </a:moveTo>
                <a:cubicBezTo>
                  <a:pt x="325" y="22"/>
                  <a:pt x="326" y="24"/>
                  <a:pt x="325" y="23"/>
                </a:cubicBezTo>
                <a:close/>
                <a:moveTo>
                  <a:pt x="330" y="41"/>
                </a:moveTo>
                <a:cubicBezTo>
                  <a:pt x="330" y="43"/>
                  <a:pt x="325" y="43"/>
                  <a:pt x="324" y="42"/>
                </a:cubicBezTo>
                <a:cubicBezTo>
                  <a:pt x="321" y="38"/>
                  <a:pt x="330" y="41"/>
                  <a:pt x="330" y="41"/>
                </a:cubicBezTo>
                <a:close/>
                <a:moveTo>
                  <a:pt x="326" y="75"/>
                </a:moveTo>
                <a:cubicBezTo>
                  <a:pt x="326" y="76"/>
                  <a:pt x="325" y="76"/>
                  <a:pt x="325" y="75"/>
                </a:cubicBezTo>
                <a:cubicBezTo>
                  <a:pt x="324" y="75"/>
                  <a:pt x="326" y="74"/>
                  <a:pt x="326" y="75"/>
                </a:cubicBezTo>
                <a:close/>
                <a:moveTo>
                  <a:pt x="324" y="68"/>
                </a:moveTo>
                <a:cubicBezTo>
                  <a:pt x="324" y="67"/>
                  <a:pt x="325" y="67"/>
                  <a:pt x="325" y="68"/>
                </a:cubicBezTo>
                <a:cubicBezTo>
                  <a:pt x="326" y="69"/>
                  <a:pt x="324" y="68"/>
                  <a:pt x="324" y="68"/>
                </a:cubicBezTo>
                <a:close/>
                <a:moveTo>
                  <a:pt x="327" y="107"/>
                </a:moveTo>
                <a:cubicBezTo>
                  <a:pt x="326" y="109"/>
                  <a:pt x="322" y="107"/>
                  <a:pt x="322" y="107"/>
                </a:cubicBezTo>
                <a:cubicBezTo>
                  <a:pt x="319" y="103"/>
                  <a:pt x="328" y="104"/>
                  <a:pt x="327" y="107"/>
                </a:cubicBezTo>
                <a:close/>
                <a:moveTo>
                  <a:pt x="322" y="27"/>
                </a:moveTo>
                <a:cubicBezTo>
                  <a:pt x="321" y="28"/>
                  <a:pt x="320" y="27"/>
                  <a:pt x="320" y="27"/>
                </a:cubicBezTo>
                <a:cubicBezTo>
                  <a:pt x="319" y="25"/>
                  <a:pt x="322" y="26"/>
                  <a:pt x="322" y="27"/>
                </a:cubicBezTo>
                <a:close/>
                <a:moveTo>
                  <a:pt x="319" y="102"/>
                </a:moveTo>
                <a:cubicBezTo>
                  <a:pt x="319" y="102"/>
                  <a:pt x="318" y="102"/>
                  <a:pt x="318" y="101"/>
                </a:cubicBezTo>
                <a:cubicBezTo>
                  <a:pt x="316" y="100"/>
                  <a:pt x="321" y="100"/>
                  <a:pt x="319" y="102"/>
                </a:cubicBezTo>
                <a:close/>
                <a:moveTo>
                  <a:pt x="319" y="85"/>
                </a:moveTo>
                <a:cubicBezTo>
                  <a:pt x="321" y="85"/>
                  <a:pt x="318" y="87"/>
                  <a:pt x="318" y="85"/>
                </a:cubicBezTo>
                <a:cubicBezTo>
                  <a:pt x="318" y="85"/>
                  <a:pt x="319" y="85"/>
                  <a:pt x="319" y="85"/>
                </a:cubicBezTo>
                <a:close/>
                <a:moveTo>
                  <a:pt x="319" y="73"/>
                </a:moveTo>
                <a:cubicBezTo>
                  <a:pt x="319" y="73"/>
                  <a:pt x="318" y="73"/>
                  <a:pt x="318" y="73"/>
                </a:cubicBezTo>
                <a:cubicBezTo>
                  <a:pt x="316" y="73"/>
                  <a:pt x="318" y="72"/>
                  <a:pt x="319" y="73"/>
                </a:cubicBezTo>
                <a:close/>
                <a:moveTo>
                  <a:pt x="317" y="46"/>
                </a:moveTo>
                <a:cubicBezTo>
                  <a:pt x="317" y="47"/>
                  <a:pt x="315" y="47"/>
                  <a:pt x="315" y="46"/>
                </a:cubicBezTo>
                <a:cubicBezTo>
                  <a:pt x="314" y="45"/>
                  <a:pt x="317" y="44"/>
                  <a:pt x="317" y="46"/>
                </a:cubicBezTo>
                <a:close/>
                <a:moveTo>
                  <a:pt x="315" y="61"/>
                </a:moveTo>
                <a:cubicBezTo>
                  <a:pt x="315" y="61"/>
                  <a:pt x="315" y="60"/>
                  <a:pt x="315" y="60"/>
                </a:cubicBezTo>
                <a:cubicBezTo>
                  <a:pt x="313" y="57"/>
                  <a:pt x="319" y="61"/>
                  <a:pt x="315" y="61"/>
                </a:cubicBezTo>
                <a:close/>
                <a:moveTo>
                  <a:pt x="314" y="88"/>
                </a:moveTo>
                <a:cubicBezTo>
                  <a:pt x="315" y="88"/>
                  <a:pt x="316" y="89"/>
                  <a:pt x="315" y="89"/>
                </a:cubicBezTo>
                <a:cubicBezTo>
                  <a:pt x="315" y="90"/>
                  <a:pt x="313" y="89"/>
                  <a:pt x="314" y="88"/>
                </a:cubicBezTo>
                <a:close/>
                <a:moveTo>
                  <a:pt x="314" y="98"/>
                </a:moveTo>
                <a:cubicBezTo>
                  <a:pt x="313" y="98"/>
                  <a:pt x="312" y="97"/>
                  <a:pt x="312" y="96"/>
                </a:cubicBezTo>
                <a:cubicBezTo>
                  <a:pt x="313" y="96"/>
                  <a:pt x="313" y="97"/>
                  <a:pt x="314" y="98"/>
                </a:cubicBezTo>
                <a:close/>
                <a:moveTo>
                  <a:pt x="313" y="62"/>
                </a:moveTo>
                <a:cubicBezTo>
                  <a:pt x="311" y="61"/>
                  <a:pt x="314" y="62"/>
                  <a:pt x="313" y="62"/>
                </a:cubicBezTo>
                <a:close/>
                <a:moveTo>
                  <a:pt x="308" y="35"/>
                </a:moveTo>
                <a:cubicBezTo>
                  <a:pt x="307" y="34"/>
                  <a:pt x="310" y="37"/>
                  <a:pt x="308" y="35"/>
                </a:cubicBezTo>
                <a:close/>
                <a:moveTo>
                  <a:pt x="305" y="53"/>
                </a:moveTo>
                <a:cubicBezTo>
                  <a:pt x="305" y="52"/>
                  <a:pt x="306" y="54"/>
                  <a:pt x="306" y="54"/>
                </a:cubicBezTo>
                <a:cubicBezTo>
                  <a:pt x="306" y="54"/>
                  <a:pt x="306" y="53"/>
                  <a:pt x="305" y="53"/>
                </a:cubicBezTo>
                <a:close/>
                <a:moveTo>
                  <a:pt x="306" y="45"/>
                </a:moveTo>
                <a:cubicBezTo>
                  <a:pt x="304" y="40"/>
                  <a:pt x="314" y="43"/>
                  <a:pt x="312" y="46"/>
                </a:cubicBezTo>
                <a:cubicBezTo>
                  <a:pt x="311" y="48"/>
                  <a:pt x="307" y="45"/>
                  <a:pt x="306" y="45"/>
                </a:cubicBezTo>
                <a:close/>
                <a:moveTo>
                  <a:pt x="307" y="88"/>
                </a:moveTo>
                <a:cubicBezTo>
                  <a:pt x="308" y="88"/>
                  <a:pt x="307" y="89"/>
                  <a:pt x="307" y="89"/>
                </a:cubicBezTo>
                <a:cubicBezTo>
                  <a:pt x="307" y="89"/>
                  <a:pt x="306" y="87"/>
                  <a:pt x="307" y="88"/>
                </a:cubicBezTo>
                <a:close/>
                <a:moveTo>
                  <a:pt x="313" y="101"/>
                </a:moveTo>
                <a:cubicBezTo>
                  <a:pt x="313" y="102"/>
                  <a:pt x="306" y="96"/>
                  <a:pt x="305" y="95"/>
                </a:cubicBezTo>
                <a:cubicBezTo>
                  <a:pt x="305" y="95"/>
                  <a:pt x="305" y="94"/>
                  <a:pt x="305" y="93"/>
                </a:cubicBezTo>
                <a:cubicBezTo>
                  <a:pt x="305" y="93"/>
                  <a:pt x="314" y="100"/>
                  <a:pt x="313" y="101"/>
                </a:cubicBezTo>
                <a:close/>
                <a:moveTo>
                  <a:pt x="306" y="102"/>
                </a:moveTo>
                <a:cubicBezTo>
                  <a:pt x="304" y="103"/>
                  <a:pt x="303" y="99"/>
                  <a:pt x="302" y="98"/>
                </a:cubicBezTo>
                <a:cubicBezTo>
                  <a:pt x="303" y="98"/>
                  <a:pt x="305" y="101"/>
                  <a:pt x="306" y="102"/>
                </a:cubicBezTo>
                <a:close/>
                <a:moveTo>
                  <a:pt x="301" y="81"/>
                </a:moveTo>
                <a:cubicBezTo>
                  <a:pt x="302" y="80"/>
                  <a:pt x="303" y="84"/>
                  <a:pt x="301" y="82"/>
                </a:cubicBezTo>
                <a:cubicBezTo>
                  <a:pt x="301" y="82"/>
                  <a:pt x="301" y="82"/>
                  <a:pt x="301" y="81"/>
                </a:cubicBezTo>
                <a:close/>
                <a:moveTo>
                  <a:pt x="303" y="92"/>
                </a:moveTo>
                <a:cubicBezTo>
                  <a:pt x="299" y="88"/>
                  <a:pt x="295" y="86"/>
                  <a:pt x="293" y="81"/>
                </a:cubicBezTo>
                <a:cubicBezTo>
                  <a:pt x="297" y="83"/>
                  <a:pt x="301" y="88"/>
                  <a:pt x="303" y="92"/>
                </a:cubicBezTo>
                <a:close/>
                <a:moveTo>
                  <a:pt x="293" y="77"/>
                </a:moveTo>
                <a:cubicBezTo>
                  <a:pt x="293" y="77"/>
                  <a:pt x="293" y="77"/>
                  <a:pt x="293" y="77"/>
                </a:cubicBezTo>
                <a:cubicBezTo>
                  <a:pt x="293" y="77"/>
                  <a:pt x="293" y="77"/>
                  <a:pt x="293" y="77"/>
                </a:cubicBezTo>
                <a:cubicBezTo>
                  <a:pt x="293" y="77"/>
                  <a:pt x="293" y="77"/>
                  <a:pt x="293" y="77"/>
                </a:cubicBezTo>
                <a:close/>
                <a:moveTo>
                  <a:pt x="302" y="98"/>
                </a:moveTo>
                <a:cubicBezTo>
                  <a:pt x="297" y="92"/>
                  <a:pt x="293" y="88"/>
                  <a:pt x="288" y="83"/>
                </a:cubicBezTo>
                <a:cubicBezTo>
                  <a:pt x="293" y="87"/>
                  <a:pt x="298" y="91"/>
                  <a:pt x="302" y="98"/>
                </a:cubicBezTo>
                <a:close/>
                <a:moveTo>
                  <a:pt x="295" y="198"/>
                </a:moveTo>
                <a:cubicBezTo>
                  <a:pt x="291" y="196"/>
                  <a:pt x="287" y="194"/>
                  <a:pt x="284" y="192"/>
                </a:cubicBezTo>
                <a:cubicBezTo>
                  <a:pt x="286" y="193"/>
                  <a:pt x="293" y="196"/>
                  <a:pt x="295" y="198"/>
                </a:cubicBezTo>
                <a:close/>
                <a:moveTo>
                  <a:pt x="287" y="663"/>
                </a:moveTo>
                <a:cubicBezTo>
                  <a:pt x="288" y="663"/>
                  <a:pt x="289" y="664"/>
                  <a:pt x="289" y="664"/>
                </a:cubicBezTo>
                <a:cubicBezTo>
                  <a:pt x="290" y="665"/>
                  <a:pt x="286" y="664"/>
                  <a:pt x="287" y="663"/>
                </a:cubicBezTo>
                <a:close/>
                <a:moveTo>
                  <a:pt x="283" y="230"/>
                </a:moveTo>
                <a:cubicBezTo>
                  <a:pt x="284" y="231"/>
                  <a:pt x="281" y="228"/>
                  <a:pt x="283" y="230"/>
                </a:cubicBezTo>
                <a:close/>
                <a:moveTo>
                  <a:pt x="282" y="216"/>
                </a:moveTo>
                <a:cubicBezTo>
                  <a:pt x="282" y="216"/>
                  <a:pt x="282" y="216"/>
                  <a:pt x="282" y="216"/>
                </a:cubicBezTo>
                <a:cubicBezTo>
                  <a:pt x="283" y="216"/>
                  <a:pt x="283" y="216"/>
                  <a:pt x="283" y="216"/>
                </a:cubicBezTo>
                <a:cubicBezTo>
                  <a:pt x="283" y="216"/>
                  <a:pt x="282" y="216"/>
                  <a:pt x="282" y="216"/>
                </a:cubicBezTo>
                <a:close/>
                <a:moveTo>
                  <a:pt x="283" y="165"/>
                </a:moveTo>
                <a:cubicBezTo>
                  <a:pt x="280" y="165"/>
                  <a:pt x="280" y="160"/>
                  <a:pt x="284" y="161"/>
                </a:cubicBezTo>
                <a:cubicBezTo>
                  <a:pt x="286" y="162"/>
                  <a:pt x="285" y="166"/>
                  <a:pt x="283" y="165"/>
                </a:cubicBezTo>
                <a:close/>
                <a:moveTo>
                  <a:pt x="279" y="199"/>
                </a:moveTo>
                <a:cubicBezTo>
                  <a:pt x="279" y="199"/>
                  <a:pt x="278" y="198"/>
                  <a:pt x="279" y="198"/>
                </a:cubicBezTo>
                <a:cubicBezTo>
                  <a:pt x="279" y="198"/>
                  <a:pt x="280" y="199"/>
                  <a:pt x="279" y="199"/>
                </a:cubicBezTo>
                <a:close/>
                <a:moveTo>
                  <a:pt x="278" y="184"/>
                </a:moveTo>
                <a:cubicBezTo>
                  <a:pt x="278" y="184"/>
                  <a:pt x="278" y="185"/>
                  <a:pt x="278" y="185"/>
                </a:cubicBezTo>
                <a:cubicBezTo>
                  <a:pt x="277" y="183"/>
                  <a:pt x="280" y="185"/>
                  <a:pt x="278" y="184"/>
                </a:cubicBezTo>
                <a:close/>
                <a:moveTo>
                  <a:pt x="270" y="138"/>
                </a:moveTo>
                <a:cubicBezTo>
                  <a:pt x="271" y="139"/>
                  <a:pt x="272" y="136"/>
                  <a:pt x="273" y="136"/>
                </a:cubicBezTo>
                <a:cubicBezTo>
                  <a:pt x="275" y="137"/>
                  <a:pt x="273" y="138"/>
                  <a:pt x="274" y="139"/>
                </a:cubicBezTo>
                <a:cubicBezTo>
                  <a:pt x="277" y="141"/>
                  <a:pt x="282" y="141"/>
                  <a:pt x="284" y="143"/>
                </a:cubicBezTo>
                <a:cubicBezTo>
                  <a:pt x="280" y="142"/>
                  <a:pt x="275" y="140"/>
                  <a:pt x="270" y="138"/>
                </a:cubicBezTo>
                <a:close/>
                <a:moveTo>
                  <a:pt x="278" y="148"/>
                </a:moveTo>
                <a:cubicBezTo>
                  <a:pt x="276" y="148"/>
                  <a:pt x="278" y="147"/>
                  <a:pt x="278" y="148"/>
                </a:cubicBezTo>
                <a:close/>
                <a:moveTo>
                  <a:pt x="265" y="190"/>
                </a:moveTo>
                <a:cubicBezTo>
                  <a:pt x="268" y="190"/>
                  <a:pt x="273" y="192"/>
                  <a:pt x="275" y="194"/>
                </a:cubicBezTo>
                <a:cubicBezTo>
                  <a:pt x="271" y="192"/>
                  <a:pt x="268" y="192"/>
                  <a:pt x="265" y="190"/>
                </a:cubicBezTo>
                <a:close/>
                <a:moveTo>
                  <a:pt x="273" y="554"/>
                </a:moveTo>
                <a:cubicBezTo>
                  <a:pt x="273" y="554"/>
                  <a:pt x="273" y="553"/>
                  <a:pt x="273" y="554"/>
                </a:cubicBezTo>
                <a:cubicBezTo>
                  <a:pt x="273" y="554"/>
                  <a:pt x="273" y="554"/>
                  <a:pt x="273" y="554"/>
                </a:cubicBezTo>
                <a:close/>
                <a:moveTo>
                  <a:pt x="271" y="230"/>
                </a:moveTo>
                <a:cubicBezTo>
                  <a:pt x="272" y="230"/>
                  <a:pt x="274" y="234"/>
                  <a:pt x="272" y="235"/>
                </a:cubicBezTo>
                <a:cubicBezTo>
                  <a:pt x="269" y="235"/>
                  <a:pt x="269" y="231"/>
                  <a:pt x="271" y="230"/>
                </a:cubicBezTo>
                <a:close/>
                <a:moveTo>
                  <a:pt x="270" y="215"/>
                </a:moveTo>
                <a:cubicBezTo>
                  <a:pt x="271" y="214"/>
                  <a:pt x="272" y="217"/>
                  <a:pt x="270" y="216"/>
                </a:cubicBezTo>
                <a:cubicBezTo>
                  <a:pt x="270" y="216"/>
                  <a:pt x="269" y="215"/>
                  <a:pt x="270" y="215"/>
                </a:cubicBezTo>
                <a:close/>
                <a:moveTo>
                  <a:pt x="267" y="262"/>
                </a:moveTo>
                <a:cubicBezTo>
                  <a:pt x="269" y="261"/>
                  <a:pt x="268" y="263"/>
                  <a:pt x="267" y="262"/>
                </a:cubicBezTo>
                <a:close/>
                <a:moveTo>
                  <a:pt x="258" y="254"/>
                </a:moveTo>
                <a:cubicBezTo>
                  <a:pt x="260" y="255"/>
                  <a:pt x="261" y="257"/>
                  <a:pt x="263" y="258"/>
                </a:cubicBezTo>
                <a:cubicBezTo>
                  <a:pt x="261" y="258"/>
                  <a:pt x="260" y="256"/>
                  <a:pt x="258" y="254"/>
                </a:cubicBezTo>
                <a:close/>
                <a:moveTo>
                  <a:pt x="261" y="509"/>
                </a:moveTo>
                <a:cubicBezTo>
                  <a:pt x="261" y="510"/>
                  <a:pt x="260" y="509"/>
                  <a:pt x="260" y="509"/>
                </a:cubicBezTo>
                <a:cubicBezTo>
                  <a:pt x="260" y="508"/>
                  <a:pt x="261" y="509"/>
                  <a:pt x="261" y="509"/>
                </a:cubicBezTo>
                <a:close/>
                <a:moveTo>
                  <a:pt x="258" y="191"/>
                </a:moveTo>
                <a:cubicBezTo>
                  <a:pt x="258" y="191"/>
                  <a:pt x="259" y="193"/>
                  <a:pt x="258" y="193"/>
                </a:cubicBezTo>
                <a:cubicBezTo>
                  <a:pt x="257" y="193"/>
                  <a:pt x="258" y="192"/>
                  <a:pt x="258" y="191"/>
                </a:cubicBezTo>
                <a:close/>
                <a:moveTo>
                  <a:pt x="260" y="233"/>
                </a:moveTo>
                <a:cubicBezTo>
                  <a:pt x="262" y="233"/>
                  <a:pt x="258" y="234"/>
                  <a:pt x="260" y="233"/>
                </a:cubicBezTo>
                <a:close/>
                <a:moveTo>
                  <a:pt x="260" y="231"/>
                </a:moveTo>
                <a:cubicBezTo>
                  <a:pt x="261" y="233"/>
                  <a:pt x="263" y="236"/>
                  <a:pt x="264" y="238"/>
                </a:cubicBezTo>
                <a:cubicBezTo>
                  <a:pt x="262" y="237"/>
                  <a:pt x="261" y="233"/>
                  <a:pt x="260" y="231"/>
                </a:cubicBezTo>
                <a:close/>
                <a:moveTo>
                  <a:pt x="260" y="229"/>
                </a:moveTo>
                <a:cubicBezTo>
                  <a:pt x="260" y="229"/>
                  <a:pt x="261" y="230"/>
                  <a:pt x="261" y="230"/>
                </a:cubicBezTo>
                <a:cubicBezTo>
                  <a:pt x="261" y="230"/>
                  <a:pt x="260" y="229"/>
                  <a:pt x="260" y="229"/>
                </a:cubicBezTo>
                <a:close/>
                <a:moveTo>
                  <a:pt x="261" y="154"/>
                </a:moveTo>
                <a:cubicBezTo>
                  <a:pt x="262" y="155"/>
                  <a:pt x="263" y="157"/>
                  <a:pt x="263" y="158"/>
                </a:cubicBezTo>
                <a:cubicBezTo>
                  <a:pt x="262" y="157"/>
                  <a:pt x="261" y="156"/>
                  <a:pt x="261" y="154"/>
                </a:cubicBezTo>
                <a:close/>
                <a:moveTo>
                  <a:pt x="263" y="68"/>
                </a:moveTo>
                <a:cubicBezTo>
                  <a:pt x="264" y="69"/>
                  <a:pt x="265" y="70"/>
                  <a:pt x="266" y="72"/>
                </a:cubicBezTo>
                <a:cubicBezTo>
                  <a:pt x="264" y="72"/>
                  <a:pt x="264" y="69"/>
                  <a:pt x="263" y="68"/>
                </a:cubicBezTo>
                <a:close/>
                <a:moveTo>
                  <a:pt x="266" y="63"/>
                </a:moveTo>
                <a:cubicBezTo>
                  <a:pt x="264" y="62"/>
                  <a:pt x="265" y="61"/>
                  <a:pt x="266" y="63"/>
                </a:cubicBezTo>
                <a:close/>
                <a:moveTo>
                  <a:pt x="267" y="132"/>
                </a:moveTo>
                <a:cubicBezTo>
                  <a:pt x="269" y="132"/>
                  <a:pt x="271" y="137"/>
                  <a:pt x="268" y="137"/>
                </a:cubicBezTo>
                <a:cubicBezTo>
                  <a:pt x="266" y="138"/>
                  <a:pt x="263" y="132"/>
                  <a:pt x="267" y="132"/>
                </a:cubicBezTo>
                <a:close/>
                <a:moveTo>
                  <a:pt x="267" y="108"/>
                </a:moveTo>
                <a:cubicBezTo>
                  <a:pt x="268" y="108"/>
                  <a:pt x="268" y="109"/>
                  <a:pt x="268" y="109"/>
                </a:cubicBezTo>
                <a:cubicBezTo>
                  <a:pt x="267" y="110"/>
                  <a:pt x="265" y="108"/>
                  <a:pt x="267" y="108"/>
                </a:cubicBezTo>
                <a:close/>
                <a:moveTo>
                  <a:pt x="270" y="113"/>
                </a:moveTo>
                <a:cubicBezTo>
                  <a:pt x="268" y="113"/>
                  <a:pt x="271" y="114"/>
                  <a:pt x="270" y="113"/>
                </a:cubicBezTo>
                <a:close/>
                <a:moveTo>
                  <a:pt x="267" y="149"/>
                </a:moveTo>
                <a:cubicBezTo>
                  <a:pt x="266" y="150"/>
                  <a:pt x="266" y="149"/>
                  <a:pt x="265" y="148"/>
                </a:cubicBezTo>
                <a:cubicBezTo>
                  <a:pt x="264" y="146"/>
                  <a:pt x="269" y="148"/>
                  <a:pt x="267" y="149"/>
                </a:cubicBezTo>
                <a:close/>
                <a:moveTo>
                  <a:pt x="264" y="161"/>
                </a:moveTo>
                <a:cubicBezTo>
                  <a:pt x="265" y="161"/>
                  <a:pt x="265" y="162"/>
                  <a:pt x="265" y="162"/>
                </a:cubicBezTo>
                <a:cubicBezTo>
                  <a:pt x="265" y="162"/>
                  <a:pt x="263" y="158"/>
                  <a:pt x="264" y="161"/>
                </a:cubicBezTo>
                <a:close/>
                <a:moveTo>
                  <a:pt x="266" y="512"/>
                </a:moveTo>
                <a:cubicBezTo>
                  <a:pt x="264" y="513"/>
                  <a:pt x="264" y="510"/>
                  <a:pt x="266" y="512"/>
                </a:cubicBezTo>
                <a:close/>
                <a:moveTo>
                  <a:pt x="271" y="181"/>
                </a:moveTo>
                <a:cubicBezTo>
                  <a:pt x="272" y="180"/>
                  <a:pt x="273" y="183"/>
                  <a:pt x="272" y="182"/>
                </a:cubicBezTo>
                <a:cubicBezTo>
                  <a:pt x="271" y="182"/>
                  <a:pt x="271" y="182"/>
                  <a:pt x="271" y="181"/>
                </a:cubicBezTo>
                <a:close/>
                <a:moveTo>
                  <a:pt x="283" y="92"/>
                </a:moveTo>
                <a:cubicBezTo>
                  <a:pt x="280" y="90"/>
                  <a:pt x="285" y="92"/>
                  <a:pt x="284" y="93"/>
                </a:cubicBezTo>
                <a:cubicBezTo>
                  <a:pt x="284" y="94"/>
                  <a:pt x="281" y="91"/>
                  <a:pt x="280" y="91"/>
                </a:cubicBezTo>
                <a:cubicBezTo>
                  <a:pt x="279" y="90"/>
                  <a:pt x="275" y="89"/>
                  <a:pt x="274" y="87"/>
                </a:cubicBezTo>
                <a:cubicBezTo>
                  <a:pt x="272" y="83"/>
                  <a:pt x="282" y="91"/>
                  <a:pt x="283" y="92"/>
                </a:cubicBezTo>
                <a:close/>
                <a:moveTo>
                  <a:pt x="273" y="75"/>
                </a:moveTo>
                <a:cubicBezTo>
                  <a:pt x="275" y="75"/>
                  <a:pt x="274" y="77"/>
                  <a:pt x="273" y="75"/>
                </a:cubicBezTo>
                <a:close/>
                <a:moveTo>
                  <a:pt x="283" y="102"/>
                </a:moveTo>
                <a:cubicBezTo>
                  <a:pt x="283" y="102"/>
                  <a:pt x="283" y="102"/>
                  <a:pt x="284" y="103"/>
                </a:cubicBezTo>
                <a:cubicBezTo>
                  <a:pt x="284" y="103"/>
                  <a:pt x="284" y="103"/>
                  <a:pt x="284" y="103"/>
                </a:cubicBezTo>
                <a:cubicBezTo>
                  <a:pt x="284" y="102"/>
                  <a:pt x="283" y="102"/>
                  <a:pt x="283" y="102"/>
                </a:cubicBezTo>
                <a:close/>
                <a:moveTo>
                  <a:pt x="285" y="137"/>
                </a:moveTo>
                <a:cubicBezTo>
                  <a:pt x="285" y="138"/>
                  <a:pt x="284" y="137"/>
                  <a:pt x="283" y="137"/>
                </a:cubicBezTo>
                <a:cubicBezTo>
                  <a:pt x="282" y="134"/>
                  <a:pt x="287" y="136"/>
                  <a:pt x="285" y="137"/>
                </a:cubicBezTo>
                <a:close/>
                <a:moveTo>
                  <a:pt x="276" y="104"/>
                </a:moveTo>
                <a:cubicBezTo>
                  <a:pt x="276" y="104"/>
                  <a:pt x="280" y="107"/>
                  <a:pt x="280" y="109"/>
                </a:cubicBezTo>
                <a:cubicBezTo>
                  <a:pt x="279" y="108"/>
                  <a:pt x="276" y="105"/>
                  <a:pt x="276" y="104"/>
                </a:cubicBezTo>
                <a:close/>
                <a:moveTo>
                  <a:pt x="277" y="127"/>
                </a:moveTo>
                <a:cubicBezTo>
                  <a:pt x="276" y="126"/>
                  <a:pt x="276" y="126"/>
                  <a:pt x="275" y="125"/>
                </a:cubicBezTo>
                <a:cubicBezTo>
                  <a:pt x="276" y="125"/>
                  <a:pt x="277" y="126"/>
                  <a:pt x="277" y="127"/>
                </a:cubicBezTo>
                <a:close/>
                <a:moveTo>
                  <a:pt x="279" y="102"/>
                </a:moveTo>
                <a:cubicBezTo>
                  <a:pt x="278" y="102"/>
                  <a:pt x="281" y="102"/>
                  <a:pt x="281" y="102"/>
                </a:cubicBezTo>
                <a:cubicBezTo>
                  <a:pt x="280" y="103"/>
                  <a:pt x="279" y="102"/>
                  <a:pt x="279" y="102"/>
                </a:cubicBezTo>
                <a:close/>
                <a:moveTo>
                  <a:pt x="275" y="111"/>
                </a:moveTo>
                <a:cubicBezTo>
                  <a:pt x="275" y="111"/>
                  <a:pt x="275" y="111"/>
                  <a:pt x="274" y="110"/>
                </a:cubicBezTo>
                <a:cubicBezTo>
                  <a:pt x="275" y="111"/>
                  <a:pt x="275" y="111"/>
                  <a:pt x="275" y="111"/>
                </a:cubicBezTo>
                <a:cubicBezTo>
                  <a:pt x="275" y="111"/>
                  <a:pt x="275" y="111"/>
                  <a:pt x="275" y="111"/>
                </a:cubicBezTo>
                <a:close/>
                <a:moveTo>
                  <a:pt x="287" y="142"/>
                </a:moveTo>
                <a:cubicBezTo>
                  <a:pt x="286" y="143"/>
                  <a:pt x="284" y="140"/>
                  <a:pt x="286" y="140"/>
                </a:cubicBezTo>
                <a:cubicBezTo>
                  <a:pt x="287" y="139"/>
                  <a:pt x="288" y="141"/>
                  <a:pt x="287" y="142"/>
                </a:cubicBezTo>
                <a:close/>
                <a:moveTo>
                  <a:pt x="286" y="87"/>
                </a:moveTo>
                <a:cubicBezTo>
                  <a:pt x="287" y="87"/>
                  <a:pt x="287" y="88"/>
                  <a:pt x="286" y="89"/>
                </a:cubicBezTo>
                <a:cubicBezTo>
                  <a:pt x="286" y="89"/>
                  <a:pt x="285" y="88"/>
                  <a:pt x="286" y="87"/>
                </a:cubicBezTo>
                <a:close/>
                <a:moveTo>
                  <a:pt x="280" y="66"/>
                </a:moveTo>
                <a:cubicBezTo>
                  <a:pt x="282" y="65"/>
                  <a:pt x="285" y="69"/>
                  <a:pt x="286" y="70"/>
                </a:cubicBezTo>
                <a:cubicBezTo>
                  <a:pt x="284" y="71"/>
                  <a:pt x="279" y="68"/>
                  <a:pt x="280" y="66"/>
                </a:cubicBezTo>
                <a:close/>
                <a:moveTo>
                  <a:pt x="276" y="74"/>
                </a:moveTo>
                <a:cubicBezTo>
                  <a:pt x="278" y="76"/>
                  <a:pt x="275" y="73"/>
                  <a:pt x="276" y="74"/>
                </a:cubicBezTo>
                <a:close/>
                <a:moveTo>
                  <a:pt x="276" y="77"/>
                </a:moveTo>
                <a:cubicBezTo>
                  <a:pt x="276" y="77"/>
                  <a:pt x="276" y="77"/>
                  <a:pt x="276" y="77"/>
                </a:cubicBezTo>
                <a:cubicBezTo>
                  <a:pt x="276" y="77"/>
                  <a:pt x="276" y="77"/>
                  <a:pt x="275" y="77"/>
                </a:cubicBezTo>
                <a:cubicBezTo>
                  <a:pt x="276" y="77"/>
                  <a:pt x="276" y="77"/>
                  <a:pt x="276" y="77"/>
                </a:cubicBezTo>
                <a:close/>
                <a:moveTo>
                  <a:pt x="275" y="74"/>
                </a:moveTo>
                <a:cubicBezTo>
                  <a:pt x="274" y="74"/>
                  <a:pt x="273" y="72"/>
                  <a:pt x="271" y="72"/>
                </a:cubicBezTo>
                <a:cubicBezTo>
                  <a:pt x="272" y="71"/>
                  <a:pt x="274" y="73"/>
                  <a:pt x="275" y="74"/>
                </a:cubicBezTo>
                <a:close/>
                <a:moveTo>
                  <a:pt x="273" y="85"/>
                </a:moveTo>
                <a:cubicBezTo>
                  <a:pt x="273" y="86"/>
                  <a:pt x="271" y="85"/>
                  <a:pt x="270" y="85"/>
                </a:cubicBezTo>
                <a:cubicBezTo>
                  <a:pt x="268" y="83"/>
                  <a:pt x="274" y="82"/>
                  <a:pt x="273" y="85"/>
                </a:cubicBezTo>
                <a:close/>
                <a:moveTo>
                  <a:pt x="275" y="102"/>
                </a:moveTo>
                <a:cubicBezTo>
                  <a:pt x="272" y="100"/>
                  <a:pt x="270" y="98"/>
                  <a:pt x="268" y="95"/>
                </a:cubicBezTo>
                <a:cubicBezTo>
                  <a:pt x="271" y="97"/>
                  <a:pt x="273" y="99"/>
                  <a:pt x="275" y="102"/>
                </a:cubicBezTo>
                <a:close/>
                <a:moveTo>
                  <a:pt x="268" y="117"/>
                </a:moveTo>
                <a:cubicBezTo>
                  <a:pt x="268" y="118"/>
                  <a:pt x="267" y="117"/>
                  <a:pt x="267" y="116"/>
                </a:cubicBezTo>
                <a:cubicBezTo>
                  <a:pt x="265" y="115"/>
                  <a:pt x="269" y="116"/>
                  <a:pt x="268" y="117"/>
                </a:cubicBezTo>
                <a:close/>
                <a:moveTo>
                  <a:pt x="268" y="58"/>
                </a:moveTo>
                <a:cubicBezTo>
                  <a:pt x="269" y="59"/>
                  <a:pt x="266" y="57"/>
                  <a:pt x="268" y="58"/>
                </a:cubicBezTo>
                <a:close/>
                <a:moveTo>
                  <a:pt x="267" y="98"/>
                </a:moveTo>
                <a:cubicBezTo>
                  <a:pt x="267" y="98"/>
                  <a:pt x="265" y="98"/>
                  <a:pt x="265" y="97"/>
                </a:cubicBezTo>
                <a:cubicBezTo>
                  <a:pt x="265" y="97"/>
                  <a:pt x="267" y="98"/>
                  <a:pt x="267" y="98"/>
                </a:cubicBezTo>
                <a:close/>
                <a:moveTo>
                  <a:pt x="266" y="51"/>
                </a:moveTo>
                <a:cubicBezTo>
                  <a:pt x="265" y="52"/>
                  <a:pt x="262" y="52"/>
                  <a:pt x="260" y="51"/>
                </a:cubicBezTo>
                <a:cubicBezTo>
                  <a:pt x="262" y="50"/>
                  <a:pt x="264" y="51"/>
                  <a:pt x="266" y="51"/>
                </a:cubicBezTo>
                <a:close/>
                <a:moveTo>
                  <a:pt x="260" y="153"/>
                </a:moveTo>
                <a:cubicBezTo>
                  <a:pt x="260" y="153"/>
                  <a:pt x="260" y="153"/>
                  <a:pt x="260" y="153"/>
                </a:cubicBezTo>
                <a:cubicBezTo>
                  <a:pt x="260" y="153"/>
                  <a:pt x="260" y="153"/>
                  <a:pt x="260" y="153"/>
                </a:cubicBezTo>
                <a:cubicBezTo>
                  <a:pt x="260" y="153"/>
                  <a:pt x="260" y="153"/>
                  <a:pt x="260" y="153"/>
                </a:cubicBezTo>
                <a:close/>
                <a:moveTo>
                  <a:pt x="260" y="181"/>
                </a:moveTo>
                <a:cubicBezTo>
                  <a:pt x="261" y="181"/>
                  <a:pt x="262" y="183"/>
                  <a:pt x="261" y="183"/>
                </a:cubicBezTo>
                <a:cubicBezTo>
                  <a:pt x="261" y="184"/>
                  <a:pt x="259" y="182"/>
                  <a:pt x="260" y="181"/>
                </a:cubicBezTo>
                <a:close/>
                <a:moveTo>
                  <a:pt x="260" y="152"/>
                </a:moveTo>
                <a:cubicBezTo>
                  <a:pt x="259" y="152"/>
                  <a:pt x="259" y="152"/>
                  <a:pt x="260" y="152"/>
                </a:cubicBezTo>
                <a:close/>
                <a:moveTo>
                  <a:pt x="259" y="202"/>
                </a:moveTo>
                <a:cubicBezTo>
                  <a:pt x="261" y="201"/>
                  <a:pt x="259" y="205"/>
                  <a:pt x="259" y="202"/>
                </a:cubicBezTo>
                <a:close/>
                <a:moveTo>
                  <a:pt x="259" y="152"/>
                </a:moveTo>
                <a:cubicBezTo>
                  <a:pt x="258" y="151"/>
                  <a:pt x="257" y="150"/>
                  <a:pt x="257" y="148"/>
                </a:cubicBezTo>
                <a:cubicBezTo>
                  <a:pt x="258" y="149"/>
                  <a:pt x="259" y="150"/>
                  <a:pt x="259" y="152"/>
                </a:cubicBezTo>
                <a:close/>
                <a:moveTo>
                  <a:pt x="255" y="100"/>
                </a:moveTo>
                <a:cubicBezTo>
                  <a:pt x="256" y="100"/>
                  <a:pt x="257" y="102"/>
                  <a:pt x="255" y="103"/>
                </a:cubicBezTo>
                <a:cubicBezTo>
                  <a:pt x="254" y="103"/>
                  <a:pt x="252" y="100"/>
                  <a:pt x="255" y="100"/>
                </a:cubicBezTo>
                <a:close/>
                <a:moveTo>
                  <a:pt x="255" y="196"/>
                </a:moveTo>
                <a:cubicBezTo>
                  <a:pt x="256" y="196"/>
                  <a:pt x="255" y="198"/>
                  <a:pt x="255" y="198"/>
                </a:cubicBezTo>
                <a:cubicBezTo>
                  <a:pt x="254" y="198"/>
                  <a:pt x="254" y="196"/>
                  <a:pt x="255" y="196"/>
                </a:cubicBezTo>
                <a:close/>
                <a:moveTo>
                  <a:pt x="253" y="79"/>
                </a:moveTo>
                <a:cubicBezTo>
                  <a:pt x="252" y="82"/>
                  <a:pt x="243" y="80"/>
                  <a:pt x="246" y="76"/>
                </a:cubicBezTo>
                <a:cubicBezTo>
                  <a:pt x="245" y="77"/>
                  <a:pt x="242" y="76"/>
                  <a:pt x="242" y="75"/>
                </a:cubicBezTo>
                <a:cubicBezTo>
                  <a:pt x="243" y="73"/>
                  <a:pt x="247" y="74"/>
                  <a:pt x="246" y="76"/>
                </a:cubicBezTo>
                <a:cubicBezTo>
                  <a:pt x="247" y="74"/>
                  <a:pt x="253" y="76"/>
                  <a:pt x="253" y="79"/>
                </a:cubicBezTo>
                <a:close/>
                <a:moveTo>
                  <a:pt x="249" y="118"/>
                </a:moveTo>
                <a:cubicBezTo>
                  <a:pt x="248" y="119"/>
                  <a:pt x="247" y="117"/>
                  <a:pt x="248" y="116"/>
                </a:cubicBezTo>
                <a:cubicBezTo>
                  <a:pt x="249" y="116"/>
                  <a:pt x="250" y="118"/>
                  <a:pt x="249" y="118"/>
                </a:cubicBezTo>
                <a:close/>
                <a:moveTo>
                  <a:pt x="244" y="88"/>
                </a:moveTo>
                <a:cubicBezTo>
                  <a:pt x="244" y="88"/>
                  <a:pt x="243" y="87"/>
                  <a:pt x="244" y="87"/>
                </a:cubicBezTo>
                <a:cubicBezTo>
                  <a:pt x="245" y="85"/>
                  <a:pt x="247" y="90"/>
                  <a:pt x="244" y="88"/>
                </a:cubicBezTo>
                <a:close/>
                <a:moveTo>
                  <a:pt x="244" y="70"/>
                </a:moveTo>
                <a:cubicBezTo>
                  <a:pt x="246" y="70"/>
                  <a:pt x="244" y="73"/>
                  <a:pt x="244" y="70"/>
                </a:cubicBezTo>
                <a:close/>
                <a:moveTo>
                  <a:pt x="248" y="64"/>
                </a:moveTo>
                <a:cubicBezTo>
                  <a:pt x="249" y="65"/>
                  <a:pt x="246" y="64"/>
                  <a:pt x="248" y="64"/>
                </a:cubicBezTo>
                <a:close/>
                <a:moveTo>
                  <a:pt x="243" y="69"/>
                </a:moveTo>
                <a:cubicBezTo>
                  <a:pt x="246" y="69"/>
                  <a:pt x="249" y="70"/>
                  <a:pt x="251" y="71"/>
                </a:cubicBezTo>
                <a:cubicBezTo>
                  <a:pt x="250" y="71"/>
                  <a:pt x="248" y="70"/>
                  <a:pt x="246" y="70"/>
                </a:cubicBezTo>
                <a:cubicBezTo>
                  <a:pt x="246" y="70"/>
                  <a:pt x="246" y="70"/>
                  <a:pt x="246" y="70"/>
                </a:cubicBezTo>
                <a:cubicBezTo>
                  <a:pt x="246" y="70"/>
                  <a:pt x="246" y="70"/>
                  <a:pt x="246" y="70"/>
                </a:cubicBezTo>
                <a:cubicBezTo>
                  <a:pt x="245" y="69"/>
                  <a:pt x="244" y="69"/>
                  <a:pt x="243" y="69"/>
                </a:cubicBezTo>
                <a:cubicBezTo>
                  <a:pt x="243" y="69"/>
                  <a:pt x="243" y="70"/>
                  <a:pt x="242" y="69"/>
                </a:cubicBezTo>
                <a:cubicBezTo>
                  <a:pt x="242" y="69"/>
                  <a:pt x="242" y="69"/>
                  <a:pt x="242" y="69"/>
                </a:cubicBezTo>
                <a:cubicBezTo>
                  <a:pt x="242" y="69"/>
                  <a:pt x="242" y="69"/>
                  <a:pt x="242" y="69"/>
                </a:cubicBezTo>
                <a:cubicBezTo>
                  <a:pt x="242" y="68"/>
                  <a:pt x="242" y="68"/>
                  <a:pt x="242" y="68"/>
                </a:cubicBezTo>
                <a:cubicBezTo>
                  <a:pt x="242" y="68"/>
                  <a:pt x="243" y="68"/>
                  <a:pt x="243" y="69"/>
                </a:cubicBezTo>
                <a:close/>
                <a:moveTo>
                  <a:pt x="242" y="89"/>
                </a:moveTo>
                <a:cubicBezTo>
                  <a:pt x="241" y="88"/>
                  <a:pt x="243" y="90"/>
                  <a:pt x="242" y="89"/>
                </a:cubicBezTo>
                <a:close/>
                <a:moveTo>
                  <a:pt x="234" y="66"/>
                </a:moveTo>
                <a:cubicBezTo>
                  <a:pt x="234" y="64"/>
                  <a:pt x="234" y="63"/>
                  <a:pt x="235" y="62"/>
                </a:cubicBezTo>
                <a:cubicBezTo>
                  <a:pt x="238" y="60"/>
                  <a:pt x="242" y="65"/>
                  <a:pt x="241" y="67"/>
                </a:cubicBezTo>
                <a:cubicBezTo>
                  <a:pt x="240" y="69"/>
                  <a:pt x="235" y="67"/>
                  <a:pt x="234" y="66"/>
                </a:cubicBezTo>
                <a:close/>
                <a:moveTo>
                  <a:pt x="246" y="122"/>
                </a:moveTo>
                <a:cubicBezTo>
                  <a:pt x="245" y="123"/>
                  <a:pt x="241" y="118"/>
                  <a:pt x="241" y="117"/>
                </a:cubicBezTo>
                <a:cubicBezTo>
                  <a:pt x="239" y="112"/>
                  <a:pt x="247" y="121"/>
                  <a:pt x="246" y="122"/>
                </a:cubicBezTo>
                <a:close/>
                <a:moveTo>
                  <a:pt x="242" y="252"/>
                </a:moveTo>
                <a:cubicBezTo>
                  <a:pt x="242" y="252"/>
                  <a:pt x="245" y="257"/>
                  <a:pt x="243" y="256"/>
                </a:cubicBezTo>
                <a:cubicBezTo>
                  <a:pt x="242" y="256"/>
                  <a:pt x="242" y="251"/>
                  <a:pt x="242" y="251"/>
                </a:cubicBezTo>
                <a:cubicBezTo>
                  <a:pt x="240" y="247"/>
                  <a:pt x="237" y="245"/>
                  <a:pt x="237" y="241"/>
                </a:cubicBezTo>
                <a:cubicBezTo>
                  <a:pt x="240" y="242"/>
                  <a:pt x="242" y="250"/>
                  <a:pt x="242" y="252"/>
                </a:cubicBezTo>
                <a:close/>
                <a:moveTo>
                  <a:pt x="241" y="246"/>
                </a:moveTo>
                <a:cubicBezTo>
                  <a:pt x="242" y="246"/>
                  <a:pt x="243" y="248"/>
                  <a:pt x="242" y="248"/>
                </a:cubicBezTo>
                <a:cubicBezTo>
                  <a:pt x="242" y="248"/>
                  <a:pt x="241" y="247"/>
                  <a:pt x="241" y="246"/>
                </a:cubicBezTo>
                <a:close/>
                <a:moveTo>
                  <a:pt x="244" y="213"/>
                </a:moveTo>
                <a:cubicBezTo>
                  <a:pt x="243" y="213"/>
                  <a:pt x="243" y="213"/>
                  <a:pt x="243" y="213"/>
                </a:cubicBezTo>
                <a:cubicBezTo>
                  <a:pt x="241" y="212"/>
                  <a:pt x="244" y="211"/>
                  <a:pt x="244" y="213"/>
                </a:cubicBezTo>
                <a:close/>
                <a:moveTo>
                  <a:pt x="241" y="158"/>
                </a:moveTo>
                <a:cubicBezTo>
                  <a:pt x="240" y="157"/>
                  <a:pt x="243" y="158"/>
                  <a:pt x="242" y="159"/>
                </a:cubicBezTo>
                <a:cubicBezTo>
                  <a:pt x="242" y="159"/>
                  <a:pt x="242" y="158"/>
                  <a:pt x="241" y="158"/>
                </a:cubicBezTo>
                <a:close/>
                <a:moveTo>
                  <a:pt x="243" y="148"/>
                </a:moveTo>
                <a:cubicBezTo>
                  <a:pt x="244" y="147"/>
                  <a:pt x="245" y="149"/>
                  <a:pt x="244" y="149"/>
                </a:cubicBezTo>
                <a:cubicBezTo>
                  <a:pt x="244" y="149"/>
                  <a:pt x="243" y="148"/>
                  <a:pt x="243" y="148"/>
                </a:cubicBezTo>
                <a:close/>
                <a:moveTo>
                  <a:pt x="244" y="215"/>
                </a:moveTo>
                <a:cubicBezTo>
                  <a:pt x="244" y="215"/>
                  <a:pt x="246" y="216"/>
                  <a:pt x="245" y="216"/>
                </a:cubicBezTo>
                <a:cubicBezTo>
                  <a:pt x="244" y="216"/>
                  <a:pt x="244" y="216"/>
                  <a:pt x="244" y="215"/>
                </a:cubicBezTo>
                <a:close/>
                <a:moveTo>
                  <a:pt x="230" y="166"/>
                </a:moveTo>
                <a:cubicBezTo>
                  <a:pt x="228" y="160"/>
                  <a:pt x="236" y="159"/>
                  <a:pt x="238" y="164"/>
                </a:cubicBezTo>
                <a:cubicBezTo>
                  <a:pt x="242" y="171"/>
                  <a:pt x="232" y="172"/>
                  <a:pt x="230" y="166"/>
                </a:cubicBezTo>
                <a:close/>
                <a:moveTo>
                  <a:pt x="236" y="177"/>
                </a:moveTo>
                <a:cubicBezTo>
                  <a:pt x="236" y="178"/>
                  <a:pt x="235" y="177"/>
                  <a:pt x="234" y="177"/>
                </a:cubicBezTo>
                <a:cubicBezTo>
                  <a:pt x="235" y="176"/>
                  <a:pt x="236" y="177"/>
                  <a:pt x="236" y="177"/>
                </a:cubicBezTo>
                <a:close/>
                <a:moveTo>
                  <a:pt x="234" y="190"/>
                </a:moveTo>
                <a:cubicBezTo>
                  <a:pt x="233" y="190"/>
                  <a:pt x="234" y="188"/>
                  <a:pt x="234" y="190"/>
                </a:cubicBezTo>
                <a:close/>
                <a:moveTo>
                  <a:pt x="230" y="190"/>
                </a:moveTo>
                <a:cubicBezTo>
                  <a:pt x="231" y="189"/>
                  <a:pt x="233" y="191"/>
                  <a:pt x="233" y="191"/>
                </a:cubicBezTo>
                <a:cubicBezTo>
                  <a:pt x="232" y="192"/>
                  <a:pt x="230" y="190"/>
                  <a:pt x="230" y="190"/>
                </a:cubicBezTo>
                <a:close/>
                <a:moveTo>
                  <a:pt x="232" y="199"/>
                </a:moveTo>
                <a:cubicBezTo>
                  <a:pt x="232" y="200"/>
                  <a:pt x="231" y="198"/>
                  <a:pt x="232" y="198"/>
                </a:cubicBezTo>
                <a:cubicBezTo>
                  <a:pt x="232" y="199"/>
                  <a:pt x="232" y="199"/>
                  <a:pt x="232" y="199"/>
                </a:cubicBezTo>
                <a:close/>
                <a:moveTo>
                  <a:pt x="232" y="179"/>
                </a:moveTo>
                <a:cubicBezTo>
                  <a:pt x="232" y="179"/>
                  <a:pt x="233" y="179"/>
                  <a:pt x="233" y="180"/>
                </a:cubicBezTo>
                <a:cubicBezTo>
                  <a:pt x="233" y="180"/>
                  <a:pt x="231" y="180"/>
                  <a:pt x="232" y="179"/>
                </a:cubicBezTo>
                <a:close/>
                <a:moveTo>
                  <a:pt x="238" y="100"/>
                </a:moveTo>
                <a:cubicBezTo>
                  <a:pt x="238" y="100"/>
                  <a:pt x="238" y="100"/>
                  <a:pt x="238" y="100"/>
                </a:cubicBezTo>
                <a:cubicBezTo>
                  <a:pt x="238" y="100"/>
                  <a:pt x="239" y="101"/>
                  <a:pt x="238" y="100"/>
                </a:cubicBezTo>
                <a:close/>
                <a:moveTo>
                  <a:pt x="235" y="107"/>
                </a:moveTo>
                <a:cubicBezTo>
                  <a:pt x="235" y="107"/>
                  <a:pt x="234" y="109"/>
                  <a:pt x="234" y="107"/>
                </a:cubicBezTo>
                <a:cubicBezTo>
                  <a:pt x="234" y="108"/>
                  <a:pt x="233" y="106"/>
                  <a:pt x="235" y="107"/>
                </a:cubicBezTo>
                <a:close/>
                <a:moveTo>
                  <a:pt x="231" y="104"/>
                </a:moveTo>
                <a:cubicBezTo>
                  <a:pt x="233" y="103"/>
                  <a:pt x="233" y="107"/>
                  <a:pt x="231" y="107"/>
                </a:cubicBezTo>
                <a:cubicBezTo>
                  <a:pt x="230" y="107"/>
                  <a:pt x="229" y="104"/>
                  <a:pt x="231" y="104"/>
                </a:cubicBezTo>
                <a:close/>
                <a:moveTo>
                  <a:pt x="238" y="120"/>
                </a:moveTo>
                <a:cubicBezTo>
                  <a:pt x="238" y="124"/>
                  <a:pt x="230" y="122"/>
                  <a:pt x="229" y="120"/>
                </a:cubicBezTo>
                <a:cubicBezTo>
                  <a:pt x="223" y="112"/>
                  <a:pt x="239" y="113"/>
                  <a:pt x="238" y="120"/>
                </a:cubicBezTo>
                <a:close/>
                <a:moveTo>
                  <a:pt x="233" y="134"/>
                </a:moveTo>
                <a:cubicBezTo>
                  <a:pt x="233" y="133"/>
                  <a:pt x="234" y="135"/>
                  <a:pt x="234" y="135"/>
                </a:cubicBezTo>
                <a:cubicBezTo>
                  <a:pt x="232" y="136"/>
                  <a:pt x="232" y="133"/>
                  <a:pt x="231" y="132"/>
                </a:cubicBezTo>
                <a:cubicBezTo>
                  <a:pt x="230" y="130"/>
                  <a:pt x="226" y="126"/>
                  <a:pt x="225" y="122"/>
                </a:cubicBezTo>
                <a:cubicBezTo>
                  <a:pt x="228" y="124"/>
                  <a:pt x="232" y="131"/>
                  <a:pt x="233" y="134"/>
                </a:cubicBezTo>
                <a:close/>
                <a:moveTo>
                  <a:pt x="226" y="205"/>
                </a:moveTo>
                <a:cubicBezTo>
                  <a:pt x="227" y="204"/>
                  <a:pt x="227" y="206"/>
                  <a:pt x="227" y="206"/>
                </a:cubicBezTo>
                <a:cubicBezTo>
                  <a:pt x="226" y="206"/>
                  <a:pt x="226" y="205"/>
                  <a:pt x="226" y="205"/>
                </a:cubicBezTo>
                <a:close/>
                <a:moveTo>
                  <a:pt x="226" y="130"/>
                </a:moveTo>
                <a:cubicBezTo>
                  <a:pt x="226" y="130"/>
                  <a:pt x="225" y="129"/>
                  <a:pt x="226" y="129"/>
                </a:cubicBezTo>
                <a:cubicBezTo>
                  <a:pt x="226" y="129"/>
                  <a:pt x="226" y="130"/>
                  <a:pt x="226" y="130"/>
                </a:cubicBezTo>
                <a:close/>
                <a:moveTo>
                  <a:pt x="226" y="159"/>
                </a:moveTo>
                <a:cubicBezTo>
                  <a:pt x="224" y="159"/>
                  <a:pt x="226" y="158"/>
                  <a:pt x="226" y="159"/>
                </a:cubicBezTo>
                <a:close/>
                <a:moveTo>
                  <a:pt x="225" y="158"/>
                </a:moveTo>
                <a:cubicBezTo>
                  <a:pt x="224" y="159"/>
                  <a:pt x="222" y="157"/>
                  <a:pt x="221" y="157"/>
                </a:cubicBezTo>
                <a:cubicBezTo>
                  <a:pt x="222" y="156"/>
                  <a:pt x="224" y="158"/>
                  <a:pt x="225" y="158"/>
                </a:cubicBezTo>
                <a:close/>
                <a:moveTo>
                  <a:pt x="224" y="169"/>
                </a:moveTo>
                <a:cubicBezTo>
                  <a:pt x="225" y="170"/>
                  <a:pt x="224" y="174"/>
                  <a:pt x="225" y="175"/>
                </a:cubicBezTo>
                <a:cubicBezTo>
                  <a:pt x="226" y="178"/>
                  <a:pt x="226" y="177"/>
                  <a:pt x="223" y="179"/>
                </a:cubicBezTo>
                <a:cubicBezTo>
                  <a:pt x="221" y="182"/>
                  <a:pt x="216" y="182"/>
                  <a:pt x="217" y="178"/>
                </a:cubicBezTo>
                <a:cubicBezTo>
                  <a:pt x="222" y="179"/>
                  <a:pt x="215" y="177"/>
                  <a:pt x="214" y="175"/>
                </a:cubicBezTo>
                <a:cubicBezTo>
                  <a:pt x="213" y="175"/>
                  <a:pt x="213" y="169"/>
                  <a:pt x="214" y="168"/>
                </a:cubicBezTo>
                <a:cubicBezTo>
                  <a:pt x="217" y="164"/>
                  <a:pt x="222" y="166"/>
                  <a:pt x="224" y="169"/>
                </a:cubicBezTo>
                <a:close/>
                <a:moveTo>
                  <a:pt x="212" y="179"/>
                </a:moveTo>
                <a:cubicBezTo>
                  <a:pt x="213" y="179"/>
                  <a:pt x="213" y="182"/>
                  <a:pt x="212" y="181"/>
                </a:cubicBezTo>
                <a:cubicBezTo>
                  <a:pt x="211" y="181"/>
                  <a:pt x="211" y="180"/>
                  <a:pt x="212" y="179"/>
                </a:cubicBezTo>
                <a:close/>
                <a:moveTo>
                  <a:pt x="211" y="154"/>
                </a:moveTo>
                <a:cubicBezTo>
                  <a:pt x="212" y="153"/>
                  <a:pt x="213" y="154"/>
                  <a:pt x="213" y="155"/>
                </a:cubicBezTo>
                <a:cubicBezTo>
                  <a:pt x="213" y="155"/>
                  <a:pt x="212" y="154"/>
                  <a:pt x="211" y="154"/>
                </a:cubicBezTo>
                <a:close/>
                <a:moveTo>
                  <a:pt x="214" y="225"/>
                </a:moveTo>
                <a:cubicBezTo>
                  <a:pt x="213" y="224"/>
                  <a:pt x="212" y="223"/>
                  <a:pt x="212" y="221"/>
                </a:cubicBezTo>
                <a:cubicBezTo>
                  <a:pt x="212" y="223"/>
                  <a:pt x="214" y="223"/>
                  <a:pt x="214" y="225"/>
                </a:cubicBezTo>
                <a:close/>
                <a:moveTo>
                  <a:pt x="213" y="174"/>
                </a:moveTo>
                <a:cubicBezTo>
                  <a:pt x="212" y="176"/>
                  <a:pt x="218" y="182"/>
                  <a:pt x="216" y="182"/>
                </a:cubicBezTo>
                <a:cubicBezTo>
                  <a:pt x="215" y="182"/>
                  <a:pt x="211" y="176"/>
                  <a:pt x="213" y="174"/>
                </a:cubicBezTo>
                <a:close/>
                <a:moveTo>
                  <a:pt x="219" y="185"/>
                </a:moveTo>
                <a:cubicBezTo>
                  <a:pt x="218" y="186"/>
                  <a:pt x="216" y="185"/>
                  <a:pt x="216" y="184"/>
                </a:cubicBezTo>
                <a:cubicBezTo>
                  <a:pt x="214" y="182"/>
                  <a:pt x="220" y="182"/>
                  <a:pt x="219" y="185"/>
                </a:cubicBezTo>
                <a:close/>
                <a:moveTo>
                  <a:pt x="217" y="156"/>
                </a:moveTo>
                <a:cubicBezTo>
                  <a:pt x="217" y="156"/>
                  <a:pt x="217" y="156"/>
                  <a:pt x="217" y="156"/>
                </a:cubicBezTo>
                <a:cubicBezTo>
                  <a:pt x="215" y="155"/>
                  <a:pt x="219" y="156"/>
                  <a:pt x="217" y="156"/>
                </a:cubicBezTo>
                <a:close/>
                <a:moveTo>
                  <a:pt x="216" y="132"/>
                </a:moveTo>
                <a:cubicBezTo>
                  <a:pt x="216" y="133"/>
                  <a:pt x="215" y="133"/>
                  <a:pt x="214" y="132"/>
                </a:cubicBezTo>
                <a:cubicBezTo>
                  <a:pt x="213" y="131"/>
                  <a:pt x="216" y="130"/>
                  <a:pt x="216" y="132"/>
                </a:cubicBezTo>
                <a:close/>
                <a:moveTo>
                  <a:pt x="216" y="146"/>
                </a:moveTo>
                <a:cubicBezTo>
                  <a:pt x="216" y="147"/>
                  <a:pt x="215" y="146"/>
                  <a:pt x="215" y="146"/>
                </a:cubicBezTo>
                <a:cubicBezTo>
                  <a:pt x="213" y="145"/>
                  <a:pt x="216" y="145"/>
                  <a:pt x="216" y="146"/>
                </a:cubicBezTo>
                <a:close/>
                <a:moveTo>
                  <a:pt x="220" y="156"/>
                </a:moveTo>
                <a:cubicBezTo>
                  <a:pt x="217" y="155"/>
                  <a:pt x="214" y="154"/>
                  <a:pt x="211" y="152"/>
                </a:cubicBezTo>
                <a:cubicBezTo>
                  <a:pt x="214" y="152"/>
                  <a:pt x="218" y="154"/>
                  <a:pt x="220" y="156"/>
                </a:cubicBezTo>
                <a:close/>
                <a:moveTo>
                  <a:pt x="212" y="115"/>
                </a:moveTo>
                <a:cubicBezTo>
                  <a:pt x="212" y="117"/>
                  <a:pt x="209" y="116"/>
                  <a:pt x="209" y="115"/>
                </a:cubicBezTo>
                <a:cubicBezTo>
                  <a:pt x="207" y="112"/>
                  <a:pt x="212" y="112"/>
                  <a:pt x="212" y="115"/>
                </a:cubicBezTo>
                <a:close/>
                <a:moveTo>
                  <a:pt x="210" y="146"/>
                </a:moveTo>
                <a:cubicBezTo>
                  <a:pt x="209" y="146"/>
                  <a:pt x="209" y="145"/>
                  <a:pt x="209" y="144"/>
                </a:cubicBezTo>
                <a:cubicBezTo>
                  <a:pt x="209" y="144"/>
                  <a:pt x="210" y="146"/>
                  <a:pt x="210" y="146"/>
                </a:cubicBezTo>
                <a:close/>
                <a:moveTo>
                  <a:pt x="209" y="150"/>
                </a:moveTo>
                <a:cubicBezTo>
                  <a:pt x="207" y="148"/>
                  <a:pt x="210" y="149"/>
                  <a:pt x="209" y="150"/>
                </a:cubicBezTo>
                <a:close/>
                <a:moveTo>
                  <a:pt x="207" y="167"/>
                </a:moveTo>
                <a:cubicBezTo>
                  <a:pt x="207" y="167"/>
                  <a:pt x="207" y="167"/>
                  <a:pt x="207" y="167"/>
                </a:cubicBezTo>
                <a:cubicBezTo>
                  <a:pt x="209" y="166"/>
                  <a:pt x="206" y="169"/>
                  <a:pt x="207" y="167"/>
                </a:cubicBezTo>
                <a:close/>
                <a:moveTo>
                  <a:pt x="204" y="221"/>
                </a:moveTo>
                <a:cubicBezTo>
                  <a:pt x="205" y="220"/>
                  <a:pt x="206" y="222"/>
                  <a:pt x="205" y="222"/>
                </a:cubicBezTo>
                <a:cubicBezTo>
                  <a:pt x="204" y="222"/>
                  <a:pt x="204" y="221"/>
                  <a:pt x="204" y="221"/>
                </a:cubicBezTo>
                <a:close/>
                <a:moveTo>
                  <a:pt x="204" y="239"/>
                </a:moveTo>
                <a:cubicBezTo>
                  <a:pt x="205" y="239"/>
                  <a:pt x="206" y="241"/>
                  <a:pt x="205" y="242"/>
                </a:cubicBezTo>
                <a:cubicBezTo>
                  <a:pt x="204" y="242"/>
                  <a:pt x="202" y="240"/>
                  <a:pt x="204" y="239"/>
                </a:cubicBezTo>
                <a:close/>
                <a:moveTo>
                  <a:pt x="203" y="346"/>
                </a:moveTo>
                <a:cubicBezTo>
                  <a:pt x="205" y="346"/>
                  <a:pt x="205" y="348"/>
                  <a:pt x="203" y="346"/>
                </a:cubicBezTo>
                <a:close/>
                <a:moveTo>
                  <a:pt x="202" y="233"/>
                </a:moveTo>
                <a:cubicBezTo>
                  <a:pt x="202" y="233"/>
                  <a:pt x="203" y="235"/>
                  <a:pt x="202" y="235"/>
                </a:cubicBezTo>
                <a:cubicBezTo>
                  <a:pt x="202" y="235"/>
                  <a:pt x="201" y="233"/>
                  <a:pt x="202" y="233"/>
                </a:cubicBezTo>
                <a:close/>
                <a:moveTo>
                  <a:pt x="202" y="232"/>
                </a:moveTo>
                <a:cubicBezTo>
                  <a:pt x="200" y="232"/>
                  <a:pt x="202" y="231"/>
                  <a:pt x="202" y="232"/>
                </a:cubicBezTo>
                <a:close/>
                <a:moveTo>
                  <a:pt x="202" y="345"/>
                </a:moveTo>
                <a:cubicBezTo>
                  <a:pt x="204" y="347"/>
                  <a:pt x="201" y="343"/>
                  <a:pt x="202" y="345"/>
                </a:cubicBezTo>
                <a:close/>
                <a:moveTo>
                  <a:pt x="201" y="171"/>
                </a:moveTo>
                <a:cubicBezTo>
                  <a:pt x="201" y="172"/>
                  <a:pt x="203" y="172"/>
                  <a:pt x="202" y="173"/>
                </a:cubicBezTo>
                <a:cubicBezTo>
                  <a:pt x="202" y="174"/>
                  <a:pt x="200" y="171"/>
                  <a:pt x="201" y="171"/>
                </a:cubicBezTo>
                <a:close/>
                <a:moveTo>
                  <a:pt x="200" y="182"/>
                </a:moveTo>
                <a:cubicBezTo>
                  <a:pt x="201" y="181"/>
                  <a:pt x="202" y="184"/>
                  <a:pt x="201" y="184"/>
                </a:cubicBezTo>
                <a:cubicBezTo>
                  <a:pt x="199" y="185"/>
                  <a:pt x="200" y="182"/>
                  <a:pt x="200" y="182"/>
                </a:cubicBezTo>
                <a:close/>
                <a:moveTo>
                  <a:pt x="199" y="304"/>
                </a:moveTo>
                <a:cubicBezTo>
                  <a:pt x="198" y="304"/>
                  <a:pt x="198" y="302"/>
                  <a:pt x="199" y="302"/>
                </a:cubicBezTo>
                <a:cubicBezTo>
                  <a:pt x="200" y="302"/>
                  <a:pt x="200" y="304"/>
                  <a:pt x="199" y="304"/>
                </a:cubicBezTo>
                <a:close/>
                <a:moveTo>
                  <a:pt x="200" y="321"/>
                </a:moveTo>
                <a:cubicBezTo>
                  <a:pt x="200" y="321"/>
                  <a:pt x="200" y="321"/>
                  <a:pt x="200" y="321"/>
                </a:cubicBezTo>
                <a:cubicBezTo>
                  <a:pt x="200" y="321"/>
                  <a:pt x="200" y="321"/>
                  <a:pt x="200" y="321"/>
                </a:cubicBezTo>
                <a:cubicBezTo>
                  <a:pt x="200" y="321"/>
                  <a:pt x="200" y="321"/>
                  <a:pt x="200" y="321"/>
                </a:cubicBezTo>
                <a:close/>
                <a:moveTo>
                  <a:pt x="198" y="238"/>
                </a:moveTo>
                <a:cubicBezTo>
                  <a:pt x="199" y="239"/>
                  <a:pt x="200" y="240"/>
                  <a:pt x="201" y="242"/>
                </a:cubicBezTo>
                <a:cubicBezTo>
                  <a:pt x="199" y="241"/>
                  <a:pt x="198" y="240"/>
                  <a:pt x="198" y="238"/>
                </a:cubicBezTo>
                <a:close/>
                <a:moveTo>
                  <a:pt x="198" y="266"/>
                </a:moveTo>
                <a:cubicBezTo>
                  <a:pt x="197" y="267"/>
                  <a:pt x="197" y="265"/>
                  <a:pt x="197" y="265"/>
                </a:cubicBezTo>
                <a:cubicBezTo>
                  <a:pt x="197" y="265"/>
                  <a:pt x="199" y="266"/>
                  <a:pt x="198" y="266"/>
                </a:cubicBezTo>
                <a:close/>
                <a:moveTo>
                  <a:pt x="199" y="228"/>
                </a:moveTo>
                <a:cubicBezTo>
                  <a:pt x="197" y="229"/>
                  <a:pt x="195" y="222"/>
                  <a:pt x="198" y="222"/>
                </a:cubicBezTo>
                <a:cubicBezTo>
                  <a:pt x="201" y="222"/>
                  <a:pt x="201" y="228"/>
                  <a:pt x="199" y="228"/>
                </a:cubicBezTo>
                <a:close/>
                <a:moveTo>
                  <a:pt x="197" y="165"/>
                </a:moveTo>
                <a:cubicBezTo>
                  <a:pt x="198" y="165"/>
                  <a:pt x="201" y="171"/>
                  <a:pt x="198" y="172"/>
                </a:cubicBezTo>
                <a:cubicBezTo>
                  <a:pt x="194" y="173"/>
                  <a:pt x="192" y="164"/>
                  <a:pt x="197" y="165"/>
                </a:cubicBezTo>
                <a:close/>
                <a:moveTo>
                  <a:pt x="196" y="264"/>
                </a:moveTo>
                <a:cubicBezTo>
                  <a:pt x="195" y="263"/>
                  <a:pt x="195" y="262"/>
                  <a:pt x="194" y="261"/>
                </a:cubicBezTo>
                <a:cubicBezTo>
                  <a:pt x="195" y="261"/>
                  <a:pt x="196" y="263"/>
                  <a:pt x="196" y="264"/>
                </a:cubicBezTo>
                <a:close/>
                <a:moveTo>
                  <a:pt x="194" y="242"/>
                </a:moveTo>
                <a:cubicBezTo>
                  <a:pt x="194" y="242"/>
                  <a:pt x="194" y="242"/>
                  <a:pt x="194" y="242"/>
                </a:cubicBezTo>
                <a:cubicBezTo>
                  <a:pt x="196" y="241"/>
                  <a:pt x="192" y="244"/>
                  <a:pt x="194" y="242"/>
                </a:cubicBezTo>
                <a:close/>
                <a:moveTo>
                  <a:pt x="194" y="188"/>
                </a:moveTo>
                <a:cubicBezTo>
                  <a:pt x="195" y="188"/>
                  <a:pt x="195" y="191"/>
                  <a:pt x="194" y="191"/>
                </a:cubicBezTo>
                <a:cubicBezTo>
                  <a:pt x="193" y="191"/>
                  <a:pt x="192" y="188"/>
                  <a:pt x="194" y="188"/>
                </a:cubicBezTo>
                <a:close/>
                <a:moveTo>
                  <a:pt x="192" y="192"/>
                </a:moveTo>
                <a:cubicBezTo>
                  <a:pt x="190" y="193"/>
                  <a:pt x="193" y="192"/>
                  <a:pt x="192" y="192"/>
                </a:cubicBezTo>
                <a:close/>
                <a:moveTo>
                  <a:pt x="191" y="224"/>
                </a:moveTo>
                <a:cubicBezTo>
                  <a:pt x="191" y="225"/>
                  <a:pt x="190" y="223"/>
                  <a:pt x="190" y="223"/>
                </a:cubicBezTo>
                <a:cubicBezTo>
                  <a:pt x="191" y="222"/>
                  <a:pt x="192" y="224"/>
                  <a:pt x="191" y="224"/>
                </a:cubicBezTo>
                <a:close/>
                <a:moveTo>
                  <a:pt x="191" y="190"/>
                </a:moveTo>
                <a:cubicBezTo>
                  <a:pt x="191" y="189"/>
                  <a:pt x="191" y="189"/>
                  <a:pt x="190" y="188"/>
                </a:cubicBezTo>
                <a:cubicBezTo>
                  <a:pt x="191" y="188"/>
                  <a:pt x="191" y="189"/>
                  <a:pt x="191" y="190"/>
                </a:cubicBezTo>
                <a:close/>
                <a:moveTo>
                  <a:pt x="192" y="243"/>
                </a:moveTo>
                <a:cubicBezTo>
                  <a:pt x="192" y="241"/>
                  <a:pt x="191" y="242"/>
                  <a:pt x="190" y="243"/>
                </a:cubicBezTo>
                <a:cubicBezTo>
                  <a:pt x="188" y="243"/>
                  <a:pt x="184" y="239"/>
                  <a:pt x="186" y="235"/>
                </a:cubicBezTo>
                <a:cubicBezTo>
                  <a:pt x="189" y="230"/>
                  <a:pt x="196" y="237"/>
                  <a:pt x="192" y="243"/>
                </a:cubicBezTo>
                <a:close/>
                <a:moveTo>
                  <a:pt x="192" y="254"/>
                </a:moveTo>
                <a:cubicBezTo>
                  <a:pt x="191" y="255"/>
                  <a:pt x="191" y="253"/>
                  <a:pt x="191" y="253"/>
                </a:cubicBezTo>
                <a:cubicBezTo>
                  <a:pt x="192" y="252"/>
                  <a:pt x="192" y="254"/>
                  <a:pt x="192" y="254"/>
                </a:cubicBezTo>
                <a:close/>
                <a:moveTo>
                  <a:pt x="190" y="274"/>
                </a:moveTo>
                <a:cubicBezTo>
                  <a:pt x="190" y="274"/>
                  <a:pt x="189" y="272"/>
                  <a:pt x="190" y="272"/>
                </a:cubicBezTo>
                <a:cubicBezTo>
                  <a:pt x="191" y="271"/>
                  <a:pt x="191" y="274"/>
                  <a:pt x="190" y="274"/>
                </a:cubicBezTo>
                <a:close/>
                <a:moveTo>
                  <a:pt x="186" y="193"/>
                </a:moveTo>
                <a:cubicBezTo>
                  <a:pt x="189" y="193"/>
                  <a:pt x="188" y="197"/>
                  <a:pt x="187" y="197"/>
                </a:cubicBezTo>
                <a:cubicBezTo>
                  <a:pt x="185" y="197"/>
                  <a:pt x="185" y="193"/>
                  <a:pt x="186" y="193"/>
                </a:cubicBezTo>
                <a:close/>
                <a:moveTo>
                  <a:pt x="185" y="198"/>
                </a:moveTo>
                <a:cubicBezTo>
                  <a:pt x="187" y="198"/>
                  <a:pt x="186" y="200"/>
                  <a:pt x="185" y="198"/>
                </a:cubicBezTo>
                <a:close/>
                <a:moveTo>
                  <a:pt x="183" y="252"/>
                </a:moveTo>
                <a:cubicBezTo>
                  <a:pt x="184" y="252"/>
                  <a:pt x="184" y="254"/>
                  <a:pt x="183" y="253"/>
                </a:cubicBezTo>
                <a:cubicBezTo>
                  <a:pt x="183" y="253"/>
                  <a:pt x="183" y="253"/>
                  <a:pt x="183" y="252"/>
                </a:cubicBezTo>
                <a:close/>
                <a:moveTo>
                  <a:pt x="184" y="268"/>
                </a:moveTo>
                <a:cubicBezTo>
                  <a:pt x="184" y="268"/>
                  <a:pt x="185" y="269"/>
                  <a:pt x="184" y="269"/>
                </a:cubicBezTo>
                <a:cubicBezTo>
                  <a:pt x="184" y="270"/>
                  <a:pt x="182" y="268"/>
                  <a:pt x="184" y="268"/>
                </a:cubicBezTo>
                <a:close/>
                <a:moveTo>
                  <a:pt x="184" y="309"/>
                </a:moveTo>
                <a:cubicBezTo>
                  <a:pt x="183" y="309"/>
                  <a:pt x="182" y="307"/>
                  <a:pt x="183" y="306"/>
                </a:cubicBezTo>
                <a:cubicBezTo>
                  <a:pt x="185" y="305"/>
                  <a:pt x="185" y="309"/>
                  <a:pt x="184" y="309"/>
                </a:cubicBezTo>
                <a:close/>
                <a:moveTo>
                  <a:pt x="184" y="256"/>
                </a:moveTo>
                <a:cubicBezTo>
                  <a:pt x="183" y="256"/>
                  <a:pt x="182" y="254"/>
                  <a:pt x="184" y="254"/>
                </a:cubicBezTo>
                <a:cubicBezTo>
                  <a:pt x="185" y="254"/>
                  <a:pt x="185" y="256"/>
                  <a:pt x="184" y="256"/>
                </a:cubicBezTo>
                <a:close/>
                <a:moveTo>
                  <a:pt x="186" y="272"/>
                </a:moveTo>
                <a:cubicBezTo>
                  <a:pt x="190" y="271"/>
                  <a:pt x="189" y="278"/>
                  <a:pt x="187" y="278"/>
                </a:cubicBezTo>
                <a:cubicBezTo>
                  <a:pt x="185" y="278"/>
                  <a:pt x="184" y="273"/>
                  <a:pt x="186" y="272"/>
                </a:cubicBezTo>
                <a:close/>
                <a:moveTo>
                  <a:pt x="189" y="304"/>
                </a:moveTo>
                <a:cubicBezTo>
                  <a:pt x="193" y="304"/>
                  <a:pt x="193" y="312"/>
                  <a:pt x="190" y="312"/>
                </a:cubicBezTo>
                <a:cubicBezTo>
                  <a:pt x="187" y="312"/>
                  <a:pt x="185" y="305"/>
                  <a:pt x="189" y="304"/>
                </a:cubicBezTo>
                <a:close/>
                <a:moveTo>
                  <a:pt x="193" y="375"/>
                </a:moveTo>
                <a:cubicBezTo>
                  <a:pt x="193" y="375"/>
                  <a:pt x="192" y="374"/>
                  <a:pt x="193" y="374"/>
                </a:cubicBezTo>
                <a:cubicBezTo>
                  <a:pt x="193" y="374"/>
                  <a:pt x="194" y="375"/>
                  <a:pt x="193" y="375"/>
                </a:cubicBezTo>
                <a:close/>
                <a:moveTo>
                  <a:pt x="205" y="365"/>
                </a:moveTo>
                <a:cubicBezTo>
                  <a:pt x="205" y="366"/>
                  <a:pt x="203" y="362"/>
                  <a:pt x="204" y="364"/>
                </a:cubicBezTo>
                <a:cubicBezTo>
                  <a:pt x="199" y="355"/>
                  <a:pt x="192" y="344"/>
                  <a:pt x="189" y="335"/>
                </a:cubicBezTo>
                <a:cubicBezTo>
                  <a:pt x="195" y="343"/>
                  <a:pt x="199" y="352"/>
                  <a:pt x="204" y="362"/>
                </a:cubicBezTo>
                <a:cubicBezTo>
                  <a:pt x="204" y="362"/>
                  <a:pt x="206" y="364"/>
                  <a:pt x="205" y="365"/>
                </a:cubicBezTo>
                <a:close/>
                <a:moveTo>
                  <a:pt x="206" y="165"/>
                </a:moveTo>
                <a:cubicBezTo>
                  <a:pt x="204" y="165"/>
                  <a:pt x="205" y="163"/>
                  <a:pt x="206" y="165"/>
                </a:cubicBezTo>
                <a:close/>
                <a:moveTo>
                  <a:pt x="212" y="221"/>
                </a:moveTo>
                <a:cubicBezTo>
                  <a:pt x="210" y="220"/>
                  <a:pt x="208" y="217"/>
                  <a:pt x="206" y="215"/>
                </a:cubicBezTo>
                <a:cubicBezTo>
                  <a:pt x="209" y="216"/>
                  <a:pt x="210" y="219"/>
                  <a:pt x="212" y="221"/>
                </a:cubicBezTo>
                <a:close/>
                <a:moveTo>
                  <a:pt x="207" y="224"/>
                </a:moveTo>
                <a:cubicBezTo>
                  <a:pt x="205" y="222"/>
                  <a:pt x="211" y="223"/>
                  <a:pt x="209" y="225"/>
                </a:cubicBezTo>
                <a:cubicBezTo>
                  <a:pt x="209" y="226"/>
                  <a:pt x="208" y="225"/>
                  <a:pt x="207" y="224"/>
                </a:cubicBezTo>
                <a:close/>
                <a:moveTo>
                  <a:pt x="209" y="243"/>
                </a:moveTo>
                <a:cubicBezTo>
                  <a:pt x="210" y="243"/>
                  <a:pt x="211" y="244"/>
                  <a:pt x="211" y="244"/>
                </a:cubicBezTo>
                <a:cubicBezTo>
                  <a:pt x="211" y="247"/>
                  <a:pt x="208" y="245"/>
                  <a:pt x="209" y="243"/>
                </a:cubicBezTo>
                <a:close/>
                <a:moveTo>
                  <a:pt x="214" y="405"/>
                </a:moveTo>
                <a:cubicBezTo>
                  <a:pt x="214" y="405"/>
                  <a:pt x="215" y="405"/>
                  <a:pt x="215" y="405"/>
                </a:cubicBezTo>
                <a:cubicBezTo>
                  <a:pt x="216" y="406"/>
                  <a:pt x="213" y="406"/>
                  <a:pt x="214" y="405"/>
                </a:cubicBezTo>
                <a:close/>
                <a:moveTo>
                  <a:pt x="211" y="256"/>
                </a:moveTo>
                <a:cubicBezTo>
                  <a:pt x="211" y="256"/>
                  <a:pt x="210" y="254"/>
                  <a:pt x="211" y="254"/>
                </a:cubicBezTo>
                <a:cubicBezTo>
                  <a:pt x="214" y="256"/>
                  <a:pt x="216" y="261"/>
                  <a:pt x="217" y="264"/>
                </a:cubicBezTo>
                <a:cubicBezTo>
                  <a:pt x="215" y="261"/>
                  <a:pt x="212" y="258"/>
                  <a:pt x="211" y="256"/>
                </a:cubicBezTo>
                <a:close/>
                <a:moveTo>
                  <a:pt x="219" y="262"/>
                </a:moveTo>
                <a:cubicBezTo>
                  <a:pt x="218" y="262"/>
                  <a:pt x="217" y="260"/>
                  <a:pt x="219" y="260"/>
                </a:cubicBezTo>
                <a:cubicBezTo>
                  <a:pt x="219" y="260"/>
                  <a:pt x="220" y="261"/>
                  <a:pt x="219" y="262"/>
                </a:cubicBezTo>
                <a:close/>
                <a:moveTo>
                  <a:pt x="221" y="386"/>
                </a:moveTo>
                <a:cubicBezTo>
                  <a:pt x="221" y="385"/>
                  <a:pt x="222" y="386"/>
                  <a:pt x="222" y="386"/>
                </a:cubicBezTo>
                <a:cubicBezTo>
                  <a:pt x="221" y="387"/>
                  <a:pt x="220" y="387"/>
                  <a:pt x="221" y="386"/>
                </a:cubicBezTo>
                <a:close/>
                <a:moveTo>
                  <a:pt x="222" y="327"/>
                </a:moveTo>
                <a:cubicBezTo>
                  <a:pt x="220" y="326"/>
                  <a:pt x="222" y="326"/>
                  <a:pt x="222" y="327"/>
                </a:cubicBezTo>
                <a:close/>
                <a:moveTo>
                  <a:pt x="224" y="204"/>
                </a:moveTo>
                <a:cubicBezTo>
                  <a:pt x="223" y="205"/>
                  <a:pt x="222" y="205"/>
                  <a:pt x="222" y="205"/>
                </a:cubicBezTo>
                <a:cubicBezTo>
                  <a:pt x="221" y="204"/>
                  <a:pt x="221" y="203"/>
                  <a:pt x="222" y="203"/>
                </a:cubicBezTo>
                <a:cubicBezTo>
                  <a:pt x="222" y="202"/>
                  <a:pt x="222" y="201"/>
                  <a:pt x="222" y="201"/>
                </a:cubicBezTo>
                <a:cubicBezTo>
                  <a:pt x="221" y="200"/>
                  <a:pt x="215" y="194"/>
                  <a:pt x="216" y="194"/>
                </a:cubicBezTo>
                <a:cubicBezTo>
                  <a:pt x="218" y="192"/>
                  <a:pt x="222" y="201"/>
                  <a:pt x="223" y="202"/>
                </a:cubicBezTo>
                <a:cubicBezTo>
                  <a:pt x="224" y="203"/>
                  <a:pt x="225" y="204"/>
                  <a:pt x="224" y="204"/>
                </a:cubicBezTo>
                <a:cubicBezTo>
                  <a:pt x="224" y="204"/>
                  <a:pt x="224" y="204"/>
                  <a:pt x="224" y="204"/>
                </a:cubicBezTo>
                <a:cubicBezTo>
                  <a:pt x="224" y="204"/>
                  <a:pt x="224" y="204"/>
                  <a:pt x="224" y="204"/>
                </a:cubicBezTo>
                <a:close/>
                <a:moveTo>
                  <a:pt x="227" y="215"/>
                </a:moveTo>
                <a:cubicBezTo>
                  <a:pt x="224" y="216"/>
                  <a:pt x="222" y="210"/>
                  <a:pt x="225" y="210"/>
                </a:cubicBezTo>
                <a:cubicBezTo>
                  <a:pt x="227" y="210"/>
                  <a:pt x="228" y="214"/>
                  <a:pt x="227" y="215"/>
                </a:cubicBezTo>
                <a:close/>
                <a:moveTo>
                  <a:pt x="230" y="252"/>
                </a:moveTo>
                <a:cubicBezTo>
                  <a:pt x="230" y="251"/>
                  <a:pt x="231" y="252"/>
                  <a:pt x="231" y="252"/>
                </a:cubicBezTo>
                <a:cubicBezTo>
                  <a:pt x="231" y="252"/>
                  <a:pt x="230" y="252"/>
                  <a:pt x="230" y="252"/>
                </a:cubicBezTo>
                <a:close/>
                <a:moveTo>
                  <a:pt x="232" y="218"/>
                </a:moveTo>
                <a:cubicBezTo>
                  <a:pt x="232" y="218"/>
                  <a:pt x="232" y="218"/>
                  <a:pt x="232" y="218"/>
                </a:cubicBezTo>
                <a:cubicBezTo>
                  <a:pt x="231" y="217"/>
                  <a:pt x="230" y="216"/>
                  <a:pt x="229" y="216"/>
                </a:cubicBezTo>
                <a:cubicBezTo>
                  <a:pt x="229" y="216"/>
                  <a:pt x="230" y="215"/>
                  <a:pt x="230" y="215"/>
                </a:cubicBezTo>
                <a:cubicBezTo>
                  <a:pt x="230" y="214"/>
                  <a:pt x="232" y="217"/>
                  <a:pt x="234" y="218"/>
                </a:cubicBezTo>
                <a:cubicBezTo>
                  <a:pt x="235" y="219"/>
                  <a:pt x="242" y="224"/>
                  <a:pt x="243" y="226"/>
                </a:cubicBezTo>
                <a:cubicBezTo>
                  <a:pt x="244" y="228"/>
                  <a:pt x="241" y="224"/>
                  <a:pt x="240" y="224"/>
                </a:cubicBezTo>
                <a:cubicBezTo>
                  <a:pt x="239" y="222"/>
                  <a:pt x="235" y="220"/>
                  <a:pt x="232" y="218"/>
                </a:cubicBezTo>
                <a:cubicBezTo>
                  <a:pt x="233" y="219"/>
                  <a:pt x="233" y="219"/>
                  <a:pt x="232" y="219"/>
                </a:cubicBezTo>
                <a:cubicBezTo>
                  <a:pt x="232" y="219"/>
                  <a:pt x="232" y="218"/>
                  <a:pt x="232" y="218"/>
                </a:cubicBezTo>
                <a:close/>
                <a:moveTo>
                  <a:pt x="233" y="254"/>
                </a:moveTo>
                <a:cubicBezTo>
                  <a:pt x="233" y="254"/>
                  <a:pt x="232" y="253"/>
                  <a:pt x="232" y="253"/>
                </a:cubicBezTo>
                <a:cubicBezTo>
                  <a:pt x="232" y="253"/>
                  <a:pt x="234" y="253"/>
                  <a:pt x="233" y="254"/>
                </a:cubicBezTo>
                <a:close/>
                <a:moveTo>
                  <a:pt x="233" y="257"/>
                </a:moveTo>
                <a:cubicBezTo>
                  <a:pt x="232" y="257"/>
                  <a:pt x="232" y="255"/>
                  <a:pt x="233" y="255"/>
                </a:cubicBezTo>
                <a:cubicBezTo>
                  <a:pt x="234" y="254"/>
                  <a:pt x="234" y="257"/>
                  <a:pt x="233" y="257"/>
                </a:cubicBezTo>
                <a:close/>
                <a:moveTo>
                  <a:pt x="234" y="240"/>
                </a:moveTo>
                <a:cubicBezTo>
                  <a:pt x="234" y="240"/>
                  <a:pt x="234" y="240"/>
                  <a:pt x="234" y="239"/>
                </a:cubicBezTo>
                <a:cubicBezTo>
                  <a:pt x="235" y="237"/>
                  <a:pt x="237" y="243"/>
                  <a:pt x="234" y="240"/>
                </a:cubicBezTo>
                <a:close/>
                <a:moveTo>
                  <a:pt x="239" y="261"/>
                </a:moveTo>
                <a:cubicBezTo>
                  <a:pt x="240" y="261"/>
                  <a:pt x="242" y="263"/>
                  <a:pt x="240" y="264"/>
                </a:cubicBezTo>
                <a:cubicBezTo>
                  <a:pt x="238" y="266"/>
                  <a:pt x="235" y="260"/>
                  <a:pt x="239" y="261"/>
                </a:cubicBezTo>
                <a:close/>
                <a:moveTo>
                  <a:pt x="243" y="722"/>
                </a:moveTo>
                <a:cubicBezTo>
                  <a:pt x="243" y="722"/>
                  <a:pt x="243" y="722"/>
                  <a:pt x="243" y="722"/>
                </a:cubicBezTo>
                <a:cubicBezTo>
                  <a:pt x="244" y="724"/>
                  <a:pt x="241" y="719"/>
                  <a:pt x="243" y="722"/>
                </a:cubicBezTo>
                <a:close/>
                <a:moveTo>
                  <a:pt x="240" y="314"/>
                </a:moveTo>
                <a:cubicBezTo>
                  <a:pt x="242" y="315"/>
                  <a:pt x="242" y="318"/>
                  <a:pt x="244" y="319"/>
                </a:cubicBezTo>
                <a:cubicBezTo>
                  <a:pt x="242" y="318"/>
                  <a:pt x="241" y="316"/>
                  <a:pt x="240" y="314"/>
                </a:cubicBezTo>
                <a:close/>
                <a:moveTo>
                  <a:pt x="245" y="274"/>
                </a:moveTo>
                <a:cubicBezTo>
                  <a:pt x="247" y="273"/>
                  <a:pt x="246" y="276"/>
                  <a:pt x="245" y="276"/>
                </a:cubicBezTo>
                <a:cubicBezTo>
                  <a:pt x="244" y="277"/>
                  <a:pt x="243" y="274"/>
                  <a:pt x="245" y="274"/>
                </a:cubicBezTo>
                <a:close/>
                <a:moveTo>
                  <a:pt x="246" y="680"/>
                </a:moveTo>
                <a:cubicBezTo>
                  <a:pt x="244" y="679"/>
                  <a:pt x="247" y="680"/>
                  <a:pt x="246" y="680"/>
                </a:cubicBezTo>
                <a:close/>
                <a:moveTo>
                  <a:pt x="245" y="321"/>
                </a:moveTo>
                <a:cubicBezTo>
                  <a:pt x="248" y="323"/>
                  <a:pt x="245" y="324"/>
                  <a:pt x="245" y="321"/>
                </a:cubicBezTo>
                <a:close/>
                <a:moveTo>
                  <a:pt x="247" y="85"/>
                </a:moveTo>
                <a:cubicBezTo>
                  <a:pt x="246" y="86"/>
                  <a:pt x="245" y="85"/>
                  <a:pt x="245" y="84"/>
                </a:cubicBezTo>
                <a:cubicBezTo>
                  <a:pt x="244" y="83"/>
                  <a:pt x="247" y="83"/>
                  <a:pt x="247" y="85"/>
                </a:cubicBezTo>
                <a:close/>
                <a:moveTo>
                  <a:pt x="246" y="83"/>
                </a:moveTo>
                <a:cubicBezTo>
                  <a:pt x="246" y="82"/>
                  <a:pt x="246" y="83"/>
                  <a:pt x="246" y="83"/>
                </a:cubicBezTo>
                <a:cubicBezTo>
                  <a:pt x="248" y="82"/>
                  <a:pt x="245" y="84"/>
                  <a:pt x="246" y="83"/>
                </a:cubicBezTo>
                <a:close/>
                <a:moveTo>
                  <a:pt x="247" y="96"/>
                </a:moveTo>
                <a:cubicBezTo>
                  <a:pt x="248" y="97"/>
                  <a:pt x="247" y="97"/>
                  <a:pt x="247" y="96"/>
                </a:cubicBezTo>
                <a:close/>
                <a:moveTo>
                  <a:pt x="249" y="170"/>
                </a:moveTo>
                <a:cubicBezTo>
                  <a:pt x="247" y="168"/>
                  <a:pt x="250" y="172"/>
                  <a:pt x="249" y="170"/>
                </a:cubicBezTo>
                <a:close/>
                <a:moveTo>
                  <a:pt x="248" y="146"/>
                </a:moveTo>
                <a:cubicBezTo>
                  <a:pt x="248" y="146"/>
                  <a:pt x="247" y="145"/>
                  <a:pt x="248" y="144"/>
                </a:cubicBezTo>
                <a:cubicBezTo>
                  <a:pt x="250" y="141"/>
                  <a:pt x="251" y="149"/>
                  <a:pt x="248" y="146"/>
                </a:cubicBezTo>
                <a:close/>
                <a:moveTo>
                  <a:pt x="251" y="173"/>
                </a:moveTo>
                <a:cubicBezTo>
                  <a:pt x="249" y="171"/>
                  <a:pt x="252" y="175"/>
                  <a:pt x="251" y="173"/>
                </a:cubicBezTo>
                <a:close/>
                <a:moveTo>
                  <a:pt x="251" y="126"/>
                </a:moveTo>
                <a:cubicBezTo>
                  <a:pt x="251" y="125"/>
                  <a:pt x="252" y="126"/>
                  <a:pt x="252" y="126"/>
                </a:cubicBezTo>
                <a:cubicBezTo>
                  <a:pt x="252" y="126"/>
                  <a:pt x="251" y="126"/>
                  <a:pt x="251" y="126"/>
                </a:cubicBezTo>
                <a:close/>
                <a:moveTo>
                  <a:pt x="254" y="93"/>
                </a:moveTo>
                <a:cubicBezTo>
                  <a:pt x="254" y="93"/>
                  <a:pt x="253" y="93"/>
                  <a:pt x="252" y="93"/>
                </a:cubicBezTo>
                <a:cubicBezTo>
                  <a:pt x="250" y="91"/>
                  <a:pt x="255" y="90"/>
                  <a:pt x="254" y="93"/>
                </a:cubicBezTo>
                <a:close/>
                <a:moveTo>
                  <a:pt x="253" y="639"/>
                </a:moveTo>
                <a:cubicBezTo>
                  <a:pt x="253" y="638"/>
                  <a:pt x="255" y="639"/>
                  <a:pt x="255" y="639"/>
                </a:cubicBezTo>
                <a:cubicBezTo>
                  <a:pt x="256" y="641"/>
                  <a:pt x="252" y="640"/>
                  <a:pt x="253" y="639"/>
                </a:cubicBezTo>
                <a:close/>
                <a:moveTo>
                  <a:pt x="254" y="281"/>
                </a:moveTo>
                <a:cubicBezTo>
                  <a:pt x="256" y="282"/>
                  <a:pt x="255" y="284"/>
                  <a:pt x="254" y="281"/>
                </a:cubicBezTo>
                <a:close/>
                <a:moveTo>
                  <a:pt x="256" y="131"/>
                </a:moveTo>
                <a:cubicBezTo>
                  <a:pt x="258" y="131"/>
                  <a:pt x="257" y="133"/>
                  <a:pt x="256" y="133"/>
                </a:cubicBezTo>
                <a:cubicBezTo>
                  <a:pt x="255" y="133"/>
                  <a:pt x="254" y="131"/>
                  <a:pt x="256" y="131"/>
                </a:cubicBezTo>
                <a:close/>
                <a:moveTo>
                  <a:pt x="256" y="252"/>
                </a:moveTo>
                <a:cubicBezTo>
                  <a:pt x="256" y="252"/>
                  <a:pt x="258" y="254"/>
                  <a:pt x="258" y="254"/>
                </a:cubicBezTo>
                <a:cubicBezTo>
                  <a:pt x="258" y="254"/>
                  <a:pt x="256" y="253"/>
                  <a:pt x="256" y="252"/>
                </a:cubicBezTo>
                <a:close/>
                <a:moveTo>
                  <a:pt x="257" y="723"/>
                </a:moveTo>
                <a:cubicBezTo>
                  <a:pt x="257" y="723"/>
                  <a:pt x="258" y="723"/>
                  <a:pt x="258" y="723"/>
                </a:cubicBezTo>
                <a:cubicBezTo>
                  <a:pt x="260" y="724"/>
                  <a:pt x="256" y="723"/>
                  <a:pt x="257" y="723"/>
                </a:cubicBezTo>
                <a:close/>
                <a:moveTo>
                  <a:pt x="257" y="608"/>
                </a:moveTo>
                <a:cubicBezTo>
                  <a:pt x="258" y="607"/>
                  <a:pt x="261" y="610"/>
                  <a:pt x="260" y="610"/>
                </a:cubicBezTo>
                <a:cubicBezTo>
                  <a:pt x="265" y="613"/>
                  <a:pt x="273" y="615"/>
                  <a:pt x="279" y="618"/>
                </a:cubicBezTo>
                <a:cubicBezTo>
                  <a:pt x="279" y="618"/>
                  <a:pt x="281" y="619"/>
                  <a:pt x="281" y="619"/>
                </a:cubicBezTo>
                <a:cubicBezTo>
                  <a:pt x="282" y="621"/>
                  <a:pt x="264" y="613"/>
                  <a:pt x="261" y="611"/>
                </a:cubicBezTo>
                <a:cubicBezTo>
                  <a:pt x="261" y="611"/>
                  <a:pt x="256" y="609"/>
                  <a:pt x="257" y="608"/>
                </a:cubicBezTo>
                <a:close/>
                <a:moveTo>
                  <a:pt x="271" y="686"/>
                </a:moveTo>
                <a:cubicBezTo>
                  <a:pt x="271" y="688"/>
                  <a:pt x="269" y="684"/>
                  <a:pt x="270" y="686"/>
                </a:cubicBezTo>
                <a:cubicBezTo>
                  <a:pt x="270" y="686"/>
                  <a:pt x="271" y="686"/>
                  <a:pt x="271" y="686"/>
                </a:cubicBezTo>
                <a:close/>
                <a:moveTo>
                  <a:pt x="270" y="730"/>
                </a:moveTo>
                <a:cubicBezTo>
                  <a:pt x="270" y="731"/>
                  <a:pt x="268" y="729"/>
                  <a:pt x="270" y="730"/>
                </a:cubicBezTo>
                <a:close/>
                <a:moveTo>
                  <a:pt x="269" y="705"/>
                </a:moveTo>
                <a:cubicBezTo>
                  <a:pt x="269" y="705"/>
                  <a:pt x="271" y="705"/>
                  <a:pt x="271" y="705"/>
                </a:cubicBezTo>
                <a:cubicBezTo>
                  <a:pt x="272" y="707"/>
                  <a:pt x="268" y="706"/>
                  <a:pt x="269" y="705"/>
                </a:cubicBezTo>
                <a:close/>
                <a:moveTo>
                  <a:pt x="270" y="699"/>
                </a:moveTo>
                <a:cubicBezTo>
                  <a:pt x="272" y="697"/>
                  <a:pt x="273" y="701"/>
                  <a:pt x="270" y="699"/>
                </a:cubicBezTo>
                <a:close/>
                <a:moveTo>
                  <a:pt x="277" y="747"/>
                </a:moveTo>
                <a:cubicBezTo>
                  <a:pt x="275" y="746"/>
                  <a:pt x="279" y="748"/>
                  <a:pt x="277" y="747"/>
                </a:cubicBezTo>
                <a:close/>
                <a:moveTo>
                  <a:pt x="277" y="671"/>
                </a:moveTo>
                <a:cubicBezTo>
                  <a:pt x="279" y="670"/>
                  <a:pt x="279" y="671"/>
                  <a:pt x="279" y="671"/>
                </a:cubicBezTo>
                <a:cubicBezTo>
                  <a:pt x="281" y="673"/>
                  <a:pt x="276" y="671"/>
                  <a:pt x="277" y="671"/>
                </a:cubicBezTo>
                <a:close/>
                <a:moveTo>
                  <a:pt x="280" y="741"/>
                </a:moveTo>
                <a:cubicBezTo>
                  <a:pt x="280" y="740"/>
                  <a:pt x="284" y="740"/>
                  <a:pt x="285" y="741"/>
                </a:cubicBezTo>
                <a:cubicBezTo>
                  <a:pt x="285" y="743"/>
                  <a:pt x="280" y="742"/>
                  <a:pt x="280" y="741"/>
                </a:cubicBezTo>
                <a:close/>
                <a:moveTo>
                  <a:pt x="284" y="510"/>
                </a:moveTo>
                <a:cubicBezTo>
                  <a:pt x="284" y="510"/>
                  <a:pt x="285" y="510"/>
                  <a:pt x="286" y="510"/>
                </a:cubicBezTo>
                <a:cubicBezTo>
                  <a:pt x="287" y="512"/>
                  <a:pt x="283" y="512"/>
                  <a:pt x="284" y="510"/>
                </a:cubicBezTo>
                <a:close/>
                <a:moveTo>
                  <a:pt x="286" y="669"/>
                </a:moveTo>
                <a:cubicBezTo>
                  <a:pt x="286" y="667"/>
                  <a:pt x="289" y="668"/>
                  <a:pt x="289" y="669"/>
                </a:cubicBezTo>
                <a:cubicBezTo>
                  <a:pt x="290" y="671"/>
                  <a:pt x="286" y="670"/>
                  <a:pt x="286" y="669"/>
                </a:cubicBezTo>
                <a:close/>
                <a:moveTo>
                  <a:pt x="308" y="749"/>
                </a:moveTo>
                <a:cubicBezTo>
                  <a:pt x="302" y="750"/>
                  <a:pt x="295" y="748"/>
                  <a:pt x="288" y="746"/>
                </a:cubicBezTo>
                <a:cubicBezTo>
                  <a:pt x="294" y="747"/>
                  <a:pt x="301" y="748"/>
                  <a:pt x="308" y="749"/>
                </a:cubicBezTo>
                <a:close/>
              </a:path>
            </a:pathLst>
          </a:custGeom>
          <a:solidFill>
            <a:schemeClr val="accent4">
              <a:alpha val="40000"/>
            </a:schemeClr>
          </a:solidFill>
          <a:ln>
            <a:noFill/>
          </a:ln>
        </p:spPr>
        <p:txBody>
          <a:bodyPr vert="horz" wrap="square" lIns="91440" tIns="45720" rIns="91440" bIns="45720" numCol="1" anchor="t" anchorCtr="0" compatLnSpc="1">
            <a:prstTxWarp prst="textNoShape">
              <a:avLst/>
            </a:prstTxWarp>
          </a:bodyPr>
          <a:lstStyle/>
          <a:p>
            <a:endParaRPr lang="en-ID"/>
          </a:p>
        </p:txBody>
      </p:sp>
      <p:sp>
        <p:nvSpPr>
          <p:cNvPr id="137" name="TextBox 136">
            <a:extLst>
              <a:ext uri="{FF2B5EF4-FFF2-40B4-BE49-F238E27FC236}">
                <a16:creationId xmlns:a16="http://schemas.microsoft.com/office/drawing/2014/main" id="{768F1D36-CE52-475C-8583-9C7DC7B45BDE}"/>
              </a:ext>
            </a:extLst>
          </p:cNvPr>
          <p:cNvSpPr txBox="1"/>
          <p:nvPr/>
        </p:nvSpPr>
        <p:spPr>
          <a:xfrm>
            <a:off x="2870200" y="2744891"/>
            <a:ext cx="6451600" cy="1231106"/>
          </a:xfrm>
          <a:prstGeom prst="rect">
            <a:avLst/>
          </a:prstGeom>
          <a:noFill/>
        </p:spPr>
        <p:txBody>
          <a:bodyPr wrap="square" lIns="0" tIns="0" rIns="0" bIns="0" rtlCol="0" anchor="ctr">
            <a:spAutoFit/>
          </a:bodyPr>
          <a:lstStyle/>
          <a:p>
            <a:pPr algn="ctr"/>
            <a:r>
              <a:rPr lang="en-US" sz="8000" dirty="0">
                <a:solidFill>
                  <a:schemeClr val="bg1"/>
                </a:solidFill>
                <a:latin typeface="+mj-lt"/>
              </a:rPr>
              <a:t>THANK YOU</a:t>
            </a:r>
            <a:endParaRPr lang="en-ID" sz="8000" dirty="0">
              <a:solidFill>
                <a:schemeClr val="bg1"/>
              </a:solidFill>
              <a:latin typeface="+mj-lt"/>
            </a:endParaRPr>
          </a:p>
        </p:txBody>
      </p:sp>
    </p:spTree>
    <p:extLst>
      <p:ext uri="{BB962C8B-B14F-4D97-AF65-F5344CB8AC3E}">
        <p14:creationId xmlns:p14="http://schemas.microsoft.com/office/powerpoint/2010/main" val="2423964091"/>
      </p:ext>
    </p:extLst>
  </p:cSld>
  <p:clrMapOvr>
    <a:masterClrMapping/>
  </p:clrMapOvr>
  <p:transition spd="slow">
    <p:cove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505CDED-13AE-40F0-87D6-E4A6DDAE0C42}"/>
              </a:ext>
            </a:extLst>
          </p:cNvPr>
          <p:cNvSpPr txBox="1"/>
          <p:nvPr/>
        </p:nvSpPr>
        <p:spPr>
          <a:xfrm>
            <a:off x="391886" y="138113"/>
            <a:ext cx="11408228" cy="677108"/>
          </a:xfrm>
          <a:prstGeom prst="rect">
            <a:avLst/>
          </a:prstGeom>
          <a:noFill/>
        </p:spPr>
        <p:txBody>
          <a:bodyPr wrap="square" lIns="0" tIns="0" rIns="0" bIns="0" rtlCol="0" anchor="t">
            <a:spAutoFit/>
          </a:bodyPr>
          <a:lstStyle/>
          <a:p>
            <a:pPr algn="ctr"/>
            <a:r>
              <a:rPr lang="en-US" sz="4400" dirty="0">
                <a:solidFill>
                  <a:schemeClr val="tx2"/>
                </a:solidFill>
                <a:latin typeface="+mj-lt"/>
              </a:rPr>
              <a:t>GROUP 6</a:t>
            </a:r>
            <a:endParaRPr lang="en-ID" sz="4400" dirty="0">
              <a:solidFill>
                <a:schemeClr val="tx2"/>
              </a:solidFill>
              <a:latin typeface="+mj-lt"/>
            </a:endParaRPr>
          </a:p>
        </p:txBody>
      </p:sp>
      <p:sp>
        <p:nvSpPr>
          <p:cNvPr id="37" name="TextBox 36">
            <a:extLst>
              <a:ext uri="{FF2B5EF4-FFF2-40B4-BE49-F238E27FC236}">
                <a16:creationId xmlns:a16="http://schemas.microsoft.com/office/drawing/2014/main" id="{2CF8D669-16F6-57A9-43A1-2D0EEA223D43}"/>
              </a:ext>
            </a:extLst>
          </p:cNvPr>
          <p:cNvSpPr txBox="1"/>
          <p:nvPr/>
        </p:nvSpPr>
        <p:spPr>
          <a:xfrm>
            <a:off x="1717040" y="1605280"/>
            <a:ext cx="1219200" cy="369332"/>
          </a:xfrm>
          <a:prstGeom prst="rect">
            <a:avLst/>
          </a:prstGeom>
          <a:noFill/>
        </p:spPr>
        <p:txBody>
          <a:bodyPr wrap="square" rtlCol="0">
            <a:spAutoFit/>
          </a:bodyPr>
          <a:lstStyle/>
          <a:p>
            <a:r>
              <a:rPr lang="en-US" sz="1800" dirty="0">
                <a:solidFill>
                  <a:srgbClr val="44546A"/>
                </a:solidFill>
                <a:latin typeface="+mj-lt"/>
              </a:rPr>
              <a:t>SHIVA</a:t>
            </a:r>
            <a:r>
              <a:rPr lang="en-US" sz="1800" dirty="0">
                <a:solidFill>
                  <a:schemeClr val="tx2"/>
                </a:solidFill>
                <a:latin typeface="+mj-lt"/>
              </a:rPr>
              <a:t> KUMAR</a:t>
            </a:r>
            <a:endParaRPr lang="en-IN" dirty="0"/>
          </a:p>
        </p:txBody>
      </p:sp>
      <p:sp>
        <p:nvSpPr>
          <p:cNvPr id="38" name="TextBox 37">
            <a:extLst>
              <a:ext uri="{FF2B5EF4-FFF2-40B4-BE49-F238E27FC236}">
                <a16:creationId xmlns:a16="http://schemas.microsoft.com/office/drawing/2014/main" id="{D2D8E1BC-E8CB-4C2C-24E4-A4393A05C7A6}"/>
              </a:ext>
            </a:extLst>
          </p:cNvPr>
          <p:cNvSpPr txBox="1"/>
          <p:nvPr/>
        </p:nvSpPr>
        <p:spPr>
          <a:xfrm>
            <a:off x="1706880" y="2600961"/>
            <a:ext cx="1666240" cy="369332"/>
          </a:xfrm>
          <a:prstGeom prst="rect">
            <a:avLst/>
          </a:prstGeom>
        </p:spPr>
        <p:txBody>
          <a:bodyPr wrap="square" rtlCol="0">
            <a:spAutoFit/>
          </a:bodyPr>
          <a:lstStyle/>
          <a:p>
            <a:r>
              <a:rPr lang="en-US" dirty="0">
                <a:solidFill>
                  <a:schemeClr val="tx2"/>
                </a:solidFill>
                <a:latin typeface="+mj-lt"/>
              </a:rPr>
              <a:t>ROHIT TOSKAR</a:t>
            </a:r>
            <a:endParaRPr lang="en-IN" dirty="0"/>
          </a:p>
        </p:txBody>
      </p:sp>
      <p:sp>
        <p:nvSpPr>
          <p:cNvPr id="39" name="TextBox 38">
            <a:extLst>
              <a:ext uri="{FF2B5EF4-FFF2-40B4-BE49-F238E27FC236}">
                <a16:creationId xmlns:a16="http://schemas.microsoft.com/office/drawing/2014/main" id="{57CA1DF4-7A0B-48F2-2366-E4AA08A38708}"/>
              </a:ext>
            </a:extLst>
          </p:cNvPr>
          <p:cNvSpPr txBox="1"/>
          <p:nvPr/>
        </p:nvSpPr>
        <p:spPr>
          <a:xfrm>
            <a:off x="1696720" y="3637281"/>
            <a:ext cx="2062480" cy="369332"/>
          </a:xfrm>
          <a:prstGeom prst="rect">
            <a:avLst/>
          </a:prstGeom>
          <a:noFill/>
        </p:spPr>
        <p:txBody>
          <a:bodyPr wrap="square" rtlCol="0">
            <a:spAutoFit/>
          </a:bodyPr>
          <a:lstStyle/>
          <a:p>
            <a:r>
              <a:rPr lang="en-US" sz="1800" dirty="0">
                <a:solidFill>
                  <a:schemeClr val="tx2"/>
                </a:solidFill>
                <a:latin typeface="+mj-lt"/>
              </a:rPr>
              <a:t>SACHIN SHETTY</a:t>
            </a:r>
            <a:endParaRPr lang="en-IN" dirty="0"/>
          </a:p>
        </p:txBody>
      </p:sp>
      <p:sp>
        <p:nvSpPr>
          <p:cNvPr id="40" name="TextBox 39">
            <a:extLst>
              <a:ext uri="{FF2B5EF4-FFF2-40B4-BE49-F238E27FC236}">
                <a16:creationId xmlns:a16="http://schemas.microsoft.com/office/drawing/2014/main" id="{0CC0A907-78B3-F368-0BDC-164EF66303CE}"/>
              </a:ext>
            </a:extLst>
          </p:cNvPr>
          <p:cNvSpPr txBox="1"/>
          <p:nvPr/>
        </p:nvSpPr>
        <p:spPr>
          <a:xfrm>
            <a:off x="1717040" y="4663440"/>
            <a:ext cx="1219200" cy="369332"/>
          </a:xfrm>
          <a:prstGeom prst="rect">
            <a:avLst/>
          </a:prstGeom>
          <a:noFill/>
        </p:spPr>
        <p:txBody>
          <a:bodyPr wrap="square" rtlCol="0">
            <a:spAutoFit/>
          </a:bodyPr>
          <a:lstStyle/>
          <a:p>
            <a:r>
              <a:rPr lang="en-US" dirty="0">
                <a:solidFill>
                  <a:schemeClr val="tx2"/>
                </a:solidFill>
                <a:latin typeface="+mj-lt"/>
              </a:rPr>
              <a:t>RAJESH</a:t>
            </a:r>
            <a:endParaRPr lang="en-IN" dirty="0"/>
          </a:p>
        </p:txBody>
      </p:sp>
      <p:sp>
        <p:nvSpPr>
          <p:cNvPr id="41" name="TextBox 40">
            <a:extLst>
              <a:ext uri="{FF2B5EF4-FFF2-40B4-BE49-F238E27FC236}">
                <a16:creationId xmlns:a16="http://schemas.microsoft.com/office/drawing/2014/main" id="{75DEC2AD-DF31-4A84-8CA8-639661CC5036}"/>
              </a:ext>
            </a:extLst>
          </p:cNvPr>
          <p:cNvSpPr txBox="1"/>
          <p:nvPr/>
        </p:nvSpPr>
        <p:spPr>
          <a:xfrm>
            <a:off x="1727200" y="5689600"/>
            <a:ext cx="1219200" cy="369332"/>
          </a:xfrm>
          <a:prstGeom prst="rect">
            <a:avLst/>
          </a:prstGeom>
          <a:noFill/>
        </p:spPr>
        <p:txBody>
          <a:bodyPr wrap="square" rtlCol="0">
            <a:spAutoFit/>
          </a:bodyPr>
          <a:lstStyle/>
          <a:p>
            <a:r>
              <a:rPr lang="en-US" sz="1800" dirty="0">
                <a:solidFill>
                  <a:schemeClr val="tx2"/>
                </a:solidFill>
                <a:latin typeface="+mj-lt"/>
              </a:rPr>
              <a:t>SIDDHANT</a:t>
            </a:r>
            <a:endParaRPr lang="en-IN" dirty="0"/>
          </a:p>
        </p:txBody>
      </p:sp>
      <p:sp>
        <p:nvSpPr>
          <p:cNvPr id="45" name="Oval 44">
            <a:extLst>
              <a:ext uri="{FF2B5EF4-FFF2-40B4-BE49-F238E27FC236}">
                <a16:creationId xmlns:a16="http://schemas.microsoft.com/office/drawing/2014/main" id="{EA2B2139-98B8-F458-988C-58A24D32C84D}"/>
              </a:ext>
            </a:extLst>
          </p:cNvPr>
          <p:cNvSpPr/>
          <p:nvPr/>
        </p:nvSpPr>
        <p:spPr>
          <a:xfrm>
            <a:off x="628812" y="2387600"/>
            <a:ext cx="854548" cy="873547"/>
          </a:xfrm>
          <a:prstGeom prst="ellipse">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9" name="Oval 48">
            <a:extLst>
              <a:ext uri="{FF2B5EF4-FFF2-40B4-BE49-F238E27FC236}">
                <a16:creationId xmlns:a16="http://schemas.microsoft.com/office/drawing/2014/main" id="{508033F0-0592-3C79-7D17-1E4A432DE6BD}"/>
              </a:ext>
            </a:extLst>
          </p:cNvPr>
          <p:cNvSpPr/>
          <p:nvPr/>
        </p:nvSpPr>
        <p:spPr>
          <a:xfrm>
            <a:off x="638972" y="1381760"/>
            <a:ext cx="854548" cy="873547"/>
          </a:xfrm>
          <a:prstGeom prst="ellipse">
            <a:avLst/>
          </a:prstGeom>
          <a:solidFill>
            <a:srgbClr val="FDBF1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0" name="Oval 49">
            <a:extLst>
              <a:ext uri="{FF2B5EF4-FFF2-40B4-BE49-F238E27FC236}">
                <a16:creationId xmlns:a16="http://schemas.microsoft.com/office/drawing/2014/main" id="{DAFF2900-B7EB-9E2E-A2F2-9E3D6C69ACBD}"/>
              </a:ext>
            </a:extLst>
          </p:cNvPr>
          <p:cNvSpPr/>
          <p:nvPr/>
        </p:nvSpPr>
        <p:spPr>
          <a:xfrm>
            <a:off x="618652" y="3423920"/>
            <a:ext cx="854548" cy="873547"/>
          </a:xfrm>
          <a:prstGeom prst="ellipse">
            <a:avLst/>
          </a:prstGeom>
          <a:solidFill>
            <a:srgbClr val="FDBF1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1" name="Oval 50">
            <a:extLst>
              <a:ext uri="{FF2B5EF4-FFF2-40B4-BE49-F238E27FC236}">
                <a16:creationId xmlns:a16="http://schemas.microsoft.com/office/drawing/2014/main" id="{C2EA440D-6268-BDAC-76C6-6B2B2D1A704C}"/>
              </a:ext>
            </a:extLst>
          </p:cNvPr>
          <p:cNvSpPr/>
          <p:nvPr/>
        </p:nvSpPr>
        <p:spPr>
          <a:xfrm>
            <a:off x="628812" y="4439920"/>
            <a:ext cx="854548" cy="873547"/>
          </a:xfrm>
          <a:prstGeom prst="ellipse">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2" name="Oval 51">
            <a:extLst>
              <a:ext uri="{FF2B5EF4-FFF2-40B4-BE49-F238E27FC236}">
                <a16:creationId xmlns:a16="http://schemas.microsoft.com/office/drawing/2014/main" id="{03A373F6-1BAD-2FA4-F4F8-F3117B6BB6B2}"/>
              </a:ext>
            </a:extLst>
          </p:cNvPr>
          <p:cNvSpPr/>
          <p:nvPr/>
        </p:nvSpPr>
        <p:spPr>
          <a:xfrm>
            <a:off x="638972" y="5435600"/>
            <a:ext cx="854548" cy="873547"/>
          </a:xfrm>
          <a:prstGeom prst="ellipse">
            <a:avLst/>
          </a:prstGeom>
          <a:solidFill>
            <a:srgbClr val="FDBF1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54" name="Picture 53">
            <a:extLst>
              <a:ext uri="{FF2B5EF4-FFF2-40B4-BE49-F238E27FC236}">
                <a16:creationId xmlns:a16="http://schemas.microsoft.com/office/drawing/2014/main" id="{F08FCB9C-6AC1-876B-4CBD-F1031879A1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1606" y="1468120"/>
            <a:ext cx="700633" cy="700633"/>
          </a:xfrm>
          <a:prstGeom prst="rect">
            <a:avLst/>
          </a:prstGeom>
        </p:spPr>
      </p:pic>
      <p:pic>
        <p:nvPicPr>
          <p:cNvPr id="55" name="Picture 54">
            <a:extLst>
              <a:ext uri="{FF2B5EF4-FFF2-40B4-BE49-F238E27FC236}">
                <a16:creationId xmlns:a16="http://schemas.microsoft.com/office/drawing/2014/main" id="{71EB30CC-9C55-3102-DD98-FEC8F7749D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126" y="3500120"/>
            <a:ext cx="731113" cy="731113"/>
          </a:xfrm>
          <a:prstGeom prst="rect">
            <a:avLst/>
          </a:prstGeom>
        </p:spPr>
      </p:pic>
      <p:pic>
        <p:nvPicPr>
          <p:cNvPr id="56" name="Picture 55">
            <a:extLst>
              <a:ext uri="{FF2B5EF4-FFF2-40B4-BE49-F238E27FC236}">
                <a16:creationId xmlns:a16="http://schemas.microsoft.com/office/drawing/2014/main" id="{DFB47E2A-E727-5E67-1768-ABC5FCB6D1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1606" y="5516880"/>
            <a:ext cx="715873" cy="715873"/>
          </a:xfrm>
          <a:prstGeom prst="rect">
            <a:avLst/>
          </a:prstGeom>
        </p:spPr>
      </p:pic>
      <p:pic>
        <p:nvPicPr>
          <p:cNvPr id="58" name="Picture 57">
            <a:extLst>
              <a:ext uri="{FF2B5EF4-FFF2-40B4-BE49-F238E27FC236}">
                <a16:creationId xmlns:a16="http://schemas.microsoft.com/office/drawing/2014/main" id="{9F7CC494-E5E9-43DB-6FDC-13310DEF52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040" y="2468880"/>
            <a:ext cx="706120" cy="706120"/>
          </a:xfrm>
          <a:prstGeom prst="rect">
            <a:avLst/>
          </a:prstGeom>
        </p:spPr>
      </p:pic>
      <p:pic>
        <p:nvPicPr>
          <p:cNvPr id="60" name="Picture 59">
            <a:extLst>
              <a:ext uri="{FF2B5EF4-FFF2-40B4-BE49-F238E27FC236}">
                <a16:creationId xmlns:a16="http://schemas.microsoft.com/office/drawing/2014/main" id="{143D2D97-2369-16F8-1568-B676154294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040" y="4521200"/>
            <a:ext cx="706120" cy="706120"/>
          </a:xfrm>
          <a:prstGeom prst="rect">
            <a:avLst/>
          </a:prstGeom>
        </p:spPr>
      </p:pic>
      <p:sp>
        <p:nvSpPr>
          <p:cNvPr id="2" name="Oval 1">
            <a:extLst>
              <a:ext uri="{FF2B5EF4-FFF2-40B4-BE49-F238E27FC236}">
                <a16:creationId xmlns:a16="http://schemas.microsoft.com/office/drawing/2014/main" id="{52CF4D9F-4EFB-A2F3-351A-04E094F59747}"/>
              </a:ext>
            </a:extLst>
          </p:cNvPr>
          <p:cNvSpPr/>
          <p:nvPr/>
        </p:nvSpPr>
        <p:spPr>
          <a:xfrm>
            <a:off x="11865983" y="3147593"/>
            <a:ext cx="652034" cy="652034"/>
          </a:xfrm>
          <a:prstGeom prst="ellipse">
            <a:avLst/>
          </a:prstGeom>
          <a:solidFill>
            <a:srgbClr val="44546A"/>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4" name="Group 3">
            <a:extLst>
              <a:ext uri="{FF2B5EF4-FFF2-40B4-BE49-F238E27FC236}">
                <a16:creationId xmlns:a16="http://schemas.microsoft.com/office/drawing/2014/main" id="{E4CF2F04-89DB-C297-05DF-9B6F864EDA3D}"/>
              </a:ext>
            </a:extLst>
          </p:cNvPr>
          <p:cNvGrpSpPr/>
          <p:nvPr/>
        </p:nvGrpSpPr>
        <p:grpSpPr>
          <a:xfrm rot="10800000">
            <a:off x="12052255" y="3337774"/>
            <a:ext cx="279490" cy="251353"/>
            <a:chOff x="7396163" y="4268788"/>
            <a:chExt cx="236538" cy="212725"/>
          </a:xfrm>
          <a:solidFill>
            <a:srgbClr val="FDBF10"/>
          </a:solidFill>
        </p:grpSpPr>
        <p:sp>
          <p:nvSpPr>
            <p:cNvPr id="5" name="Freeform 385">
              <a:extLst>
                <a:ext uri="{FF2B5EF4-FFF2-40B4-BE49-F238E27FC236}">
                  <a16:creationId xmlns:a16="http://schemas.microsoft.com/office/drawing/2014/main" id="{0CC05B01-9A5D-253A-7745-73D548B2E8FC}"/>
                </a:ext>
              </a:extLst>
            </p:cNvPr>
            <p:cNvSpPr>
              <a:spLocks noEditPoints="1"/>
            </p:cNvSpPr>
            <p:nvPr/>
          </p:nvSpPr>
          <p:spPr bwMode="auto">
            <a:xfrm>
              <a:off x="7396163"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7 w 348"/>
                <a:gd name="T11" fmla="*/ 260 h 535"/>
                <a:gd name="T12" fmla="*/ 209 w 348"/>
                <a:gd name="T13" fmla="*/ 263 h 535"/>
                <a:gd name="T14" fmla="*/ 210 w 348"/>
                <a:gd name="T15" fmla="*/ 268 h 535"/>
                <a:gd name="T16" fmla="*/ 209 w 348"/>
                <a:gd name="T17" fmla="*/ 271 h 535"/>
                <a:gd name="T18" fmla="*/ 207 w 348"/>
                <a:gd name="T19" fmla="*/ 274 h 535"/>
                <a:gd name="T20" fmla="*/ 25 w 348"/>
                <a:gd name="T21" fmla="*/ 457 h 535"/>
                <a:gd name="T22" fmla="*/ 80 w 348"/>
                <a:gd name="T23" fmla="*/ 535 h 535"/>
                <a:gd name="T24" fmla="*/ 77 w 348"/>
                <a:gd name="T25" fmla="*/ 534 h 535"/>
                <a:gd name="T26" fmla="*/ 73 w 348"/>
                <a:gd name="T27" fmla="*/ 533 h 535"/>
                <a:gd name="T28" fmla="*/ 4 w 348"/>
                <a:gd name="T29" fmla="*/ 463 h 535"/>
                <a:gd name="T30" fmla="*/ 2 w 348"/>
                <a:gd name="T31" fmla="*/ 460 h 535"/>
                <a:gd name="T32" fmla="*/ 0 w 348"/>
                <a:gd name="T33" fmla="*/ 457 h 535"/>
                <a:gd name="T34" fmla="*/ 2 w 348"/>
                <a:gd name="T35" fmla="*/ 452 h 535"/>
                <a:gd name="T36" fmla="*/ 4 w 348"/>
                <a:gd name="T37" fmla="*/ 449 h 535"/>
                <a:gd name="T38" fmla="*/ 185 w 348"/>
                <a:gd name="T39" fmla="*/ 268 h 535"/>
                <a:gd name="T40" fmla="*/ 4 w 348"/>
                <a:gd name="T41" fmla="*/ 86 h 535"/>
                <a:gd name="T42" fmla="*/ 2 w 348"/>
                <a:gd name="T43" fmla="*/ 83 h 535"/>
                <a:gd name="T44" fmla="*/ 0 w 348"/>
                <a:gd name="T45" fmla="*/ 79 h 535"/>
                <a:gd name="T46" fmla="*/ 2 w 348"/>
                <a:gd name="T47" fmla="*/ 75 h 535"/>
                <a:gd name="T48" fmla="*/ 4 w 348"/>
                <a:gd name="T49" fmla="*/ 72 h 535"/>
                <a:gd name="T50" fmla="*/ 74 w 348"/>
                <a:gd name="T51" fmla="*/ 2 h 535"/>
                <a:gd name="T52" fmla="*/ 77 w 348"/>
                <a:gd name="T53" fmla="*/ 0 h 535"/>
                <a:gd name="T54" fmla="*/ 80 w 348"/>
                <a:gd name="T55" fmla="*/ 0 h 535"/>
                <a:gd name="T56" fmla="*/ 84 w 348"/>
                <a:gd name="T57" fmla="*/ 0 h 535"/>
                <a:gd name="T58" fmla="*/ 87 w 348"/>
                <a:gd name="T59" fmla="*/ 2 h 535"/>
                <a:gd name="T60" fmla="*/ 346 w 348"/>
                <a:gd name="T61" fmla="*/ 260 h 535"/>
                <a:gd name="T62" fmla="*/ 348 w 348"/>
                <a:gd name="T63" fmla="*/ 263 h 535"/>
                <a:gd name="T64" fmla="*/ 348 w 348"/>
                <a:gd name="T65" fmla="*/ 268 h 535"/>
                <a:gd name="T66" fmla="*/ 348 w 348"/>
                <a:gd name="T67" fmla="*/ 271 h 535"/>
                <a:gd name="T68" fmla="*/ 346 w 348"/>
                <a:gd name="T69" fmla="*/ 274 h 535"/>
                <a:gd name="T70" fmla="*/ 87 w 348"/>
                <a:gd name="T71" fmla="*/ 532 h 535"/>
                <a:gd name="T72" fmla="*/ 84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7" y="260"/>
                  </a:lnTo>
                  <a:lnTo>
                    <a:pt x="209" y="263"/>
                  </a:lnTo>
                  <a:lnTo>
                    <a:pt x="210" y="268"/>
                  </a:lnTo>
                  <a:lnTo>
                    <a:pt x="209" y="271"/>
                  </a:lnTo>
                  <a:lnTo>
                    <a:pt x="207" y="274"/>
                  </a:lnTo>
                  <a:lnTo>
                    <a:pt x="25" y="457"/>
                  </a:lnTo>
                  <a:close/>
                  <a:moveTo>
                    <a:pt x="80" y="535"/>
                  </a:moveTo>
                  <a:lnTo>
                    <a:pt x="77" y="534"/>
                  </a:lnTo>
                  <a:lnTo>
                    <a:pt x="73" y="533"/>
                  </a:lnTo>
                  <a:lnTo>
                    <a:pt x="4" y="463"/>
                  </a:lnTo>
                  <a:lnTo>
                    <a:pt x="2" y="460"/>
                  </a:lnTo>
                  <a:lnTo>
                    <a:pt x="0" y="457"/>
                  </a:lnTo>
                  <a:lnTo>
                    <a:pt x="2" y="452"/>
                  </a:lnTo>
                  <a:lnTo>
                    <a:pt x="4" y="449"/>
                  </a:lnTo>
                  <a:lnTo>
                    <a:pt x="185" y="268"/>
                  </a:lnTo>
                  <a:lnTo>
                    <a:pt x="4" y="86"/>
                  </a:lnTo>
                  <a:lnTo>
                    <a:pt x="2" y="83"/>
                  </a:lnTo>
                  <a:lnTo>
                    <a:pt x="0" y="79"/>
                  </a:lnTo>
                  <a:lnTo>
                    <a:pt x="2" y="75"/>
                  </a:lnTo>
                  <a:lnTo>
                    <a:pt x="4" y="72"/>
                  </a:lnTo>
                  <a:lnTo>
                    <a:pt x="74" y="2"/>
                  </a:lnTo>
                  <a:lnTo>
                    <a:pt x="77" y="0"/>
                  </a:lnTo>
                  <a:lnTo>
                    <a:pt x="80" y="0"/>
                  </a:lnTo>
                  <a:lnTo>
                    <a:pt x="84" y="0"/>
                  </a:lnTo>
                  <a:lnTo>
                    <a:pt x="87" y="2"/>
                  </a:lnTo>
                  <a:lnTo>
                    <a:pt x="346" y="260"/>
                  </a:lnTo>
                  <a:lnTo>
                    <a:pt x="348" y="263"/>
                  </a:lnTo>
                  <a:lnTo>
                    <a:pt x="348" y="268"/>
                  </a:lnTo>
                  <a:lnTo>
                    <a:pt x="348" y="271"/>
                  </a:lnTo>
                  <a:lnTo>
                    <a:pt x="346" y="274"/>
                  </a:lnTo>
                  <a:lnTo>
                    <a:pt x="87" y="532"/>
                  </a:lnTo>
                  <a:lnTo>
                    <a:pt x="84" y="534"/>
                  </a:lnTo>
                  <a:lnTo>
                    <a:pt x="80"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386">
              <a:extLst>
                <a:ext uri="{FF2B5EF4-FFF2-40B4-BE49-F238E27FC236}">
                  <a16:creationId xmlns:a16="http://schemas.microsoft.com/office/drawing/2014/main" id="{CAF8B206-842F-A128-184F-2777C34650B7}"/>
                </a:ext>
              </a:extLst>
            </p:cNvPr>
            <p:cNvSpPr>
              <a:spLocks noEditPoints="1"/>
            </p:cNvSpPr>
            <p:nvPr/>
          </p:nvSpPr>
          <p:spPr bwMode="auto">
            <a:xfrm>
              <a:off x="7494588"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6 w 348"/>
                <a:gd name="T11" fmla="*/ 260 h 535"/>
                <a:gd name="T12" fmla="*/ 208 w 348"/>
                <a:gd name="T13" fmla="*/ 263 h 535"/>
                <a:gd name="T14" fmla="*/ 208 w 348"/>
                <a:gd name="T15" fmla="*/ 268 h 535"/>
                <a:gd name="T16" fmla="*/ 208 w 348"/>
                <a:gd name="T17" fmla="*/ 271 h 535"/>
                <a:gd name="T18" fmla="*/ 206 w 348"/>
                <a:gd name="T19" fmla="*/ 274 h 535"/>
                <a:gd name="T20" fmla="*/ 25 w 348"/>
                <a:gd name="T21" fmla="*/ 457 h 535"/>
                <a:gd name="T22" fmla="*/ 80 w 348"/>
                <a:gd name="T23" fmla="*/ 535 h 535"/>
                <a:gd name="T24" fmla="*/ 75 w 348"/>
                <a:gd name="T25" fmla="*/ 534 h 535"/>
                <a:gd name="T26" fmla="*/ 72 w 348"/>
                <a:gd name="T27" fmla="*/ 533 h 535"/>
                <a:gd name="T28" fmla="*/ 3 w 348"/>
                <a:gd name="T29" fmla="*/ 463 h 535"/>
                <a:gd name="T30" fmla="*/ 1 w 348"/>
                <a:gd name="T31" fmla="*/ 460 h 535"/>
                <a:gd name="T32" fmla="*/ 0 w 348"/>
                <a:gd name="T33" fmla="*/ 457 h 535"/>
                <a:gd name="T34" fmla="*/ 1 w 348"/>
                <a:gd name="T35" fmla="*/ 452 h 535"/>
                <a:gd name="T36" fmla="*/ 3 w 348"/>
                <a:gd name="T37" fmla="*/ 449 h 535"/>
                <a:gd name="T38" fmla="*/ 185 w 348"/>
                <a:gd name="T39" fmla="*/ 268 h 535"/>
                <a:gd name="T40" fmla="*/ 3 w 348"/>
                <a:gd name="T41" fmla="*/ 86 h 535"/>
                <a:gd name="T42" fmla="*/ 1 w 348"/>
                <a:gd name="T43" fmla="*/ 83 h 535"/>
                <a:gd name="T44" fmla="*/ 0 w 348"/>
                <a:gd name="T45" fmla="*/ 79 h 535"/>
                <a:gd name="T46" fmla="*/ 1 w 348"/>
                <a:gd name="T47" fmla="*/ 75 h 535"/>
                <a:gd name="T48" fmla="*/ 3 w 348"/>
                <a:gd name="T49" fmla="*/ 72 h 535"/>
                <a:gd name="T50" fmla="*/ 72 w 348"/>
                <a:gd name="T51" fmla="*/ 2 h 535"/>
                <a:gd name="T52" fmla="*/ 75 w 348"/>
                <a:gd name="T53" fmla="*/ 0 h 535"/>
                <a:gd name="T54" fmla="*/ 80 w 348"/>
                <a:gd name="T55" fmla="*/ 0 h 535"/>
                <a:gd name="T56" fmla="*/ 83 w 348"/>
                <a:gd name="T57" fmla="*/ 0 h 535"/>
                <a:gd name="T58" fmla="*/ 86 w 348"/>
                <a:gd name="T59" fmla="*/ 2 h 535"/>
                <a:gd name="T60" fmla="*/ 344 w 348"/>
                <a:gd name="T61" fmla="*/ 260 h 535"/>
                <a:gd name="T62" fmla="*/ 347 w 348"/>
                <a:gd name="T63" fmla="*/ 263 h 535"/>
                <a:gd name="T64" fmla="*/ 348 w 348"/>
                <a:gd name="T65" fmla="*/ 268 h 535"/>
                <a:gd name="T66" fmla="*/ 347 w 348"/>
                <a:gd name="T67" fmla="*/ 271 h 535"/>
                <a:gd name="T68" fmla="*/ 344 w 348"/>
                <a:gd name="T69" fmla="*/ 274 h 535"/>
                <a:gd name="T70" fmla="*/ 86 w 348"/>
                <a:gd name="T71" fmla="*/ 532 h 535"/>
                <a:gd name="T72" fmla="*/ 83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6" y="260"/>
                  </a:lnTo>
                  <a:lnTo>
                    <a:pt x="208" y="263"/>
                  </a:lnTo>
                  <a:lnTo>
                    <a:pt x="208" y="268"/>
                  </a:lnTo>
                  <a:lnTo>
                    <a:pt x="208" y="271"/>
                  </a:lnTo>
                  <a:lnTo>
                    <a:pt x="206" y="274"/>
                  </a:lnTo>
                  <a:lnTo>
                    <a:pt x="25" y="457"/>
                  </a:lnTo>
                  <a:close/>
                  <a:moveTo>
                    <a:pt x="80" y="535"/>
                  </a:moveTo>
                  <a:lnTo>
                    <a:pt x="75" y="534"/>
                  </a:lnTo>
                  <a:lnTo>
                    <a:pt x="72" y="533"/>
                  </a:lnTo>
                  <a:lnTo>
                    <a:pt x="3" y="463"/>
                  </a:lnTo>
                  <a:lnTo>
                    <a:pt x="1" y="460"/>
                  </a:lnTo>
                  <a:lnTo>
                    <a:pt x="0" y="457"/>
                  </a:lnTo>
                  <a:lnTo>
                    <a:pt x="1" y="452"/>
                  </a:lnTo>
                  <a:lnTo>
                    <a:pt x="3" y="449"/>
                  </a:lnTo>
                  <a:lnTo>
                    <a:pt x="185" y="268"/>
                  </a:lnTo>
                  <a:lnTo>
                    <a:pt x="3" y="86"/>
                  </a:lnTo>
                  <a:lnTo>
                    <a:pt x="1" y="83"/>
                  </a:lnTo>
                  <a:lnTo>
                    <a:pt x="0" y="79"/>
                  </a:lnTo>
                  <a:lnTo>
                    <a:pt x="1" y="75"/>
                  </a:lnTo>
                  <a:lnTo>
                    <a:pt x="3" y="72"/>
                  </a:lnTo>
                  <a:lnTo>
                    <a:pt x="72" y="2"/>
                  </a:lnTo>
                  <a:lnTo>
                    <a:pt x="75" y="0"/>
                  </a:lnTo>
                  <a:lnTo>
                    <a:pt x="80" y="0"/>
                  </a:lnTo>
                  <a:lnTo>
                    <a:pt x="83" y="0"/>
                  </a:lnTo>
                  <a:lnTo>
                    <a:pt x="86" y="2"/>
                  </a:lnTo>
                  <a:lnTo>
                    <a:pt x="344" y="260"/>
                  </a:lnTo>
                  <a:lnTo>
                    <a:pt x="347" y="263"/>
                  </a:lnTo>
                  <a:lnTo>
                    <a:pt x="348" y="268"/>
                  </a:lnTo>
                  <a:lnTo>
                    <a:pt x="347" y="271"/>
                  </a:lnTo>
                  <a:lnTo>
                    <a:pt x="344" y="274"/>
                  </a:lnTo>
                  <a:lnTo>
                    <a:pt x="86" y="532"/>
                  </a:lnTo>
                  <a:lnTo>
                    <a:pt x="83" y="534"/>
                  </a:lnTo>
                  <a:lnTo>
                    <a:pt x="80"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18737093"/>
      </p:ext>
    </p:extLst>
  </p:cSld>
  <p:clrMapOvr>
    <a:masterClrMapping/>
  </p:clrMapOvr>
  <p:transition spd="slow">
    <p:cove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505CDED-13AE-40F0-87D6-E4A6DDAE0C42}"/>
              </a:ext>
            </a:extLst>
          </p:cNvPr>
          <p:cNvSpPr txBox="1"/>
          <p:nvPr/>
        </p:nvSpPr>
        <p:spPr>
          <a:xfrm>
            <a:off x="391886" y="138113"/>
            <a:ext cx="11408228" cy="677108"/>
          </a:xfrm>
          <a:prstGeom prst="rect">
            <a:avLst/>
          </a:prstGeom>
          <a:noFill/>
        </p:spPr>
        <p:txBody>
          <a:bodyPr wrap="square" lIns="0" tIns="0" rIns="0" bIns="0" rtlCol="0" anchor="t">
            <a:spAutoFit/>
          </a:bodyPr>
          <a:lstStyle/>
          <a:p>
            <a:pPr algn="ctr"/>
            <a:r>
              <a:rPr lang="en-US" sz="4400" dirty="0">
                <a:solidFill>
                  <a:schemeClr val="tx2"/>
                </a:solidFill>
                <a:latin typeface="+mj-lt"/>
              </a:rPr>
              <a:t>INDEX</a:t>
            </a:r>
            <a:endParaRPr lang="en-ID" sz="4400" dirty="0">
              <a:solidFill>
                <a:schemeClr val="tx2"/>
              </a:solidFill>
              <a:latin typeface="+mj-lt"/>
            </a:endParaRPr>
          </a:p>
        </p:txBody>
      </p:sp>
      <p:sp>
        <p:nvSpPr>
          <p:cNvPr id="6" name="Slide Number Placeholder 5">
            <a:extLst>
              <a:ext uri="{FF2B5EF4-FFF2-40B4-BE49-F238E27FC236}">
                <a16:creationId xmlns:a16="http://schemas.microsoft.com/office/drawing/2014/main" id="{D24DC781-AC70-4CCD-8B70-39BA47EBA0E9}"/>
              </a:ext>
            </a:extLst>
          </p:cNvPr>
          <p:cNvSpPr>
            <a:spLocks noGrp="1"/>
          </p:cNvSpPr>
          <p:nvPr>
            <p:ph type="sldNum" sz="quarter" idx="12"/>
          </p:nvPr>
        </p:nvSpPr>
        <p:spPr/>
        <p:txBody>
          <a:bodyPr/>
          <a:lstStyle/>
          <a:p>
            <a:fld id="{67F89122-6C24-49FD-BEBC-7A811562A5F5}" type="slidenum">
              <a:rPr lang="en-ID" smtClean="0"/>
              <a:t>3</a:t>
            </a:fld>
            <a:endParaRPr lang="en-ID"/>
          </a:p>
        </p:txBody>
      </p:sp>
      <p:sp>
        <p:nvSpPr>
          <p:cNvPr id="52" name="Block Arc 51">
            <a:extLst>
              <a:ext uri="{FF2B5EF4-FFF2-40B4-BE49-F238E27FC236}">
                <a16:creationId xmlns:a16="http://schemas.microsoft.com/office/drawing/2014/main" id="{F4B3CEFB-3BF3-4D07-AB43-4D2A5ED55678}"/>
              </a:ext>
            </a:extLst>
          </p:cNvPr>
          <p:cNvSpPr/>
          <p:nvPr/>
        </p:nvSpPr>
        <p:spPr>
          <a:xfrm>
            <a:off x="8266204" y="1584001"/>
            <a:ext cx="2854234" cy="2854234"/>
          </a:xfrm>
          <a:prstGeom prst="blockArc">
            <a:avLst>
              <a:gd name="adj1" fmla="val 10800000"/>
              <a:gd name="adj2" fmla="val 0"/>
              <a:gd name="adj3" fmla="val 1609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Block Arc 52">
            <a:extLst>
              <a:ext uri="{FF2B5EF4-FFF2-40B4-BE49-F238E27FC236}">
                <a16:creationId xmlns:a16="http://schemas.microsoft.com/office/drawing/2014/main" id="{3BFBF09B-FB9B-48FC-8042-39C108ACE8A7}"/>
              </a:ext>
            </a:extLst>
          </p:cNvPr>
          <p:cNvSpPr/>
          <p:nvPr/>
        </p:nvSpPr>
        <p:spPr>
          <a:xfrm>
            <a:off x="3475129" y="1584001"/>
            <a:ext cx="2854234" cy="2854234"/>
          </a:xfrm>
          <a:prstGeom prst="blockArc">
            <a:avLst>
              <a:gd name="adj1" fmla="val 10800000"/>
              <a:gd name="adj2" fmla="val 0"/>
              <a:gd name="adj3" fmla="val 1609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4" name="Block Arc 53">
            <a:extLst>
              <a:ext uri="{FF2B5EF4-FFF2-40B4-BE49-F238E27FC236}">
                <a16:creationId xmlns:a16="http://schemas.microsoft.com/office/drawing/2014/main" id="{0E3E7C7D-9CCA-4244-BDBC-2E6CE69A8ECA}"/>
              </a:ext>
            </a:extLst>
          </p:cNvPr>
          <p:cNvSpPr/>
          <p:nvPr/>
        </p:nvSpPr>
        <p:spPr>
          <a:xfrm>
            <a:off x="1071563" y="1584001"/>
            <a:ext cx="2854234" cy="2854234"/>
          </a:xfrm>
          <a:prstGeom prst="blockArc">
            <a:avLst>
              <a:gd name="adj1" fmla="val 10800000"/>
              <a:gd name="adj2" fmla="val 0"/>
              <a:gd name="adj3" fmla="val 16096"/>
            </a:avLst>
          </a:prstGeom>
          <a:gradFill>
            <a:gsLst>
              <a:gs pos="0">
                <a:schemeClr val="accent4"/>
              </a:gs>
              <a:gs pos="100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5" name="Block Arc 54">
            <a:extLst>
              <a:ext uri="{FF2B5EF4-FFF2-40B4-BE49-F238E27FC236}">
                <a16:creationId xmlns:a16="http://schemas.microsoft.com/office/drawing/2014/main" id="{AC89D582-C7F0-4EFA-8DEA-51DC2BC653ED}"/>
              </a:ext>
            </a:extLst>
          </p:cNvPr>
          <p:cNvSpPr/>
          <p:nvPr/>
        </p:nvSpPr>
        <p:spPr>
          <a:xfrm flipV="1">
            <a:off x="1071563" y="1620647"/>
            <a:ext cx="2854234" cy="2854234"/>
          </a:xfrm>
          <a:prstGeom prst="blockArc">
            <a:avLst>
              <a:gd name="adj1" fmla="val 10800000"/>
              <a:gd name="adj2" fmla="val 0"/>
              <a:gd name="adj3" fmla="val 1609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solidFill>
                <a:schemeClr val="tx1"/>
              </a:solidFill>
            </a:endParaRPr>
          </a:p>
        </p:txBody>
      </p:sp>
      <p:sp>
        <p:nvSpPr>
          <p:cNvPr id="56" name="Block Arc 55">
            <a:extLst>
              <a:ext uri="{FF2B5EF4-FFF2-40B4-BE49-F238E27FC236}">
                <a16:creationId xmlns:a16="http://schemas.microsoft.com/office/drawing/2014/main" id="{E80DFB69-5BC8-439F-B8AE-9825618941E0}"/>
              </a:ext>
            </a:extLst>
          </p:cNvPr>
          <p:cNvSpPr/>
          <p:nvPr/>
        </p:nvSpPr>
        <p:spPr>
          <a:xfrm flipV="1">
            <a:off x="3475129" y="1620647"/>
            <a:ext cx="2854234" cy="2854234"/>
          </a:xfrm>
          <a:prstGeom prst="blockArc">
            <a:avLst>
              <a:gd name="adj1" fmla="val 10800000"/>
              <a:gd name="adj2" fmla="val 0"/>
              <a:gd name="adj3" fmla="val 16096"/>
            </a:avLst>
          </a:prstGeom>
          <a:gradFill>
            <a:gsLst>
              <a:gs pos="0">
                <a:schemeClr val="accent4"/>
              </a:gs>
              <a:gs pos="100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solidFill>
                <a:schemeClr val="tx1"/>
              </a:solidFill>
            </a:endParaRPr>
          </a:p>
        </p:txBody>
      </p:sp>
      <p:sp>
        <p:nvSpPr>
          <p:cNvPr id="57" name="Block Arc 56">
            <a:extLst>
              <a:ext uri="{FF2B5EF4-FFF2-40B4-BE49-F238E27FC236}">
                <a16:creationId xmlns:a16="http://schemas.microsoft.com/office/drawing/2014/main" id="{56667D99-1A5A-440C-96D4-5AE9495C0943}"/>
              </a:ext>
            </a:extLst>
          </p:cNvPr>
          <p:cNvSpPr/>
          <p:nvPr/>
        </p:nvSpPr>
        <p:spPr>
          <a:xfrm>
            <a:off x="5875429" y="1584001"/>
            <a:ext cx="2854234" cy="2854234"/>
          </a:xfrm>
          <a:prstGeom prst="blockArc">
            <a:avLst>
              <a:gd name="adj1" fmla="val 10800000"/>
              <a:gd name="adj2" fmla="val 0"/>
              <a:gd name="adj3" fmla="val 16096"/>
            </a:avLst>
          </a:prstGeom>
          <a:gradFill>
            <a:gsLst>
              <a:gs pos="0">
                <a:schemeClr val="accent4"/>
              </a:gs>
              <a:gs pos="100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Block Arc 57">
            <a:extLst>
              <a:ext uri="{FF2B5EF4-FFF2-40B4-BE49-F238E27FC236}">
                <a16:creationId xmlns:a16="http://schemas.microsoft.com/office/drawing/2014/main" id="{C37C14A1-8F02-4FF3-ABDC-71CFF36109BA}"/>
              </a:ext>
            </a:extLst>
          </p:cNvPr>
          <p:cNvSpPr/>
          <p:nvPr/>
        </p:nvSpPr>
        <p:spPr>
          <a:xfrm flipV="1">
            <a:off x="5875429" y="1620647"/>
            <a:ext cx="2854234" cy="2854234"/>
          </a:xfrm>
          <a:prstGeom prst="blockArc">
            <a:avLst>
              <a:gd name="adj1" fmla="val 10800000"/>
              <a:gd name="adj2" fmla="val 0"/>
              <a:gd name="adj3" fmla="val 1609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solidFill>
                <a:schemeClr val="tx1"/>
              </a:solidFill>
            </a:endParaRPr>
          </a:p>
        </p:txBody>
      </p:sp>
      <p:sp>
        <p:nvSpPr>
          <p:cNvPr id="59" name="Block Arc 58">
            <a:extLst>
              <a:ext uri="{FF2B5EF4-FFF2-40B4-BE49-F238E27FC236}">
                <a16:creationId xmlns:a16="http://schemas.microsoft.com/office/drawing/2014/main" id="{A2674485-5908-46F1-BD14-9E654164E19B}"/>
              </a:ext>
            </a:extLst>
          </p:cNvPr>
          <p:cNvSpPr/>
          <p:nvPr/>
        </p:nvSpPr>
        <p:spPr>
          <a:xfrm flipV="1">
            <a:off x="8266204" y="1620647"/>
            <a:ext cx="2854234" cy="2854234"/>
          </a:xfrm>
          <a:prstGeom prst="blockArc">
            <a:avLst>
              <a:gd name="adj1" fmla="val 10800000"/>
              <a:gd name="adj2" fmla="val 0"/>
              <a:gd name="adj3" fmla="val 16096"/>
            </a:avLst>
          </a:prstGeom>
          <a:gradFill>
            <a:gsLst>
              <a:gs pos="0">
                <a:schemeClr val="accent4"/>
              </a:gs>
              <a:gs pos="100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solidFill>
                <a:schemeClr val="tx1"/>
              </a:solidFill>
            </a:endParaRPr>
          </a:p>
        </p:txBody>
      </p:sp>
      <p:sp>
        <p:nvSpPr>
          <p:cNvPr id="70" name="Rectangle 69">
            <a:extLst>
              <a:ext uri="{FF2B5EF4-FFF2-40B4-BE49-F238E27FC236}">
                <a16:creationId xmlns:a16="http://schemas.microsoft.com/office/drawing/2014/main" id="{EEA33782-7A7E-4D41-81B3-F50E206F5DD2}"/>
              </a:ext>
            </a:extLst>
          </p:cNvPr>
          <p:cNvSpPr/>
          <p:nvPr>
            <p:custDataLst>
              <p:tags r:id="rId1"/>
            </p:custDataLst>
          </p:nvPr>
        </p:nvSpPr>
        <p:spPr>
          <a:xfrm>
            <a:off x="1283313" y="4608142"/>
            <a:ext cx="2430734" cy="461665"/>
          </a:xfrm>
          <a:prstGeom prst="rect">
            <a:avLst/>
          </a:prstGeom>
        </p:spPr>
        <p:txBody>
          <a:bodyPr wrap="square" anchor="t">
            <a:spAutoFit/>
          </a:bodyPr>
          <a:lstStyle/>
          <a:p>
            <a:pPr algn="ctr"/>
            <a:r>
              <a:rPr lang="en-US" sz="2400" b="1" dirty="0">
                <a:solidFill>
                  <a:schemeClr val="tx1">
                    <a:lumMod val="75000"/>
                    <a:lumOff val="25000"/>
                  </a:schemeClr>
                </a:solidFill>
                <a:latin typeface="+mj-lt"/>
              </a:rPr>
              <a:t>OBJECTIVE</a:t>
            </a:r>
          </a:p>
        </p:txBody>
      </p:sp>
      <p:sp>
        <p:nvSpPr>
          <p:cNvPr id="71" name="Rectangle 70">
            <a:extLst>
              <a:ext uri="{FF2B5EF4-FFF2-40B4-BE49-F238E27FC236}">
                <a16:creationId xmlns:a16="http://schemas.microsoft.com/office/drawing/2014/main" id="{2DB7BD0B-175A-494D-871C-CFFA2385BD20}"/>
              </a:ext>
            </a:extLst>
          </p:cNvPr>
          <p:cNvSpPr/>
          <p:nvPr>
            <p:custDataLst>
              <p:tags r:id="rId2"/>
            </p:custDataLst>
          </p:nvPr>
        </p:nvSpPr>
        <p:spPr>
          <a:xfrm>
            <a:off x="3681526" y="4608142"/>
            <a:ext cx="2430734" cy="461665"/>
          </a:xfrm>
          <a:prstGeom prst="rect">
            <a:avLst/>
          </a:prstGeom>
        </p:spPr>
        <p:txBody>
          <a:bodyPr wrap="square" anchor="t">
            <a:spAutoFit/>
          </a:bodyPr>
          <a:lstStyle/>
          <a:p>
            <a:pPr algn="ctr"/>
            <a:r>
              <a:rPr lang="en-US" sz="2400" b="1" dirty="0">
                <a:solidFill>
                  <a:schemeClr val="tx1">
                    <a:lumMod val="75000"/>
                    <a:lumOff val="25000"/>
                  </a:schemeClr>
                </a:solidFill>
                <a:latin typeface="+mj-lt"/>
              </a:rPr>
              <a:t>KPI’S</a:t>
            </a:r>
          </a:p>
        </p:txBody>
      </p:sp>
      <p:sp>
        <p:nvSpPr>
          <p:cNvPr id="72" name="Rectangle 71">
            <a:extLst>
              <a:ext uri="{FF2B5EF4-FFF2-40B4-BE49-F238E27FC236}">
                <a16:creationId xmlns:a16="http://schemas.microsoft.com/office/drawing/2014/main" id="{3A71C9F2-634E-46AD-9325-47516FC1ED7C}"/>
              </a:ext>
            </a:extLst>
          </p:cNvPr>
          <p:cNvSpPr/>
          <p:nvPr>
            <p:custDataLst>
              <p:tags r:id="rId3"/>
            </p:custDataLst>
          </p:nvPr>
        </p:nvSpPr>
        <p:spPr>
          <a:xfrm>
            <a:off x="6079739" y="4608142"/>
            <a:ext cx="2430734" cy="461665"/>
          </a:xfrm>
          <a:prstGeom prst="rect">
            <a:avLst/>
          </a:prstGeom>
        </p:spPr>
        <p:txBody>
          <a:bodyPr wrap="square" anchor="t">
            <a:spAutoFit/>
          </a:bodyPr>
          <a:lstStyle/>
          <a:p>
            <a:pPr algn="ctr"/>
            <a:r>
              <a:rPr lang="en-IN" sz="2400" b="1" dirty="0">
                <a:latin typeface="+mj-lt"/>
              </a:rPr>
              <a:t>VISUALIZA</a:t>
            </a:r>
            <a:r>
              <a:rPr lang="en-IN" sz="2400" dirty="0">
                <a:latin typeface="+mj-lt"/>
              </a:rPr>
              <a:t>T</a:t>
            </a:r>
            <a:r>
              <a:rPr lang="en-IN" sz="2400" b="1" dirty="0">
                <a:latin typeface="+mj-lt"/>
              </a:rPr>
              <a:t>IONS</a:t>
            </a:r>
            <a:endParaRPr lang="en-US" sz="2400" b="1" dirty="0">
              <a:solidFill>
                <a:schemeClr val="tx1">
                  <a:lumMod val="75000"/>
                  <a:lumOff val="25000"/>
                </a:schemeClr>
              </a:solidFill>
              <a:latin typeface="+mj-lt"/>
            </a:endParaRPr>
          </a:p>
        </p:txBody>
      </p:sp>
      <p:sp>
        <p:nvSpPr>
          <p:cNvPr id="73" name="Rectangle 72">
            <a:extLst>
              <a:ext uri="{FF2B5EF4-FFF2-40B4-BE49-F238E27FC236}">
                <a16:creationId xmlns:a16="http://schemas.microsoft.com/office/drawing/2014/main" id="{EE801752-C377-4A58-80CA-F6C4BD366299}"/>
              </a:ext>
            </a:extLst>
          </p:cNvPr>
          <p:cNvSpPr/>
          <p:nvPr>
            <p:custDataLst>
              <p:tags r:id="rId4"/>
            </p:custDataLst>
          </p:nvPr>
        </p:nvSpPr>
        <p:spPr>
          <a:xfrm>
            <a:off x="8477953" y="4608142"/>
            <a:ext cx="2430734" cy="461665"/>
          </a:xfrm>
          <a:prstGeom prst="rect">
            <a:avLst/>
          </a:prstGeom>
        </p:spPr>
        <p:txBody>
          <a:bodyPr wrap="square" anchor="t">
            <a:spAutoFit/>
          </a:bodyPr>
          <a:lstStyle/>
          <a:p>
            <a:pPr algn="ctr"/>
            <a:r>
              <a:rPr lang="en-US" sz="2400" b="1" dirty="0">
                <a:solidFill>
                  <a:schemeClr val="tx1">
                    <a:lumMod val="75000"/>
                    <a:lumOff val="25000"/>
                  </a:schemeClr>
                </a:solidFill>
                <a:latin typeface="+mj-lt"/>
              </a:rPr>
              <a:t>KEY </a:t>
            </a:r>
            <a:r>
              <a:rPr lang="en-US" sz="2400" dirty="0">
                <a:solidFill>
                  <a:schemeClr val="tx1">
                    <a:lumMod val="75000"/>
                    <a:lumOff val="25000"/>
                  </a:schemeClr>
                </a:solidFill>
                <a:latin typeface="+mj-lt"/>
              </a:rPr>
              <a:t>T</a:t>
            </a:r>
            <a:r>
              <a:rPr lang="en-US" sz="2400" b="1" dirty="0">
                <a:solidFill>
                  <a:schemeClr val="tx1">
                    <a:lumMod val="75000"/>
                    <a:lumOff val="25000"/>
                  </a:schemeClr>
                </a:solidFill>
                <a:latin typeface="+mj-lt"/>
              </a:rPr>
              <a:t>AKEAWAYS</a:t>
            </a:r>
          </a:p>
        </p:txBody>
      </p:sp>
      <p:pic>
        <p:nvPicPr>
          <p:cNvPr id="7" name="Picture 6">
            <a:extLst>
              <a:ext uri="{FF2B5EF4-FFF2-40B4-BE49-F238E27FC236}">
                <a16:creationId xmlns:a16="http://schemas.microsoft.com/office/drawing/2014/main" id="{450AE50E-8AF2-079E-FB08-731201D0763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12940" y="2722880"/>
            <a:ext cx="686140" cy="686140"/>
          </a:xfrm>
          <a:prstGeom prst="rect">
            <a:avLst/>
          </a:prstGeom>
        </p:spPr>
      </p:pic>
      <p:pic>
        <p:nvPicPr>
          <p:cNvPr id="12" name="Picture 11">
            <a:extLst>
              <a:ext uri="{FF2B5EF4-FFF2-40B4-BE49-F238E27FC236}">
                <a16:creationId xmlns:a16="http://schemas.microsoft.com/office/drawing/2014/main" id="{03C8E6E6-02A9-4B4B-52FF-21CC76C1AA2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02140" y="2697480"/>
            <a:ext cx="742020" cy="742020"/>
          </a:xfrm>
          <a:prstGeom prst="rect">
            <a:avLst/>
          </a:prstGeom>
        </p:spPr>
      </p:pic>
      <p:pic>
        <p:nvPicPr>
          <p:cNvPr id="14" name="Picture 13">
            <a:extLst>
              <a:ext uri="{FF2B5EF4-FFF2-40B4-BE49-F238E27FC236}">
                <a16:creationId xmlns:a16="http://schemas.microsoft.com/office/drawing/2014/main" id="{06955D80-DEAB-DCDF-A7B9-E44941FC624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55645" y="2738119"/>
            <a:ext cx="694836" cy="694836"/>
          </a:xfrm>
          <a:prstGeom prst="rect">
            <a:avLst/>
          </a:prstGeom>
        </p:spPr>
      </p:pic>
      <p:pic>
        <p:nvPicPr>
          <p:cNvPr id="16" name="Picture 15">
            <a:extLst>
              <a:ext uri="{FF2B5EF4-FFF2-40B4-BE49-F238E27FC236}">
                <a16:creationId xmlns:a16="http://schemas.microsoft.com/office/drawing/2014/main" id="{F8954DCF-A6CA-4FB0-1D4B-1CAFDEADBA7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550398" y="2697480"/>
            <a:ext cx="731522" cy="731522"/>
          </a:xfrm>
          <a:prstGeom prst="rect">
            <a:avLst/>
          </a:prstGeom>
        </p:spPr>
      </p:pic>
      <p:sp>
        <p:nvSpPr>
          <p:cNvPr id="17" name="Oval 16">
            <a:extLst>
              <a:ext uri="{FF2B5EF4-FFF2-40B4-BE49-F238E27FC236}">
                <a16:creationId xmlns:a16="http://schemas.microsoft.com/office/drawing/2014/main" id="{BE63A3B8-B82F-33D8-BD2C-AAC2BBABD742}"/>
              </a:ext>
            </a:extLst>
          </p:cNvPr>
          <p:cNvSpPr/>
          <p:nvPr/>
        </p:nvSpPr>
        <p:spPr>
          <a:xfrm>
            <a:off x="11865983" y="3096793"/>
            <a:ext cx="652034" cy="652034"/>
          </a:xfrm>
          <a:prstGeom prst="ellipse">
            <a:avLst/>
          </a:prstGeom>
          <a:solidFill>
            <a:srgbClr val="FDBF1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8" name="Group 17">
            <a:extLst>
              <a:ext uri="{FF2B5EF4-FFF2-40B4-BE49-F238E27FC236}">
                <a16:creationId xmlns:a16="http://schemas.microsoft.com/office/drawing/2014/main" id="{89B710DE-570A-34D4-BF3E-1C99BE9CDAEF}"/>
              </a:ext>
            </a:extLst>
          </p:cNvPr>
          <p:cNvGrpSpPr/>
          <p:nvPr/>
        </p:nvGrpSpPr>
        <p:grpSpPr>
          <a:xfrm rot="10800000">
            <a:off x="12052255" y="3317454"/>
            <a:ext cx="279490" cy="251353"/>
            <a:chOff x="7396163" y="4268788"/>
            <a:chExt cx="236538" cy="212725"/>
          </a:xfrm>
          <a:solidFill>
            <a:schemeClr val="accent4"/>
          </a:solidFill>
        </p:grpSpPr>
        <p:sp>
          <p:nvSpPr>
            <p:cNvPr id="19" name="Freeform 385">
              <a:extLst>
                <a:ext uri="{FF2B5EF4-FFF2-40B4-BE49-F238E27FC236}">
                  <a16:creationId xmlns:a16="http://schemas.microsoft.com/office/drawing/2014/main" id="{AC0D1BE7-E9A6-0305-F40B-97B53EC4D8D8}"/>
                </a:ext>
              </a:extLst>
            </p:cNvPr>
            <p:cNvSpPr>
              <a:spLocks noEditPoints="1"/>
            </p:cNvSpPr>
            <p:nvPr/>
          </p:nvSpPr>
          <p:spPr bwMode="auto">
            <a:xfrm>
              <a:off x="7396163"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7 w 348"/>
                <a:gd name="T11" fmla="*/ 260 h 535"/>
                <a:gd name="T12" fmla="*/ 209 w 348"/>
                <a:gd name="T13" fmla="*/ 263 h 535"/>
                <a:gd name="T14" fmla="*/ 210 w 348"/>
                <a:gd name="T15" fmla="*/ 268 h 535"/>
                <a:gd name="T16" fmla="*/ 209 w 348"/>
                <a:gd name="T17" fmla="*/ 271 h 535"/>
                <a:gd name="T18" fmla="*/ 207 w 348"/>
                <a:gd name="T19" fmla="*/ 274 h 535"/>
                <a:gd name="T20" fmla="*/ 25 w 348"/>
                <a:gd name="T21" fmla="*/ 457 h 535"/>
                <a:gd name="T22" fmla="*/ 80 w 348"/>
                <a:gd name="T23" fmla="*/ 535 h 535"/>
                <a:gd name="T24" fmla="*/ 77 w 348"/>
                <a:gd name="T25" fmla="*/ 534 h 535"/>
                <a:gd name="T26" fmla="*/ 73 w 348"/>
                <a:gd name="T27" fmla="*/ 533 h 535"/>
                <a:gd name="T28" fmla="*/ 4 w 348"/>
                <a:gd name="T29" fmla="*/ 463 h 535"/>
                <a:gd name="T30" fmla="*/ 2 w 348"/>
                <a:gd name="T31" fmla="*/ 460 h 535"/>
                <a:gd name="T32" fmla="*/ 0 w 348"/>
                <a:gd name="T33" fmla="*/ 457 h 535"/>
                <a:gd name="T34" fmla="*/ 2 w 348"/>
                <a:gd name="T35" fmla="*/ 452 h 535"/>
                <a:gd name="T36" fmla="*/ 4 w 348"/>
                <a:gd name="T37" fmla="*/ 449 h 535"/>
                <a:gd name="T38" fmla="*/ 185 w 348"/>
                <a:gd name="T39" fmla="*/ 268 h 535"/>
                <a:gd name="T40" fmla="*/ 4 w 348"/>
                <a:gd name="T41" fmla="*/ 86 h 535"/>
                <a:gd name="T42" fmla="*/ 2 w 348"/>
                <a:gd name="T43" fmla="*/ 83 h 535"/>
                <a:gd name="T44" fmla="*/ 0 w 348"/>
                <a:gd name="T45" fmla="*/ 79 h 535"/>
                <a:gd name="T46" fmla="*/ 2 w 348"/>
                <a:gd name="T47" fmla="*/ 75 h 535"/>
                <a:gd name="T48" fmla="*/ 4 w 348"/>
                <a:gd name="T49" fmla="*/ 72 h 535"/>
                <a:gd name="T50" fmla="*/ 74 w 348"/>
                <a:gd name="T51" fmla="*/ 2 h 535"/>
                <a:gd name="T52" fmla="*/ 77 w 348"/>
                <a:gd name="T53" fmla="*/ 0 h 535"/>
                <a:gd name="T54" fmla="*/ 80 w 348"/>
                <a:gd name="T55" fmla="*/ 0 h 535"/>
                <a:gd name="T56" fmla="*/ 84 w 348"/>
                <a:gd name="T57" fmla="*/ 0 h 535"/>
                <a:gd name="T58" fmla="*/ 87 w 348"/>
                <a:gd name="T59" fmla="*/ 2 h 535"/>
                <a:gd name="T60" fmla="*/ 346 w 348"/>
                <a:gd name="T61" fmla="*/ 260 h 535"/>
                <a:gd name="T62" fmla="*/ 348 w 348"/>
                <a:gd name="T63" fmla="*/ 263 h 535"/>
                <a:gd name="T64" fmla="*/ 348 w 348"/>
                <a:gd name="T65" fmla="*/ 268 h 535"/>
                <a:gd name="T66" fmla="*/ 348 w 348"/>
                <a:gd name="T67" fmla="*/ 271 h 535"/>
                <a:gd name="T68" fmla="*/ 346 w 348"/>
                <a:gd name="T69" fmla="*/ 274 h 535"/>
                <a:gd name="T70" fmla="*/ 87 w 348"/>
                <a:gd name="T71" fmla="*/ 532 h 535"/>
                <a:gd name="T72" fmla="*/ 84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7" y="260"/>
                  </a:lnTo>
                  <a:lnTo>
                    <a:pt x="209" y="263"/>
                  </a:lnTo>
                  <a:lnTo>
                    <a:pt x="210" y="268"/>
                  </a:lnTo>
                  <a:lnTo>
                    <a:pt x="209" y="271"/>
                  </a:lnTo>
                  <a:lnTo>
                    <a:pt x="207" y="274"/>
                  </a:lnTo>
                  <a:lnTo>
                    <a:pt x="25" y="457"/>
                  </a:lnTo>
                  <a:close/>
                  <a:moveTo>
                    <a:pt x="80" y="535"/>
                  </a:moveTo>
                  <a:lnTo>
                    <a:pt x="77" y="534"/>
                  </a:lnTo>
                  <a:lnTo>
                    <a:pt x="73" y="533"/>
                  </a:lnTo>
                  <a:lnTo>
                    <a:pt x="4" y="463"/>
                  </a:lnTo>
                  <a:lnTo>
                    <a:pt x="2" y="460"/>
                  </a:lnTo>
                  <a:lnTo>
                    <a:pt x="0" y="457"/>
                  </a:lnTo>
                  <a:lnTo>
                    <a:pt x="2" y="452"/>
                  </a:lnTo>
                  <a:lnTo>
                    <a:pt x="4" y="449"/>
                  </a:lnTo>
                  <a:lnTo>
                    <a:pt x="185" y="268"/>
                  </a:lnTo>
                  <a:lnTo>
                    <a:pt x="4" y="86"/>
                  </a:lnTo>
                  <a:lnTo>
                    <a:pt x="2" y="83"/>
                  </a:lnTo>
                  <a:lnTo>
                    <a:pt x="0" y="79"/>
                  </a:lnTo>
                  <a:lnTo>
                    <a:pt x="2" y="75"/>
                  </a:lnTo>
                  <a:lnTo>
                    <a:pt x="4" y="72"/>
                  </a:lnTo>
                  <a:lnTo>
                    <a:pt x="74" y="2"/>
                  </a:lnTo>
                  <a:lnTo>
                    <a:pt x="77" y="0"/>
                  </a:lnTo>
                  <a:lnTo>
                    <a:pt x="80" y="0"/>
                  </a:lnTo>
                  <a:lnTo>
                    <a:pt x="84" y="0"/>
                  </a:lnTo>
                  <a:lnTo>
                    <a:pt x="87" y="2"/>
                  </a:lnTo>
                  <a:lnTo>
                    <a:pt x="346" y="260"/>
                  </a:lnTo>
                  <a:lnTo>
                    <a:pt x="348" y="263"/>
                  </a:lnTo>
                  <a:lnTo>
                    <a:pt x="348" y="268"/>
                  </a:lnTo>
                  <a:lnTo>
                    <a:pt x="348" y="271"/>
                  </a:lnTo>
                  <a:lnTo>
                    <a:pt x="346" y="274"/>
                  </a:lnTo>
                  <a:lnTo>
                    <a:pt x="87" y="532"/>
                  </a:lnTo>
                  <a:lnTo>
                    <a:pt x="84" y="534"/>
                  </a:lnTo>
                  <a:lnTo>
                    <a:pt x="80" y="535"/>
                  </a:lnTo>
                  <a:close/>
                </a:path>
              </a:pathLst>
            </a:custGeom>
            <a:solidFill>
              <a:srgbClr val="5C64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386">
              <a:extLst>
                <a:ext uri="{FF2B5EF4-FFF2-40B4-BE49-F238E27FC236}">
                  <a16:creationId xmlns:a16="http://schemas.microsoft.com/office/drawing/2014/main" id="{80EC7F60-1482-76CE-C7DB-E3F9F18FBF1A}"/>
                </a:ext>
              </a:extLst>
            </p:cNvPr>
            <p:cNvSpPr>
              <a:spLocks noEditPoints="1"/>
            </p:cNvSpPr>
            <p:nvPr/>
          </p:nvSpPr>
          <p:spPr bwMode="auto">
            <a:xfrm>
              <a:off x="7494588"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6 w 348"/>
                <a:gd name="T11" fmla="*/ 260 h 535"/>
                <a:gd name="T12" fmla="*/ 208 w 348"/>
                <a:gd name="T13" fmla="*/ 263 h 535"/>
                <a:gd name="T14" fmla="*/ 208 w 348"/>
                <a:gd name="T15" fmla="*/ 268 h 535"/>
                <a:gd name="T16" fmla="*/ 208 w 348"/>
                <a:gd name="T17" fmla="*/ 271 h 535"/>
                <a:gd name="T18" fmla="*/ 206 w 348"/>
                <a:gd name="T19" fmla="*/ 274 h 535"/>
                <a:gd name="T20" fmla="*/ 25 w 348"/>
                <a:gd name="T21" fmla="*/ 457 h 535"/>
                <a:gd name="T22" fmla="*/ 80 w 348"/>
                <a:gd name="T23" fmla="*/ 535 h 535"/>
                <a:gd name="T24" fmla="*/ 75 w 348"/>
                <a:gd name="T25" fmla="*/ 534 h 535"/>
                <a:gd name="T26" fmla="*/ 72 w 348"/>
                <a:gd name="T27" fmla="*/ 533 h 535"/>
                <a:gd name="T28" fmla="*/ 3 w 348"/>
                <a:gd name="T29" fmla="*/ 463 h 535"/>
                <a:gd name="T30" fmla="*/ 1 w 348"/>
                <a:gd name="T31" fmla="*/ 460 h 535"/>
                <a:gd name="T32" fmla="*/ 0 w 348"/>
                <a:gd name="T33" fmla="*/ 457 h 535"/>
                <a:gd name="T34" fmla="*/ 1 w 348"/>
                <a:gd name="T35" fmla="*/ 452 h 535"/>
                <a:gd name="T36" fmla="*/ 3 w 348"/>
                <a:gd name="T37" fmla="*/ 449 h 535"/>
                <a:gd name="T38" fmla="*/ 185 w 348"/>
                <a:gd name="T39" fmla="*/ 268 h 535"/>
                <a:gd name="T40" fmla="*/ 3 w 348"/>
                <a:gd name="T41" fmla="*/ 86 h 535"/>
                <a:gd name="T42" fmla="*/ 1 w 348"/>
                <a:gd name="T43" fmla="*/ 83 h 535"/>
                <a:gd name="T44" fmla="*/ 0 w 348"/>
                <a:gd name="T45" fmla="*/ 79 h 535"/>
                <a:gd name="T46" fmla="*/ 1 w 348"/>
                <a:gd name="T47" fmla="*/ 75 h 535"/>
                <a:gd name="T48" fmla="*/ 3 w 348"/>
                <a:gd name="T49" fmla="*/ 72 h 535"/>
                <a:gd name="T50" fmla="*/ 72 w 348"/>
                <a:gd name="T51" fmla="*/ 2 h 535"/>
                <a:gd name="T52" fmla="*/ 75 w 348"/>
                <a:gd name="T53" fmla="*/ 0 h 535"/>
                <a:gd name="T54" fmla="*/ 80 w 348"/>
                <a:gd name="T55" fmla="*/ 0 h 535"/>
                <a:gd name="T56" fmla="*/ 83 w 348"/>
                <a:gd name="T57" fmla="*/ 0 h 535"/>
                <a:gd name="T58" fmla="*/ 86 w 348"/>
                <a:gd name="T59" fmla="*/ 2 h 535"/>
                <a:gd name="T60" fmla="*/ 344 w 348"/>
                <a:gd name="T61" fmla="*/ 260 h 535"/>
                <a:gd name="T62" fmla="*/ 347 w 348"/>
                <a:gd name="T63" fmla="*/ 263 h 535"/>
                <a:gd name="T64" fmla="*/ 348 w 348"/>
                <a:gd name="T65" fmla="*/ 268 h 535"/>
                <a:gd name="T66" fmla="*/ 347 w 348"/>
                <a:gd name="T67" fmla="*/ 271 h 535"/>
                <a:gd name="T68" fmla="*/ 344 w 348"/>
                <a:gd name="T69" fmla="*/ 274 h 535"/>
                <a:gd name="T70" fmla="*/ 86 w 348"/>
                <a:gd name="T71" fmla="*/ 532 h 535"/>
                <a:gd name="T72" fmla="*/ 83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6" y="260"/>
                  </a:lnTo>
                  <a:lnTo>
                    <a:pt x="208" y="263"/>
                  </a:lnTo>
                  <a:lnTo>
                    <a:pt x="208" y="268"/>
                  </a:lnTo>
                  <a:lnTo>
                    <a:pt x="208" y="271"/>
                  </a:lnTo>
                  <a:lnTo>
                    <a:pt x="206" y="274"/>
                  </a:lnTo>
                  <a:lnTo>
                    <a:pt x="25" y="457"/>
                  </a:lnTo>
                  <a:close/>
                  <a:moveTo>
                    <a:pt x="80" y="535"/>
                  </a:moveTo>
                  <a:lnTo>
                    <a:pt x="75" y="534"/>
                  </a:lnTo>
                  <a:lnTo>
                    <a:pt x="72" y="533"/>
                  </a:lnTo>
                  <a:lnTo>
                    <a:pt x="3" y="463"/>
                  </a:lnTo>
                  <a:lnTo>
                    <a:pt x="1" y="460"/>
                  </a:lnTo>
                  <a:lnTo>
                    <a:pt x="0" y="457"/>
                  </a:lnTo>
                  <a:lnTo>
                    <a:pt x="1" y="452"/>
                  </a:lnTo>
                  <a:lnTo>
                    <a:pt x="3" y="449"/>
                  </a:lnTo>
                  <a:lnTo>
                    <a:pt x="185" y="268"/>
                  </a:lnTo>
                  <a:lnTo>
                    <a:pt x="3" y="86"/>
                  </a:lnTo>
                  <a:lnTo>
                    <a:pt x="1" y="83"/>
                  </a:lnTo>
                  <a:lnTo>
                    <a:pt x="0" y="79"/>
                  </a:lnTo>
                  <a:lnTo>
                    <a:pt x="1" y="75"/>
                  </a:lnTo>
                  <a:lnTo>
                    <a:pt x="3" y="72"/>
                  </a:lnTo>
                  <a:lnTo>
                    <a:pt x="72" y="2"/>
                  </a:lnTo>
                  <a:lnTo>
                    <a:pt x="75" y="0"/>
                  </a:lnTo>
                  <a:lnTo>
                    <a:pt x="80" y="0"/>
                  </a:lnTo>
                  <a:lnTo>
                    <a:pt x="83" y="0"/>
                  </a:lnTo>
                  <a:lnTo>
                    <a:pt x="86" y="2"/>
                  </a:lnTo>
                  <a:lnTo>
                    <a:pt x="344" y="260"/>
                  </a:lnTo>
                  <a:lnTo>
                    <a:pt x="347" y="263"/>
                  </a:lnTo>
                  <a:lnTo>
                    <a:pt x="348" y="268"/>
                  </a:lnTo>
                  <a:lnTo>
                    <a:pt x="347" y="271"/>
                  </a:lnTo>
                  <a:lnTo>
                    <a:pt x="344" y="274"/>
                  </a:lnTo>
                  <a:lnTo>
                    <a:pt x="86" y="532"/>
                  </a:lnTo>
                  <a:lnTo>
                    <a:pt x="83" y="534"/>
                  </a:lnTo>
                  <a:lnTo>
                    <a:pt x="80" y="535"/>
                  </a:lnTo>
                  <a:close/>
                </a:path>
              </a:pathLst>
            </a:custGeom>
            <a:solidFill>
              <a:srgbClr val="5C64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75890333"/>
      </p:ext>
    </p:extLst>
  </p:cSld>
  <p:clrMapOvr>
    <a:masterClrMapping/>
  </p:clrMapOvr>
  <p:transition spd="slow">
    <p:cove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ABA7616-AD76-58BB-3B64-345D1D8DF93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31440" y="243840"/>
            <a:ext cx="518160" cy="518160"/>
          </a:xfrm>
          <a:prstGeom prst="rect">
            <a:avLst/>
          </a:prstGeom>
        </p:spPr>
      </p:pic>
      <p:sp>
        <p:nvSpPr>
          <p:cNvPr id="15" name="Rectangle: Rounded Corners 14">
            <a:extLst>
              <a:ext uri="{FF2B5EF4-FFF2-40B4-BE49-F238E27FC236}">
                <a16:creationId xmlns:a16="http://schemas.microsoft.com/office/drawing/2014/main" id="{F7DFA89A-DB78-4F13-61BC-A8DA727104C9}"/>
              </a:ext>
            </a:extLst>
          </p:cNvPr>
          <p:cNvSpPr/>
          <p:nvPr/>
        </p:nvSpPr>
        <p:spPr>
          <a:xfrm>
            <a:off x="91440" y="111760"/>
            <a:ext cx="12019280" cy="843279"/>
          </a:xfrm>
          <a:prstGeom prst="roundRect">
            <a:avLst>
              <a:gd name="adj" fmla="val 13547"/>
            </a:avLst>
          </a:prstGeom>
          <a:gradFill>
            <a:gsLst>
              <a:gs pos="0">
                <a:schemeClr val="accent4"/>
              </a:gs>
              <a:gs pos="100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mj-lt"/>
              </a:rPr>
              <a:t>OBJECTIVE</a:t>
            </a:r>
            <a:endParaRPr lang="en-ID" sz="3200" b="1" dirty="0">
              <a:solidFill>
                <a:schemeClr val="bg1"/>
              </a:solidFill>
              <a:latin typeface="+mj-lt"/>
            </a:endParaRPr>
          </a:p>
        </p:txBody>
      </p:sp>
      <p:sp>
        <p:nvSpPr>
          <p:cNvPr id="24" name="Oval 23">
            <a:extLst>
              <a:ext uri="{FF2B5EF4-FFF2-40B4-BE49-F238E27FC236}">
                <a16:creationId xmlns:a16="http://schemas.microsoft.com/office/drawing/2014/main" id="{90FBDC4F-B552-B90C-56B5-EE81C01A8AA3}"/>
              </a:ext>
            </a:extLst>
          </p:cNvPr>
          <p:cNvSpPr/>
          <p:nvPr/>
        </p:nvSpPr>
        <p:spPr>
          <a:xfrm>
            <a:off x="11865983" y="3106953"/>
            <a:ext cx="652034" cy="652034"/>
          </a:xfrm>
          <a:prstGeom prst="ellipse">
            <a:avLst/>
          </a:prstGeom>
          <a:solidFill>
            <a:srgbClr val="44546A"/>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25" name="Group 24">
            <a:extLst>
              <a:ext uri="{FF2B5EF4-FFF2-40B4-BE49-F238E27FC236}">
                <a16:creationId xmlns:a16="http://schemas.microsoft.com/office/drawing/2014/main" id="{D81D9A34-6539-B33F-BEBB-AA62CE07D962}"/>
              </a:ext>
            </a:extLst>
          </p:cNvPr>
          <p:cNvGrpSpPr/>
          <p:nvPr/>
        </p:nvGrpSpPr>
        <p:grpSpPr>
          <a:xfrm rot="10800000">
            <a:off x="12052255" y="3307294"/>
            <a:ext cx="279490" cy="251353"/>
            <a:chOff x="7396163" y="4268788"/>
            <a:chExt cx="236538" cy="212725"/>
          </a:xfrm>
          <a:solidFill>
            <a:srgbClr val="FDBF10"/>
          </a:solidFill>
        </p:grpSpPr>
        <p:sp>
          <p:nvSpPr>
            <p:cNvPr id="26" name="Freeform 385">
              <a:extLst>
                <a:ext uri="{FF2B5EF4-FFF2-40B4-BE49-F238E27FC236}">
                  <a16:creationId xmlns:a16="http://schemas.microsoft.com/office/drawing/2014/main" id="{51E76AD4-7A32-30CE-A8C5-34EFAC89E695}"/>
                </a:ext>
              </a:extLst>
            </p:cNvPr>
            <p:cNvSpPr>
              <a:spLocks noEditPoints="1"/>
            </p:cNvSpPr>
            <p:nvPr/>
          </p:nvSpPr>
          <p:spPr bwMode="auto">
            <a:xfrm>
              <a:off x="7396163"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7 w 348"/>
                <a:gd name="T11" fmla="*/ 260 h 535"/>
                <a:gd name="T12" fmla="*/ 209 w 348"/>
                <a:gd name="T13" fmla="*/ 263 h 535"/>
                <a:gd name="T14" fmla="*/ 210 w 348"/>
                <a:gd name="T15" fmla="*/ 268 h 535"/>
                <a:gd name="T16" fmla="*/ 209 w 348"/>
                <a:gd name="T17" fmla="*/ 271 h 535"/>
                <a:gd name="T18" fmla="*/ 207 w 348"/>
                <a:gd name="T19" fmla="*/ 274 h 535"/>
                <a:gd name="T20" fmla="*/ 25 w 348"/>
                <a:gd name="T21" fmla="*/ 457 h 535"/>
                <a:gd name="T22" fmla="*/ 80 w 348"/>
                <a:gd name="T23" fmla="*/ 535 h 535"/>
                <a:gd name="T24" fmla="*/ 77 w 348"/>
                <a:gd name="T25" fmla="*/ 534 h 535"/>
                <a:gd name="T26" fmla="*/ 73 w 348"/>
                <a:gd name="T27" fmla="*/ 533 h 535"/>
                <a:gd name="T28" fmla="*/ 4 w 348"/>
                <a:gd name="T29" fmla="*/ 463 h 535"/>
                <a:gd name="T30" fmla="*/ 2 w 348"/>
                <a:gd name="T31" fmla="*/ 460 h 535"/>
                <a:gd name="T32" fmla="*/ 0 w 348"/>
                <a:gd name="T33" fmla="*/ 457 h 535"/>
                <a:gd name="T34" fmla="*/ 2 w 348"/>
                <a:gd name="T35" fmla="*/ 452 h 535"/>
                <a:gd name="T36" fmla="*/ 4 w 348"/>
                <a:gd name="T37" fmla="*/ 449 h 535"/>
                <a:gd name="T38" fmla="*/ 185 w 348"/>
                <a:gd name="T39" fmla="*/ 268 h 535"/>
                <a:gd name="T40" fmla="*/ 4 w 348"/>
                <a:gd name="T41" fmla="*/ 86 h 535"/>
                <a:gd name="T42" fmla="*/ 2 w 348"/>
                <a:gd name="T43" fmla="*/ 83 h 535"/>
                <a:gd name="T44" fmla="*/ 0 w 348"/>
                <a:gd name="T45" fmla="*/ 79 h 535"/>
                <a:gd name="T46" fmla="*/ 2 w 348"/>
                <a:gd name="T47" fmla="*/ 75 h 535"/>
                <a:gd name="T48" fmla="*/ 4 w 348"/>
                <a:gd name="T49" fmla="*/ 72 h 535"/>
                <a:gd name="T50" fmla="*/ 74 w 348"/>
                <a:gd name="T51" fmla="*/ 2 h 535"/>
                <a:gd name="T52" fmla="*/ 77 w 348"/>
                <a:gd name="T53" fmla="*/ 0 h 535"/>
                <a:gd name="T54" fmla="*/ 80 w 348"/>
                <a:gd name="T55" fmla="*/ 0 h 535"/>
                <a:gd name="T56" fmla="*/ 84 w 348"/>
                <a:gd name="T57" fmla="*/ 0 h 535"/>
                <a:gd name="T58" fmla="*/ 87 w 348"/>
                <a:gd name="T59" fmla="*/ 2 h 535"/>
                <a:gd name="T60" fmla="*/ 346 w 348"/>
                <a:gd name="T61" fmla="*/ 260 h 535"/>
                <a:gd name="T62" fmla="*/ 348 w 348"/>
                <a:gd name="T63" fmla="*/ 263 h 535"/>
                <a:gd name="T64" fmla="*/ 348 w 348"/>
                <a:gd name="T65" fmla="*/ 268 h 535"/>
                <a:gd name="T66" fmla="*/ 348 w 348"/>
                <a:gd name="T67" fmla="*/ 271 h 535"/>
                <a:gd name="T68" fmla="*/ 346 w 348"/>
                <a:gd name="T69" fmla="*/ 274 h 535"/>
                <a:gd name="T70" fmla="*/ 87 w 348"/>
                <a:gd name="T71" fmla="*/ 532 h 535"/>
                <a:gd name="T72" fmla="*/ 84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7" y="260"/>
                  </a:lnTo>
                  <a:lnTo>
                    <a:pt x="209" y="263"/>
                  </a:lnTo>
                  <a:lnTo>
                    <a:pt x="210" y="268"/>
                  </a:lnTo>
                  <a:lnTo>
                    <a:pt x="209" y="271"/>
                  </a:lnTo>
                  <a:lnTo>
                    <a:pt x="207" y="274"/>
                  </a:lnTo>
                  <a:lnTo>
                    <a:pt x="25" y="457"/>
                  </a:lnTo>
                  <a:close/>
                  <a:moveTo>
                    <a:pt x="80" y="535"/>
                  </a:moveTo>
                  <a:lnTo>
                    <a:pt x="77" y="534"/>
                  </a:lnTo>
                  <a:lnTo>
                    <a:pt x="73" y="533"/>
                  </a:lnTo>
                  <a:lnTo>
                    <a:pt x="4" y="463"/>
                  </a:lnTo>
                  <a:lnTo>
                    <a:pt x="2" y="460"/>
                  </a:lnTo>
                  <a:lnTo>
                    <a:pt x="0" y="457"/>
                  </a:lnTo>
                  <a:lnTo>
                    <a:pt x="2" y="452"/>
                  </a:lnTo>
                  <a:lnTo>
                    <a:pt x="4" y="449"/>
                  </a:lnTo>
                  <a:lnTo>
                    <a:pt x="185" y="268"/>
                  </a:lnTo>
                  <a:lnTo>
                    <a:pt x="4" y="86"/>
                  </a:lnTo>
                  <a:lnTo>
                    <a:pt x="2" y="83"/>
                  </a:lnTo>
                  <a:lnTo>
                    <a:pt x="0" y="79"/>
                  </a:lnTo>
                  <a:lnTo>
                    <a:pt x="2" y="75"/>
                  </a:lnTo>
                  <a:lnTo>
                    <a:pt x="4" y="72"/>
                  </a:lnTo>
                  <a:lnTo>
                    <a:pt x="74" y="2"/>
                  </a:lnTo>
                  <a:lnTo>
                    <a:pt x="77" y="0"/>
                  </a:lnTo>
                  <a:lnTo>
                    <a:pt x="80" y="0"/>
                  </a:lnTo>
                  <a:lnTo>
                    <a:pt x="84" y="0"/>
                  </a:lnTo>
                  <a:lnTo>
                    <a:pt x="87" y="2"/>
                  </a:lnTo>
                  <a:lnTo>
                    <a:pt x="346" y="260"/>
                  </a:lnTo>
                  <a:lnTo>
                    <a:pt x="348" y="263"/>
                  </a:lnTo>
                  <a:lnTo>
                    <a:pt x="348" y="268"/>
                  </a:lnTo>
                  <a:lnTo>
                    <a:pt x="348" y="271"/>
                  </a:lnTo>
                  <a:lnTo>
                    <a:pt x="346" y="274"/>
                  </a:lnTo>
                  <a:lnTo>
                    <a:pt x="87" y="532"/>
                  </a:lnTo>
                  <a:lnTo>
                    <a:pt x="84" y="534"/>
                  </a:lnTo>
                  <a:lnTo>
                    <a:pt x="80"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386">
              <a:extLst>
                <a:ext uri="{FF2B5EF4-FFF2-40B4-BE49-F238E27FC236}">
                  <a16:creationId xmlns:a16="http://schemas.microsoft.com/office/drawing/2014/main" id="{DD1E3C79-96C6-E2E6-00E7-AD56E39164DE}"/>
                </a:ext>
              </a:extLst>
            </p:cNvPr>
            <p:cNvSpPr>
              <a:spLocks noEditPoints="1"/>
            </p:cNvSpPr>
            <p:nvPr/>
          </p:nvSpPr>
          <p:spPr bwMode="auto">
            <a:xfrm>
              <a:off x="7494588"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6 w 348"/>
                <a:gd name="T11" fmla="*/ 260 h 535"/>
                <a:gd name="T12" fmla="*/ 208 w 348"/>
                <a:gd name="T13" fmla="*/ 263 h 535"/>
                <a:gd name="T14" fmla="*/ 208 w 348"/>
                <a:gd name="T15" fmla="*/ 268 h 535"/>
                <a:gd name="T16" fmla="*/ 208 w 348"/>
                <a:gd name="T17" fmla="*/ 271 h 535"/>
                <a:gd name="T18" fmla="*/ 206 w 348"/>
                <a:gd name="T19" fmla="*/ 274 h 535"/>
                <a:gd name="T20" fmla="*/ 25 w 348"/>
                <a:gd name="T21" fmla="*/ 457 h 535"/>
                <a:gd name="T22" fmla="*/ 80 w 348"/>
                <a:gd name="T23" fmla="*/ 535 h 535"/>
                <a:gd name="T24" fmla="*/ 75 w 348"/>
                <a:gd name="T25" fmla="*/ 534 h 535"/>
                <a:gd name="T26" fmla="*/ 72 w 348"/>
                <a:gd name="T27" fmla="*/ 533 h 535"/>
                <a:gd name="T28" fmla="*/ 3 w 348"/>
                <a:gd name="T29" fmla="*/ 463 h 535"/>
                <a:gd name="T30" fmla="*/ 1 w 348"/>
                <a:gd name="T31" fmla="*/ 460 h 535"/>
                <a:gd name="T32" fmla="*/ 0 w 348"/>
                <a:gd name="T33" fmla="*/ 457 h 535"/>
                <a:gd name="T34" fmla="*/ 1 w 348"/>
                <a:gd name="T35" fmla="*/ 452 h 535"/>
                <a:gd name="T36" fmla="*/ 3 w 348"/>
                <a:gd name="T37" fmla="*/ 449 h 535"/>
                <a:gd name="T38" fmla="*/ 185 w 348"/>
                <a:gd name="T39" fmla="*/ 268 h 535"/>
                <a:gd name="T40" fmla="*/ 3 w 348"/>
                <a:gd name="T41" fmla="*/ 86 h 535"/>
                <a:gd name="T42" fmla="*/ 1 w 348"/>
                <a:gd name="T43" fmla="*/ 83 h 535"/>
                <a:gd name="T44" fmla="*/ 0 w 348"/>
                <a:gd name="T45" fmla="*/ 79 h 535"/>
                <a:gd name="T46" fmla="*/ 1 w 348"/>
                <a:gd name="T47" fmla="*/ 75 h 535"/>
                <a:gd name="T48" fmla="*/ 3 w 348"/>
                <a:gd name="T49" fmla="*/ 72 h 535"/>
                <a:gd name="T50" fmla="*/ 72 w 348"/>
                <a:gd name="T51" fmla="*/ 2 h 535"/>
                <a:gd name="T52" fmla="*/ 75 w 348"/>
                <a:gd name="T53" fmla="*/ 0 h 535"/>
                <a:gd name="T54" fmla="*/ 80 w 348"/>
                <a:gd name="T55" fmla="*/ 0 h 535"/>
                <a:gd name="T56" fmla="*/ 83 w 348"/>
                <a:gd name="T57" fmla="*/ 0 h 535"/>
                <a:gd name="T58" fmla="*/ 86 w 348"/>
                <a:gd name="T59" fmla="*/ 2 h 535"/>
                <a:gd name="T60" fmla="*/ 344 w 348"/>
                <a:gd name="T61" fmla="*/ 260 h 535"/>
                <a:gd name="T62" fmla="*/ 347 w 348"/>
                <a:gd name="T63" fmla="*/ 263 h 535"/>
                <a:gd name="T64" fmla="*/ 348 w 348"/>
                <a:gd name="T65" fmla="*/ 268 h 535"/>
                <a:gd name="T66" fmla="*/ 347 w 348"/>
                <a:gd name="T67" fmla="*/ 271 h 535"/>
                <a:gd name="T68" fmla="*/ 344 w 348"/>
                <a:gd name="T69" fmla="*/ 274 h 535"/>
                <a:gd name="T70" fmla="*/ 86 w 348"/>
                <a:gd name="T71" fmla="*/ 532 h 535"/>
                <a:gd name="T72" fmla="*/ 83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6" y="260"/>
                  </a:lnTo>
                  <a:lnTo>
                    <a:pt x="208" y="263"/>
                  </a:lnTo>
                  <a:lnTo>
                    <a:pt x="208" y="268"/>
                  </a:lnTo>
                  <a:lnTo>
                    <a:pt x="208" y="271"/>
                  </a:lnTo>
                  <a:lnTo>
                    <a:pt x="206" y="274"/>
                  </a:lnTo>
                  <a:lnTo>
                    <a:pt x="25" y="457"/>
                  </a:lnTo>
                  <a:close/>
                  <a:moveTo>
                    <a:pt x="80" y="535"/>
                  </a:moveTo>
                  <a:lnTo>
                    <a:pt x="75" y="534"/>
                  </a:lnTo>
                  <a:lnTo>
                    <a:pt x="72" y="533"/>
                  </a:lnTo>
                  <a:lnTo>
                    <a:pt x="3" y="463"/>
                  </a:lnTo>
                  <a:lnTo>
                    <a:pt x="1" y="460"/>
                  </a:lnTo>
                  <a:lnTo>
                    <a:pt x="0" y="457"/>
                  </a:lnTo>
                  <a:lnTo>
                    <a:pt x="1" y="452"/>
                  </a:lnTo>
                  <a:lnTo>
                    <a:pt x="3" y="449"/>
                  </a:lnTo>
                  <a:lnTo>
                    <a:pt x="185" y="268"/>
                  </a:lnTo>
                  <a:lnTo>
                    <a:pt x="3" y="86"/>
                  </a:lnTo>
                  <a:lnTo>
                    <a:pt x="1" y="83"/>
                  </a:lnTo>
                  <a:lnTo>
                    <a:pt x="0" y="79"/>
                  </a:lnTo>
                  <a:lnTo>
                    <a:pt x="1" y="75"/>
                  </a:lnTo>
                  <a:lnTo>
                    <a:pt x="3" y="72"/>
                  </a:lnTo>
                  <a:lnTo>
                    <a:pt x="72" y="2"/>
                  </a:lnTo>
                  <a:lnTo>
                    <a:pt x="75" y="0"/>
                  </a:lnTo>
                  <a:lnTo>
                    <a:pt x="80" y="0"/>
                  </a:lnTo>
                  <a:lnTo>
                    <a:pt x="83" y="0"/>
                  </a:lnTo>
                  <a:lnTo>
                    <a:pt x="86" y="2"/>
                  </a:lnTo>
                  <a:lnTo>
                    <a:pt x="344" y="260"/>
                  </a:lnTo>
                  <a:lnTo>
                    <a:pt x="347" y="263"/>
                  </a:lnTo>
                  <a:lnTo>
                    <a:pt x="348" y="268"/>
                  </a:lnTo>
                  <a:lnTo>
                    <a:pt x="347" y="271"/>
                  </a:lnTo>
                  <a:lnTo>
                    <a:pt x="344" y="274"/>
                  </a:lnTo>
                  <a:lnTo>
                    <a:pt x="86" y="532"/>
                  </a:lnTo>
                  <a:lnTo>
                    <a:pt x="83" y="534"/>
                  </a:lnTo>
                  <a:lnTo>
                    <a:pt x="80"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 name="TextBox 3">
            <a:extLst>
              <a:ext uri="{FF2B5EF4-FFF2-40B4-BE49-F238E27FC236}">
                <a16:creationId xmlns:a16="http://schemas.microsoft.com/office/drawing/2014/main" id="{01317F14-3A86-72C2-E0B2-A928F9AC3C65}"/>
              </a:ext>
            </a:extLst>
          </p:cNvPr>
          <p:cNvSpPr txBox="1"/>
          <p:nvPr/>
        </p:nvSpPr>
        <p:spPr>
          <a:xfrm>
            <a:off x="1676400" y="1318022"/>
            <a:ext cx="9154160" cy="5447645"/>
          </a:xfrm>
          <a:prstGeom prst="rect">
            <a:avLst/>
          </a:prstGeom>
          <a:noFill/>
        </p:spPr>
        <p:txBody>
          <a:bodyPr wrap="square" rtlCol="0">
            <a:spAutoFit/>
          </a:bodyPr>
          <a:lstStyle/>
          <a:p>
            <a:r>
              <a:rPr lang="en-US" sz="2400" b="1" dirty="0">
                <a:latin typeface="+mj-lt"/>
              </a:rPr>
              <a:t>                                             </a:t>
            </a:r>
            <a:endParaRPr lang="en-US" dirty="0">
              <a:latin typeface="+mj-lt"/>
            </a:endParaRPr>
          </a:p>
          <a:p>
            <a:r>
              <a:rPr lang="en-US" sz="2400" b="1" dirty="0">
                <a:latin typeface="+mj-lt"/>
              </a:rPr>
              <a:t>Recognize Trends :  </a:t>
            </a:r>
            <a:r>
              <a:rPr lang="en-US" sz="2400" dirty="0">
                <a:latin typeface="+mj-lt"/>
              </a:rPr>
              <a:t>Identify patterns to detect quality issues early.</a:t>
            </a:r>
          </a:p>
          <a:p>
            <a:r>
              <a:rPr lang="en-US" sz="2400" b="1" dirty="0">
                <a:latin typeface="+mj-lt"/>
              </a:rPr>
              <a:t>Corrective Measures :  </a:t>
            </a:r>
            <a:r>
              <a:rPr lang="en-US" sz="2400" dirty="0">
                <a:latin typeface="+mj-lt"/>
              </a:rPr>
              <a:t>Implement actions promptly to prevent wastage.</a:t>
            </a:r>
          </a:p>
          <a:p>
            <a:r>
              <a:rPr lang="en-US" sz="2400" b="1" dirty="0">
                <a:latin typeface="+mj-lt"/>
              </a:rPr>
              <a:t>Continuous Monitoring :  </a:t>
            </a:r>
            <a:r>
              <a:rPr lang="en-US" sz="2400" dirty="0">
                <a:latin typeface="+mj-lt"/>
              </a:rPr>
              <a:t>Quickly address deviations from quality standards</a:t>
            </a:r>
            <a:r>
              <a:rPr lang="en-US" sz="2400" dirty="0"/>
              <a:t>.</a:t>
            </a:r>
          </a:p>
          <a:p>
            <a:endParaRPr lang="en-US" sz="2000" dirty="0">
              <a:latin typeface="+mj-lt"/>
            </a:endParaRPr>
          </a:p>
          <a:p>
            <a:endParaRPr lang="en-US" sz="2000" dirty="0">
              <a:latin typeface="+mj-lt"/>
            </a:endParaRPr>
          </a:p>
          <a:p>
            <a:endParaRPr lang="en-US" sz="2000" dirty="0">
              <a:latin typeface="+mj-lt"/>
            </a:endParaRPr>
          </a:p>
          <a:p>
            <a:r>
              <a:rPr lang="en-US" sz="2400" b="1" dirty="0">
                <a:latin typeface="+mj-lt"/>
              </a:rPr>
              <a:t>Evaluate Data :  </a:t>
            </a:r>
            <a:r>
              <a:rPr lang="en-US" sz="2400" dirty="0">
                <a:latin typeface="+mj-lt"/>
              </a:rPr>
              <a:t>Analyze machine data to foresee maintenance needs.</a:t>
            </a:r>
          </a:p>
          <a:p>
            <a:r>
              <a:rPr lang="en-US" sz="2400" b="1" dirty="0">
                <a:latin typeface="+mj-lt"/>
              </a:rPr>
              <a:t>Plan Proactively :  </a:t>
            </a:r>
            <a:r>
              <a:rPr lang="en-US" sz="2400" dirty="0">
                <a:latin typeface="+mj-lt"/>
              </a:rPr>
              <a:t>Schedule maintenance to minimize downtime.</a:t>
            </a:r>
          </a:p>
          <a:p>
            <a:r>
              <a:rPr lang="en-US" sz="2400" b="1" dirty="0">
                <a:latin typeface="+mj-lt"/>
              </a:rPr>
              <a:t>Prolong Lifespan :  </a:t>
            </a:r>
            <a:r>
              <a:rPr lang="en-US" sz="2400" dirty="0">
                <a:latin typeface="+mj-lt"/>
              </a:rPr>
              <a:t>Prevent major breakdowns and extend equipment life.</a:t>
            </a:r>
          </a:p>
          <a:p>
            <a:endParaRPr lang="en-US" dirty="0"/>
          </a:p>
          <a:p>
            <a:endParaRPr lang="en-US" dirty="0"/>
          </a:p>
          <a:p>
            <a:endParaRPr lang="en-US" dirty="0"/>
          </a:p>
          <a:p>
            <a:r>
              <a:rPr lang="en-US" sz="2400" b="1" dirty="0">
                <a:latin typeface="+mj-lt"/>
              </a:rPr>
              <a:t>Streamline Production : </a:t>
            </a:r>
            <a:r>
              <a:rPr lang="en-US" sz="2400" dirty="0">
                <a:latin typeface="+mj-lt"/>
              </a:rPr>
              <a:t> Improve resource utilization.</a:t>
            </a:r>
          </a:p>
          <a:p>
            <a:r>
              <a:rPr lang="en-US" sz="2400" b="1" dirty="0">
                <a:latin typeface="+mj-lt"/>
              </a:rPr>
              <a:t>Boost Productivity :  </a:t>
            </a:r>
            <a:r>
              <a:rPr lang="en-US" sz="2400" dirty="0">
                <a:latin typeface="+mj-lt"/>
              </a:rPr>
              <a:t>Increase efficiency and reduce costs.</a:t>
            </a:r>
          </a:p>
          <a:p>
            <a:endParaRPr lang="en-US" dirty="0"/>
          </a:p>
        </p:txBody>
      </p:sp>
      <p:sp>
        <p:nvSpPr>
          <p:cNvPr id="6" name="Rectangle: Rounded Corners 5">
            <a:extLst>
              <a:ext uri="{FF2B5EF4-FFF2-40B4-BE49-F238E27FC236}">
                <a16:creationId xmlns:a16="http://schemas.microsoft.com/office/drawing/2014/main" id="{12439623-344D-9EA4-BD2B-0FB112BC1889}"/>
              </a:ext>
            </a:extLst>
          </p:cNvPr>
          <p:cNvSpPr/>
          <p:nvPr/>
        </p:nvSpPr>
        <p:spPr>
          <a:xfrm>
            <a:off x="621030" y="1037590"/>
            <a:ext cx="2995930" cy="588010"/>
          </a:xfrm>
          <a:prstGeom prst="roundRect">
            <a:avLst>
              <a:gd name="adj" fmla="val 13547"/>
            </a:avLst>
          </a:prstGeom>
          <a:solidFill>
            <a:srgbClr val="44546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ID" sz="2000" b="1" dirty="0">
                <a:solidFill>
                  <a:schemeClr val="bg1"/>
                </a:solidFill>
                <a:latin typeface="+mj-lt"/>
              </a:rPr>
              <a:t>BOOSTING QUALITY ASSURANCE</a:t>
            </a:r>
          </a:p>
        </p:txBody>
      </p:sp>
      <p:sp>
        <p:nvSpPr>
          <p:cNvPr id="7" name="Rectangle: Rounded Corners 6">
            <a:extLst>
              <a:ext uri="{FF2B5EF4-FFF2-40B4-BE49-F238E27FC236}">
                <a16:creationId xmlns:a16="http://schemas.microsoft.com/office/drawing/2014/main" id="{AE67EEF2-C14E-1029-5145-6CA6D3E619E9}"/>
              </a:ext>
            </a:extLst>
          </p:cNvPr>
          <p:cNvSpPr/>
          <p:nvPr/>
        </p:nvSpPr>
        <p:spPr>
          <a:xfrm>
            <a:off x="742950" y="2927350"/>
            <a:ext cx="2975610" cy="608330"/>
          </a:xfrm>
          <a:prstGeom prst="roundRect">
            <a:avLst>
              <a:gd name="adj" fmla="val 13547"/>
            </a:avLst>
          </a:prstGeom>
          <a:solidFill>
            <a:srgbClr val="44546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ID" sz="2000" b="1" dirty="0">
                <a:solidFill>
                  <a:schemeClr val="bg1"/>
                </a:solidFill>
                <a:latin typeface="+mj-lt"/>
              </a:rPr>
              <a:t>PREDICTIVE UPKEEP</a:t>
            </a:r>
          </a:p>
        </p:txBody>
      </p:sp>
      <p:sp>
        <p:nvSpPr>
          <p:cNvPr id="8" name="Rectangle: Rounded Corners 7">
            <a:extLst>
              <a:ext uri="{FF2B5EF4-FFF2-40B4-BE49-F238E27FC236}">
                <a16:creationId xmlns:a16="http://schemas.microsoft.com/office/drawing/2014/main" id="{7CA42862-1DE2-87AC-8B73-D67D3A4D1F25}"/>
              </a:ext>
            </a:extLst>
          </p:cNvPr>
          <p:cNvSpPr/>
          <p:nvPr/>
        </p:nvSpPr>
        <p:spPr>
          <a:xfrm>
            <a:off x="560070" y="4969510"/>
            <a:ext cx="3219450" cy="618490"/>
          </a:xfrm>
          <a:prstGeom prst="roundRect">
            <a:avLst>
              <a:gd name="adj" fmla="val 13547"/>
            </a:avLst>
          </a:prstGeom>
          <a:solidFill>
            <a:srgbClr val="44546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ID" sz="2000" b="1" dirty="0">
                <a:solidFill>
                  <a:schemeClr val="bg1"/>
                </a:solidFill>
                <a:latin typeface="+mj-lt"/>
              </a:rPr>
              <a:t>ENHANCING OPERATIONAL EFFEINCEY</a:t>
            </a:r>
          </a:p>
        </p:txBody>
      </p:sp>
    </p:spTree>
    <p:extLst>
      <p:ext uri="{BB962C8B-B14F-4D97-AF65-F5344CB8AC3E}">
        <p14:creationId xmlns:p14="http://schemas.microsoft.com/office/powerpoint/2010/main" val="516819563"/>
      </p:ext>
    </p:extLst>
  </p:cSld>
  <p:clrMapOvr>
    <a:masterClrMapping/>
  </p:clrMapOvr>
  <p:transition spd="slow">
    <p:cove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ABA7616-AD76-58BB-3B64-345D1D8DF93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31440" y="243840"/>
            <a:ext cx="518160" cy="518160"/>
          </a:xfrm>
          <a:prstGeom prst="rect">
            <a:avLst/>
          </a:prstGeom>
        </p:spPr>
      </p:pic>
      <p:sp>
        <p:nvSpPr>
          <p:cNvPr id="2" name="Rectangle: Rounded Corners 1">
            <a:extLst>
              <a:ext uri="{FF2B5EF4-FFF2-40B4-BE49-F238E27FC236}">
                <a16:creationId xmlns:a16="http://schemas.microsoft.com/office/drawing/2014/main" id="{D0CA24E5-8F12-DC62-FEAF-14D167C6E280}"/>
              </a:ext>
            </a:extLst>
          </p:cNvPr>
          <p:cNvSpPr/>
          <p:nvPr/>
        </p:nvSpPr>
        <p:spPr>
          <a:xfrm flipH="1">
            <a:off x="91440" y="152400"/>
            <a:ext cx="12009120" cy="8636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5C646F"/>
                </a:solidFill>
                <a:latin typeface="+mj-lt"/>
              </a:rPr>
              <a:t>KPI’S</a:t>
            </a:r>
            <a:endParaRPr lang="en-ID" sz="3200" b="1" dirty="0">
              <a:solidFill>
                <a:srgbClr val="5C646F"/>
              </a:solidFill>
              <a:latin typeface="+mj-lt"/>
            </a:endParaRPr>
          </a:p>
        </p:txBody>
      </p:sp>
      <p:sp>
        <p:nvSpPr>
          <p:cNvPr id="10" name="Oval 9">
            <a:extLst>
              <a:ext uri="{FF2B5EF4-FFF2-40B4-BE49-F238E27FC236}">
                <a16:creationId xmlns:a16="http://schemas.microsoft.com/office/drawing/2014/main" id="{6B85F97E-EB9E-967B-4DD5-449678C0C056}"/>
              </a:ext>
            </a:extLst>
          </p:cNvPr>
          <p:cNvSpPr/>
          <p:nvPr/>
        </p:nvSpPr>
        <p:spPr>
          <a:xfrm>
            <a:off x="11865983" y="3127273"/>
            <a:ext cx="652034" cy="652034"/>
          </a:xfrm>
          <a:prstGeom prst="ellipse">
            <a:avLst/>
          </a:prstGeom>
          <a:solidFill>
            <a:srgbClr val="FDBF1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6" name="Group 15">
            <a:extLst>
              <a:ext uri="{FF2B5EF4-FFF2-40B4-BE49-F238E27FC236}">
                <a16:creationId xmlns:a16="http://schemas.microsoft.com/office/drawing/2014/main" id="{8E1DDA62-F660-4F35-7C97-31CD614747E3}"/>
              </a:ext>
            </a:extLst>
          </p:cNvPr>
          <p:cNvGrpSpPr/>
          <p:nvPr/>
        </p:nvGrpSpPr>
        <p:grpSpPr>
          <a:xfrm rot="10800000">
            <a:off x="12052255" y="3317454"/>
            <a:ext cx="279490" cy="251353"/>
            <a:chOff x="7396163" y="4268788"/>
            <a:chExt cx="236538" cy="212725"/>
          </a:xfrm>
          <a:solidFill>
            <a:schemeClr val="accent4"/>
          </a:solidFill>
        </p:grpSpPr>
        <p:sp>
          <p:nvSpPr>
            <p:cNvPr id="17" name="Freeform 385">
              <a:extLst>
                <a:ext uri="{FF2B5EF4-FFF2-40B4-BE49-F238E27FC236}">
                  <a16:creationId xmlns:a16="http://schemas.microsoft.com/office/drawing/2014/main" id="{EC6F524A-23B8-81C0-6185-71D6A5991960}"/>
                </a:ext>
              </a:extLst>
            </p:cNvPr>
            <p:cNvSpPr>
              <a:spLocks noEditPoints="1"/>
            </p:cNvSpPr>
            <p:nvPr/>
          </p:nvSpPr>
          <p:spPr bwMode="auto">
            <a:xfrm>
              <a:off x="7396163"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7 w 348"/>
                <a:gd name="T11" fmla="*/ 260 h 535"/>
                <a:gd name="T12" fmla="*/ 209 w 348"/>
                <a:gd name="T13" fmla="*/ 263 h 535"/>
                <a:gd name="T14" fmla="*/ 210 w 348"/>
                <a:gd name="T15" fmla="*/ 268 h 535"/>
                <a:gd name="T16" fmla="*/ 209 w 348"/>
                <a:gd name="T17" fmla="*/ 271 h 535"/>
                <a:gd name="T18" fmla="*/ 207 w 348"/>
                <a:gd name="T19" fmla="*/ 274 h 535"/>
                <a:gd name="T20" fmla="*/ 25 w 348"/>
                <a:gd name="T21" fmla="*/ 457 h 535"/>
                <a:gd name="T22" fmla="*/ 80 w 348"/>
                <a:gd name="T23" fmla="*/ 535 h 535"/>
                <a:gd name="T24" fmla="*/ 77 w 348"/>
                <a:gd name="T25" fmla="*/ 534 h 535"/>
                <a:gd name="T26" fmla="*/ 73 w 348"/>
                <a:gd name="T27" fmla="*/ 533 h 535"/>
                <a:gd name="T28" fmla="*/ 4 w 348"/>
                <a:gd name="T29" fmla="*/ 463 h 535"/>
                <a:gd name="T30" fmla="*/ 2 w 348"/>
                <a:gd name="T31" fmla="*/ 460 h 535"/>
                <a:gd name="T32" fmla="*/ 0 w 348"/>
                <a:gd name="T33" fmla="*/ 457 h 535"/>
                <a:gd name="T34" fmla="*/ 2 w 348"/>
                <a:gd name="T35" fmla="*/ 452 h 535"/>
                <a:gd name="T36" fmla="*/ 4 w 348"/>
                <a:gd name="T37" fmla="*/ 449 h 535"/>
                <a:gd name="T38" fmla="*/ 185 w 348"/>
                <a:gd name="T39" fmla="*/ 268 h 535"/>
                <a:gd name="T40" fmla="*/ 4 w 348"/>
                <a:gd name="T41" fmla="*/ 86 h 535"/>
                <a:gd name="T42" fmla="*/ 2 w 348"/>
                <a:gd name="T43" fmla="*/ 83 h 535"/>
                <a:gd name="T44" fmla="*/ 0 w 348"/>
                <a:gd name="T45" fmla="*/ 79 h 535"/>
                <a:gd name="T46" fmla="*/ 2 w 348"/>
                <a:gd name="T47" fmla="*/ 75 h 535"/>
                <a:gd name="T48" fmla="*/ 4 w 348"/>
                <a:gd name="T49" fmla="*/ 72 h 535"/>
                <a:gd name="T50" fmla="*/ 74 w 348"/>
                <a:gd name="T51" fmla="*/ 2 h 535"/>
                <a:gd name="T52" fmla="*/ 77 w 348"/>
                <a:gd name="T53" fmla="*/ 0 h 535"/>
                <a:gd name="T54" fmla="*/ 80 w 348"/>
                <a:gd name="T55" fmla="*/ 0 h 535"/>
                <a:gd name="T56" fmla="*/ 84 w 348"/>
                <a:gd name="T57" fmla="*/ 0 h 535"/>
                <a:gd name="T58" fmla="*/ 87 w 348"/>
                <a:gd name="T59" fmla="*/ 2 h 535"/>
                <a:gd name="T60" fmla="*/ 346 w 348"/>
                <a:gd name="T61" fmla="*/ 260 h 535"/>
                <a:gd name="T62" fmla="*/ 348 w 348"/>
                <a:gd name="T63" fmla="*/ 263 h 535"/>
                <a:gd name="T64" fmla="*/ 348 w 348"/>
                <a:gd name="T65" fmla="*/ 268 h 535"/>
                <a:gd name="T66" fmla="*/ 348 w 348"/>
                <a:gd name="T67" fmla="*/ 271 h 535"/>
                <a:gd name="T68" fmla="*/ 346 w 348"/>
                <a:gd name="T69" fmla="*/ 274 h 535"/>
                <a:gd name="T70" fmla="*/ 87 w 348"/>
                <a:gd name="T71" fmla="*/ 532 h 535"/>
                <a:gd name="T72" fmla="*/ 84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7" y="260"/>
                  </a:lnTo>
                  <a:lnTo>
                    <a:pt x="209" y="263"/>
                  </a:lnTo>
                  <a:lnTo>
                    <a:pt x="210" y="268"/>
                  </a:lnTo>
                  <a:lnTo>
                    <a:pt x="209" y="271"/>
                  </a:lnTo>
                  <a:lnTo>
                    <a:pt x="207" y="274"/>
                  </a:lnTo>
                  <a:lnTo>
                    <a:pt x="25" y="457"/>
                  </a:lnTo>
                  <a:close/>
                  <a:moveTo>
                    <a:pt x="80" y="535"/>
                  </a:moveTo>
                  <a:lnTo>
                    <a:pt x="77" y="534"/>
                  </a:lnTo>
                  <a:lnTo>
                    <a:pt x="73" y="533"/>
                  </a:lnTo>
                  <a:lnTo>
                    <a:pt x="4" y="463"/>
                  </a:lnTo>
                  <a:lnTo>
                    <a:pt x="2" y="460"/>
                  </a:lnTo>
                  <a:lnTo>
                    <a:pt x="0" y="457"/>
                  </a:lnTo>
                  <a:lnTo>
                    <a:pt x="2" y="452"/>
                  </a:lnTo>
                  <a:lnTo>
                    <a:pt x="4" y="449"/>
                  </a:lnTo>
                  <a:lnTo>
                    <a:pt x="185" y="268"/>
                  </a:lnTo>
                  <a:lnTo>
                    <a:pt x="4" y="86"/>
                  </a:lnTo>
                  <a:lnTo>
                    <a:pt x="2" y="83"/>
                  </a:lnTo>
                  <a:lnTo>
                    <a:pt x="0" y="79"/>
                  </a:lnTo>
                  <a:lnTo>
                    <a:pt x="2" y="75"/>
                  </a:lnTo>
                  <a:lnTo>
                    <a:pt x="4" y="72"/>
                  </a:lnTo>
                  <a:lnTo>
                    <a:pt x="74" y="2"/>
                  </a:lnTo>
                  <a:lnTo>
                    <a:pt x="77" y="0"/>
                  </a:lnTo>
                  <a:lnTo>
                    <a:pt x="80" y="0"/>
                  </a:lnTo>
                  <a:lnTo>
                    <a:pt x="84" y="0"/>
                  </a:lnTo>
                  <a:lnTo>
                    <a:pt x="87" y="2"/>
                  </a:lnTo>
                  <a:lnTo>
                    <a:pt x="346" y="260"/>
                  </a:lnTo>
                  <a:lnTo>
                    <a:pt x="348" y="263"/>
                  </a:lnTo>
                  <a:lnTo>
                    <a:pt x="348" y="268"/>
                  </a:lnTo>
                  <a:lnTo>
                    <a:pt x="348" y="271"/>
                  </a:lnTo>
                  <a:lnTo>
                    <a:pt x="346" y="274"/>
                  </a:lnTo>
                  <a:lnTo>
                    <a:pt x="87" y="532"/>
                  </a:lnTo>
                  <a:lnTo>
                    <a:pt x="84" y="534"/>
                  </a:lnTo>
                  <a:lnTo>
                    <a:pt x="80" y="535"/>
                  </a:lnTo>
                  <a:close/>
                </a:path>
              </a:pathLst>
            </a:custGeom>
            <a:solidFill>
              <a:srgbClr val="5C64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386">
              <a:extLst>
                <a:ext uri="{FF2B5EF4-FFF2-40B4-BE49-F238E27FC236}">
                  <a16:creationId xmlns:a16="http://schemas.microsoft.com/office/drawing/2014/main" id="{44932F1B-37FF-A0A1-106E-712394FD3767}"/>
                </a:ext>
              </a:extLst>
            </p:cNvPr>
            <p:cNvSpPr>
              <a:spLocks noEditPoints="1"/>
            </p:cNvSpPr>
            <p:nvPr/>
          </p:nvSpPr>
          <p:spPr bwMode="auto">
            <a:xfrm>
              <a:off x="7494588"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6 w 348"/>
                <a:gd name="T11" fmla="*/ 260 h 535"/>
                <a:gd name="T12" fmla="*/ 208 w 348"/>
                <a:gd name="T13" fmla="*/ 263 h 535"/>
                <a:gd name="T14" fmla="*/ 208 w 348"/>
                <a:gd name="T15" fmla="*/ 268 h 535"/>
                <a:gd name="T16" fmla="*/ 208 w 348"/>
                <a:gd name="T17" fmla="*/ 271 h 535"/>
                <a:gd name="T18" fmla="*/ 206 w 348"/>
                <a:gd name="T19" fmla="*/ 274 h 535"/>
                <a:gd name="T20" fmla="*/ 25 w 348"/>
                <a:gd name="T21" fmla="*/ 457 h 535"/>
                <a:gd name="T22" fmla="*/ 80 w 348"/>
                <a:gd name="T23" fmla="*/ 535 h 535"/>
                <a:gd name="T24" fmla="*/ 75 w 348"/>
                <a:gd name="T25" fmla="*/ 534 h 535"/>
                <a:gd name="T26" fmla="*/ 72 w 348"/>
                <a:gd name="T27" fmla="*/ 533 h 535"/>
                <a:gd name="T28" fmla="*/ 3 w 348"/>
                <a:gd name="T29" fmla="*/ 463 h 535"/>
                <a:gd name="T30" fmla="*/ 1 w 348"/>
                <a:gd name="T31" fmla="*/ 460 h 535"/>
                <a:gd name="T32" fmla="*/ 0 w 348"/>
                <a:gd name="T33" fmla="*/ 457 h 535"/>
                <a:gd name="T34" fmla="*/ 1 w 348"/>
                <a:gd name="T35" fmla="*/ 452 h 535"/>
                <a:gd name="T36" fmla="*/ 3 w 348"/>
                <a:gd name="T37" fmla="*/ 449 h 535"/>
                <a:gd name="T38" fmla="*/ 185 w 348"/>
                <a:gd name="T39" fmla="*/ 268 h 535"/>
                <a:gd name="T40" fmla="*/ 3 w 348"/>
                <a:gd name="T41" fmla="*/ 86 h 535"/>
                <a:gd name="T42" fmla="*/ 1 w 348"/>
                <a:gd name="T43" fmla="*/ 83 h 535"/>
                <a:gd name="T44" fmla="*/ 0 w 348"/>
                <a:gd name="T45" fmla="*/ 79 h 535"/>
                <a:gd name="T46" fmla="*/ 1 w 348"/>
                <a:gd name="T47" fmla="*/ 75 h 535"/>
                <a:gd name="T48" fmla="*/ 3 w 348"/>
                <a:gd name="T49" fmla="*/ 72 h 535"/>
                <a:gd name="T50" fmla="*/ 72 w 348"/>
                <a:gd name="T51" fmla="*/ 2 h 535"/>
                <a:gd name="T52" fmla="*/ 75 w 348"/>
                <a:gd name="T53" fmla="*/ 0 h 535"/>
                <a:gd name="T54" fmla="*/ 80 w 348"/>
                <a:gd name="T55" fmla="*/ 0 h 535"/>
                <a:gd name="T56" fmla="*/ 83 w 348"/>
                <a:gd name="T57" fmla="*/ 0 h 535"/>
                <a:gd name="T58" fmla="*/ 86 w 348"/>
                <a:gd name="T59" fmla="*/ 2 h 535"/>
                <a:gd name="T60" fmla="*/ 344 w 348"/>
                <a:gd name="T61" fmla="*/ 260 h 535"/>
                <a:gd name="T62" fmla="*/ 347 w 348"/>
                <a:gd name="T63" fmla="*/ 263 h 535"/>
                <a:gd name="T64" fmla="*/ 348 w 348"/>
                <a:gd name="T65" fmla="*/ 268 h 535"/>
                <a:gd name="T66" fmla="*/ 347 w 348"/>
                <a:gd name="T67" fmla="*/ 271 h 535"/>
                <a:gd name="T68" fmla="*/ 344 w 348"/>
                <a:gd name="T69" fmla="*/ 274 h 535"/>
                <a:gd name="T70" fmla="*/ 86 w 348"/>
                <a:gd name="T71" fmla="*/ 532 h 535"/>
                <a:gd name="T72" fmla="*/ 83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6" y="260"/>
                  </a:lnTo>
                  <a:lnTo>
                    <a:pt x="208" y="263"/>
                  </a:lnTo>
                  <a:lnTo>
                    <a:pt x="208" y="268"/>
                  </a:lnTo>
                  <a:lnTo>
                    <a:pt x="208" y="271"/>
                  </a:lnTo>
                  <a:lnTo>
                    <a:pt x="206" y="274"/>
                  </a:lnTo>
                  <a:lnTo>
                    <a:pt x="25" y="457"/>
                  </a:lnTo>
                  <a:close/>
                  <a:moveTo>
                    <a:pt x="80" y="535"/>
                  </a:moveTo>
                  <a:lnTo>
                    <a:pt x="75" y="534"/>
                  </a:lnTo>
                  <a:lnTo>
                    <a:pt x="72" y="533"/>
                  </a:lnTo>
                  <a:lnTo>
                    <a:pt x="3" y="463"/>
                  </a:lnTo>
                  <a:lnTo>
                    <a:pt x="1" y="460"/>
                  </a:lnTo>
                  <a:lnTo>
                    <a:pt x="0" y="457"/>
                  </a:lnTo>
                  <a:lnTo>
                    <a:pt x="1" y="452"/>
                  </a:lnTo>
                  <a:lnTo>
                    <a:pt x="3" y="449"/>
                  </a:lnTo>
                  <a:lnTo>
                    <a:pt x="185" y="268"/>
                  </a:lnTo>
                  <a:lnTo>
                    <a:pt x="3" y="86"/>
                  </a:lnTo>
                  <a:lnTo>
                    <a:pt x="1" y="83"/>
                  </a:lnTo>
                  <a:lnTo>
                    <a:pt x="0" y="79"/>
                  </a:lnTo>
                  <a:lnTo>
                    <a:pt x="1" y="75"/>
                  </a:lnTo>
                  <a:lnTo>
                    <a:pt x="3" y="72"/>
                  </a:lnTo>
                  <a:lnTo>
                    <a:pt x="72" y="2"/>
                  </a:lnTo>
                  <a:lnTo>
                    <a:pt x="75" y="0"/>
                  </a:lnTo>
                  <a:lnTo>
                    <a:pt x="80" y="0"/>
                  </a:lnTo>
                  <a:lnTo>
                    <a:pt x="83" y="0"/>
                  </a:lnTo>
                  <a:lnTo>
                    <a:pt x="86" y="2"/>
                  </a:lnTo>
                  <a:lnTo>
                    <a:pt x="344" y="260"/>
                  </a:lnTo>
                  <a:lnTo>
                    <a:pt x="347" y="263"/>
                  </a:lnTo>
                  <a:lnTo>
                    <a:pt x="348" y="268"/>
                  </a:lnTo>
                  <a:lnTo>
                    <a:pt x="347" y="271"/>
                  </a:lnTo>
                  <a:lnTo>
                    <a:pt x="344" y="274"/>
                  </a:lnTo>
                  <a:lnTo>
                    <a:pt x="86" y="532"/>
                  </a:lnTo>
                  <a:lnTo>
                    <a:pt x="83" y="534"/>
                  </a:lnTo>
                  <a:lnTo>
                    <a:pt x="80" y="535"/>
                  </a:lnTo>
                  <a:close/>
                </a:path>
              </a:pathLst>
            </a:custGeom>
            <a:solidFill>
              <a:srgbClr val="5C64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Box 5">
            <a:extLst>
              <a:ext uri="{FF2B5EF4-FFF2-40B4-BE49-F238E27FC236}">
                <a16:creationId xmlns:a16="http://schemas.microsoft.com/office/drawing/2014/main" id="{0DA89328-7174-036E-3CA1-DF45E5881396}"/>
              </a:ext>
            </a:extLst>
          </p:cNvPr>
          <p:cNvSpPr txBox="1"/>
          <p:nvPr/>
        </p:nvSpPr>
        <p:spPr>
          <a:xfrm>
            <a:off x="731520" y="1235849"/>
            <a:ext cx="10769600" cy="5632311"/>
          </a:xfrm>
          <a:prstGeom prst="rect">
            <a:avLst/>
          </a:prstGeom>
          <a:noFill/>
        </p:spPr>
        <p:txBody>
          <a:bodyPr wrap="square" rtlCol="0">
            <a:spAutoFit/>
          </a:bodyPr>
          <a:lstStyle/>
          <a:p>
            <a:pPr marL="457200" indent="-457200">
              <a:buAutoNum type="arabicPeriod"/>
            </a:pPr>
            <a:endParaRPr lang="en-IN" sz="2400" dirty="0">
              <a:latin typeface="+mj-lt"/>
            </a:endParaRPr>
          </a:p>
          <a:p>
            <a:pPr marL="457200" indent="-457200">
              <a:buAutoNum type="arabicPeriod"/>
            </a:pPr>
            <a:r>
              <a:rPr lang="en-IN" sz="2400" dirty="0">
                <a:latin typeface="+mj-lt"/>
              </a:rPr>
              <a:t>MANUFACTURING QUANTITY</a:t>
            </a:r>
          </a:p>
          <a:p>
            <a:pPr marL="457200" indent="-457200">
              <a:buAutoNum type="arabicPeriod"/>
            </a:pPr>
            <a:endParaRPr lang="en-IN" sz="2400" dirty="0">
              <a:latin typeface="+mj-lt"/>
            </a:endParaRPr>
          </a:p>
          <a:p>
            <a:pPr marL="457200" indent="-457200">
              <a:buAutoNum type="arabicPeriod" startAt="2"/>
            </a:pPr>
            <a:r>
              <a:rPr lang="en-IN" sz="2400" dirty="0">
                <a:latin typeface="+mj-lt"/>
              </a:rPr>
              <a:t>REJECTED QUANTITY</a:t>
            </a:r>
          </a:p>
          <a:p>
            <a:pPr marL="457200" indent="-457200">
              <a:buAutoNum type="arabicPeriod" startAt="2"/>
            </a:pPr>
            <a:endParaRPr lang="en-IN" sz="2400" dirty="0">
              <a:latin typeface="+mj-lt"/>
            </a:endParaRPr>
          </a:p>
          <a:p>
            <a:pPr marL="457200" indent="-457200">
              <a:buAutoNum type="arabicPeriod" startAt="3"/>
            </a:pPr>
            <a:r>
              <a:rPr lang="en-IN" sz="2400" dirty="0">
                <a:latin typeface="+mj-lt"/>
              </a:rPr>
              <a:t>PROCESSED QUANTITY</a:t>
            </a:r>
          </a:p>
          <a:p>
            <a:pPr marL="457200" indent="-457200">
              <a:buAutoNum type="arabicPeriod" startAt="3"/>
            </a:pPr>
            <a:endParaRPr lang="en-IN" sz="2400" dirty="0">
              <a:latin typeface="+mj-lt"/>
            </a:endParaRPr>
          </a:p>
          <a:p>
            <a:pPr marL="457200" indent="-457200">
              <a:buAutoNum type="arabicPeriod" startAt="4"/>
            </a:pPr>
            <a:r>
              <a:rPr lang="en-IN" sz="2400" dirty="0">
                <a:latin typeface="+mj-lt"/>
              </a:rPr>
              <a:t>WASTAGE QUANTITY</a:t>
            </a:r>
          </a:p>
          <a:p>
            <a:pPr marL="457200" indent="-457200">
              <a:buAutoNum type="arabicPeriod" startAt="4"/>
            </a:pPr>
            <a:endParaRPr lang="en-IN" sz="2400" dirty="0">
              <a:latin typeface="+mj-lt"/>
            </a:endParaRPr>
          </a:p>
          <a:p>
            <a:pPr marL="457200" indent="-457200">
              <a:buAutoNum type="arabicPeriod" startAt="5"/>
            </a:pPr>
            <a:r>
              <a:rPr lang="en-IN" sz="2400" dirty="0">
                <a:latin typeface="+mj-lt"/>
              </a:rPr>
              <a:t>EMPLOYEE WISE REJECTED QUANTITY</a:t>
            </a:r>
          </a:p>
          <a:p>
            <a:pPr marL="457200" indent="-457200">
              <a:buAutoNum type="arabicPeriod" startAt="5"/>
            </a:pPr>
            <a:endParaRPr lang="en-IN" sz="2400" dirty="0">
              <a:latin typeface="+mj-lt"/>
            </a:endParaRPr>
          </a:p>
          <a:p>
            <a:pPr marL="457200" indent="-457200">
              <a:buAutoNum type="arabicPeriod" startAt="6"/>
            </a:pPr>
            <a:r>
              <a:rPr lang="en-IN" sz="2400" dirty="0">
                <a:latin typeface="+mj-lt"/>
              </a:rPr>
              <a:t>MACHINE WISE REJECTED QUANTITY</a:t>
            </a:r>
          </a:p>
          <a:p>
            <a:pPr marL="457200" indent="-457200">
              <a:buAutoNum type="arabicPeriod" startAt="6"/>
            </a:pPr>
            <a:endParaRPr lang="en-IN" sz="2400" dirty="0">
              <a:latin typeface="+mj-lt"/>
            </a:endParaRPr>
          </a:p>
          <a:p>
            <a:pPr marL="457200" indent="-457200">
              <a:buAutoNum type="arabicPeriod" startAt="7"/>
            </a:pPr>
            <a:r>
              <a:rPr lang="en-IN" sz="2400" dirty="0">
                <a:latin typeface="+mj-lt"/>
              </a:rPr>
              <a:t>PRODUCTION COMPARISON TREND</a:t>
            </a:r>
          </a:p>
          <a:p>
            <a:pPr marL="457200" indent="-457200">
              <a:buAutoNum type="arabicPeriod" startAt="7"/>
            </a:pPr>
            <a:endParaRPr lang="en-IN" sz="2400" dirty="0">
              <a:latin typeface="+mj-lt"/>
            </a:endParaRPr>
          </a:p>
        </p:txBody>
      </p:sp>
      <p:sp>
        <p:nvSpPr>
          <p:cNvPr id="14" name="TextBox 13">
            <a:extLst>
              <a:ext uri="{FF2B5EF4-FFF2-40B4-BE49-F238E27FC236}">
                <a16:creationId xmlns:a16="http://schemas.microsoft.com/office/drawing/2014/main" id="{B9AED846-DF76-84CA-B0CA-9135B1936C4B}"/>
              </a:ext>
            </a:extLst>
          </p:cNvPr>
          <p:cNvSpPr txBox="1"/>
          <p:nvPr/>
        </p:nvSpPr>
        <p:spPr>
          <a:xfrm>
            <a:off x="5770880" y="1595120"/>
            <a:ext cx="5872480" cy="1938992"/>
          </a:xfrm>
          <a:prstGeom prst="rect">
            <a:avLst/>
          </a:prstGeom>
          <a:noFill/>
        </p:spPr>
        <p:txBody>
          <a:bodyPr wrap="square" rtlCol="0">
            <a:spAutoFit/>
          </a:bodyPr>
          <a:lstStyle/>
          <a:p>
            <a:pPr marL="342900" indent="-342900">
              <a:buAutoNum type="arabicPeriod" startAt="8"/>
            </a:pPr>
            <a:r>
              <a:rPr lang="en-US" sz="2400" dirty="0">
                <a:latin typeface="+mj-lt"/>
              </a:rPr>
              <a:t>MANUFACTURED VS REJECTED QTY</a:t>
            </a:r>
          </a:p>
          <a:p>
            <a:pPr marL="342900" indent="-342900">
              <a:buAutoNum type="arabicPeriod" startAt="8"/>
            </a:pPr>
            <a:endParaRPr lang="en-US" sz="2400" dirty="0">
              <a:latin typeface="+mj-lt"/>
            </a:endParaRPr>
          </a:p>
          <a:p>
            <a:pPr marL="342900" indent="-342900">
              <a:buAutoNum type="arabicPeriod" startAt="9"/>
            </a:pPr>
            <a:r>
              <a:rPr lang="en-US" sz="2400" dirty="0">
                <a:latin typeface="+mj-lt"/>
              </a:rPr>
              <a:t>DEPARTMENT WISE REJECTED QTY</a:t>
            </a:r>
          </a:p>
          <a:p>
            <a:pPr marL="342900" indent="-342900">
              <a:buAutoNum type="arabicPeriod" startAt="9"/>
            </a:pPr>
            <a:endParaRPr lang="en-US" sz="2400" dirty="0">
              <a:latin typeface="+mj-lt"/>
            </a:endParaRPr>
          </a:p>
          <a:p>
            <a:r>
              <a:rPr lang="en-US" sz="2400" dirty="0">
                <a:latin typeface="+mj-lt"/>
              </a:rPr>
              <a:t>10.  EMP WISE REJECTED QTY</a:t>
            </a:r>
            <a:endParaRPr lang="en-IN" sz="2400" dirty="0">
              <a:latin typeface="+mj-lt"/>
            </a:endParaRPr>
          </a:p>
        </p:txBody>
      </p:sp>
    </p:spTree>
    <p:extLst>
      <p:ext uri="{BB962C8B-B14F-4D97-AF65-F5344CB8AC3E}">
        <p14:creationId xmlns:p14="http://schemas.microsoft.com/office/powerpoint/2010/main" val="1985914554"/>
      </p:ext>
    </p:extLst>
  </p:cSld>
  <p:clrMapOvr>
    <a:masterClrMapping/>
  </p:clrMapOvr>
  <p:transition spd="slow">
    <p:cove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88DCF067-D229-D401-EDFB-ADA1D9C212E3}"/>
              </a:ext>
            </a:extLst>
          </p:cNvPr>
          <p:cNvSpPr/>
          <p:nvPr/>
        </p:nvSpPr>
        <p:spPr>
          <a:xfrm>
            <a:off x="1005840" y="1452880"/>
            <a:ext cx="4572000" cy="2763520"/>
          </a:xfrm>
          <a:prstGeom prst="roundRect">
            <a:avLst/>
          </a:prstGeom>
          <a:solidFill>
            <a:srgbClr val="44546A"/>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IN" sz="1100"/>
          </a:p>
        </p:txBody>
      </p:sp>
      <p:sp>
        <p:nvSpPr>
          <p:cNvPr id="3" name="Rectangle: Rounded Corners 2">
            <a:extLst>
              <a:ext uri="{FF2B5EF4-FFF2-40B4-BE49-F238E27FC236}">
                <a16:creationId xmlns:a16="http://schemas.microsoft.com/office/drawing/2014/main" id="{08D98AEE-E1F5-78C4-C7EE-294A582EC712}"/>
              </a:ext>
            </a:extLst>
          </p:cNvPr>
          <p:cNvSpPr/>
          <p:nvPr/>
        </p:nvSpPr>
        <p:spPr>
          <a:xfrm>
            <a:off x="7192010" y="3637280"/>
            <a:ext cx="4370070" cy="2489200"/>
          </a:xfrm>
          <a:prstGeom prst="roundRect">
            <a:avLst/>
          </a:prstGeom>
          <a:solidFill>
            <a:srgbClr val="44546A"/>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IN" sz="1100"/>
          </a:p>
        </p:txBody>
      </p:sp>
      <p:graphicFrame>
        <p:nvGraphicFramePr>
          <p:cNvPr id="2" name="Chart 1">
            <a:extLst>
              <a:ext uri="{FF2B5EF4-FFF2-40B4-BE49-F238E27FC236}">
                <a16:creationId xmlns:a16="http://schemas.microsoft.com/office/drawing/2014/main" id="{4BF7EAFE-9402-9F26-BD83-89418301EECC}"/>
              </a:ext>
            </a:extLst>
          </p:cNvPr>
          <p:cNvGraphicFramePr>
            <a:graphicFrameLocks/>
          </p:cNvGraphicFramePr>
          <p:nvPr>
            <p:extLst>
              <p:ext uri="{D42A27DB-BD31-4B8C-83A1-F6EECF244321}">
                <p14:modId xmlns:p14="http://schemas.microsoft.com/office/powerpoint/2010/main" val="204899674"/>
              </p:ext>
            </p:extLst>
          </p:nvPr>
        </p:nvGraphicFramePr>
        <p:xfrm>
          <a:off x="7416800" y="3759200"/>
          <a:ext cx="3931920" cy="2291080"/>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Rounded Corners 5">
            <a:extLst>
              <a:ext uri="{FF2B5EF4-FFF2-40B4-BE49-F238E27FC236}">
                <a16:creationId xmlns:a16="http://schemas.microsoft.com/office/drawing/2014/main" id="{BA1600EC-7EB9-18AD-CF5E-D8578C6990BC}"/>
              </a:ext>
            </a:extLst>
          </p:cNvPr>
          <p:cNvSpPr/>
          <p:nvPr/>
        </p:nvSpPr>
        <p:spPr>
          <a:xfrm>
            <a:off x="91440" y="111760"/>
            <a:ext cx="12019280" cy="843279"/>
          </a:xfrm>
          <a:prstGeom prst="roundRect">
            <a:avLst>
              <a:gd name="adj" fmla="val 13547"/>
            </a:avLst>
          </a:prstGeom>
          <a:gradFill>
            <a:gsLst>
              <a:gs pos="0">
                <a:schemeClr val="accent4"/>
              </a:gs>
              <a:gs pos="100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mj-lt"/>
              </a:rPr>
              <a:t>KPI’S</a:t>
            </a:r>
            <a:endParaRPr lang="en-ID" sz="3200" b="1" dirty="0">
              <a:solidFill>
                <a:schemeClr val="bg1"/>
              </a:solidFill>
              <a:latin typeface="+mj-lt"/>
            </a:endParaRPr>
          </a:p>
        </p:txBody>
      </p:sp>
      <p:sp>
        <p:nvSpPr>
          <p:cNvPr id="9" name="Oval 8">
            <a:extLst>
              <a:ext uri="{FF2B5EF4-FFF2-40B4-BE49-F238E27FC236}">
                <a16:creationId xmlns:a16="http://schemas.microsoft.com/office/drawing/2014/main" id="{3E201E56-79EF-EEE8-10D2-AF3C112C930A}"/>
              </a:ext>
            </a:extLst>
          </p:cNvPr>
          <p:cNvSpPr/>
          <p:nvPr/>
        </p:nvSpPr>
        <p:spPr>
          <a:xfrm>
            <a:off x="11865983" y="3106953"/>
            <a:ext cx="652034" cy="652034"/>
          </a:xfrm>
          <a:prstGeom prst="ellipse">
            <a:avLst/>
          </a:prstGeom>
          <a:solidFill>
            <a:srgbClr val="44546A"/>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0" name="Group 9">
            <a:extLst>
              <a:ext uri="{FF2B5EF4-FFF2-40B4-BE49-F238E27FC236}">
                <a16:creationId xmlns:a16="http://schemas.microsoft.com/office/drawing/2014/main" id="{F3D274C2-233A-B386-B3E3-F32A0E135CFA}"/>
              </a:ext>
            </a:extLst>
          </p:cNvPr>
          <p:cNvGrpSpPr/>
          <p:nvPr/>
        </p:nvGrpSpPr>
        <p:grpSpPr>
          <a:xfrm rot="10800000">
            <a:off x="12052255" y="3307294"/>
            <a:ext cx="279490" cy="251353"/>
            <a:chOff x="7396163" y="4268788"/>
            <a:chExt cx="236538" cy="212725"/>
          </a:xfrm>
          <a:solidFill>
            <a:srgbClr val="FDBF10"/>
          </a:solidFill>
        </p:grpSpPr>
        <p:sp>
          <p:nvSpPr>
            <p:cNvPr id="15" name="Freeform 385">
              <a:extLst>
                <a:ext uri="{FF2B5EF4-FFF2-40B4-BE49-F238E27FC236}">
                  <a16:creationId xmlns:a16="http://schemas.microsoft.com/office/drawing/2014/main" id="{EEB7174D-99C1-D8F4-465E-E613CC8CD39F}"/>
                </a:ext>
              </a:extLst>
            </p:cNvPr>
            <p:cNvSpPr>
              <a:spLocks noEditPoints="1"/>
            </p:cNvSpPr>
            <p:nvPr/>
          </p:nvSpPr>
          <p:spPr bwMode="auto">
            <a:xfrm>
              <a:off x="7396163"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7 w 348"/>
                <a:gd name="T11" fmla="*/ 260 h 535"/>
                <a:gd name="T12" fmla="*/ 209 w 348"/>
                <a:gd name="T13" fmla="*/ 263 h 535"/>
                <a:gd name="T14" fmla="*/ 210 w 348"/>
                <a:gd name="T15" fmla="*/ 268 h 535"/>
                <a:gd name="T16" fmla="*/ 209 w 348"/>
                <a:gd name="T17" fmla="*/ 271 h 535"/>
                <a:gd name="T18" fmla="*/ 207 w 348"/>
                <a:gd name="T19" fmla="*/ 274 h 535"/>
                <a:gd name="T20" fmla="*/ 25 w 348"/>
                <a:gd name="T21" fmla="*/ 457 h 535"/>
                <a:gd name="T22" fmla="*/ 80 w 348"/>
                <a:gd name="T23" fmla="*/ 535 h 535"/>
                <a:gd name="T24" fmla="*/ 77 w 348"/>
                <a:gd name="T25" fmla="*/ 534 h 535"/>
                <a:gd name="T26" fmla="*/ 73 w 348"/>
                <a:gd name="T27" fmla="*/ 533 h 535"/>
                <a:gd name="T28" fmla="*/ 4 w 348"/>
                <a:gd name="T29" fmla="*/ 463 h 535"/>
                <a:gd name="T30" fmla="*/ 2 w 348"/>
                <a:gd name="T31" fmla="*/ 460 h 535"/>
                <a:gd name="T32" fmla="*/ 0 w 348"/>
                <a:gd name="T33" fmla="*/ 457 h 535"/>
                <a:gd name="T34" fmla="*/ 2 w 348"/>
                <a:gd name="T35" fmla="*/ 452 h 535"/>
                <a:gd name="T36" fmla="*/ 4 w 348"/>
                <a:gd name="T37" fmla="*/ 449 h 535"/>
                <a:gd name="T38" fmla="*/ 185 w 348"/>
                <a:gd name="T39" fmla="*/ 268 h 535"/>
                <a:gd name="T40" fmla="*/ 4 w 348"/>
                <a:gd name="T41" fmla="*/ 86 h 535"/>
                <a:gd name="T42" fmla="*/ 2 w 348"/>
                <a:gd name="T43" fmla="*/ 83 h 535"/>
                <a:gd name="T44" fmla="*/ 0 w 348"/>
                <a:gd name="T45" fmla="*/ 79 h 535"/>
                <a:gd name="T46" fmla="*/ 2 w 348"/>
                <a:gd name="T47" fmla="*/ 75 h 535"/>
                <a:gd name="T48" fmla="*/ 4 w 348"/>
                <a:gd name="T49" fmla="*/ 72 h 535"/>
                <a:gd name="T50" fmla="*/ 74 w 348"/>
                <a:gd name="T51" fmla="*/ 2 h 535"/>
                <a:gd name="T52" fmla="*/ 77 w 348"/>
                <a:gd name="T53" fmla="*/ 0 h 535"/>
                <a:gd name="T54" fmla="*/ 80 w 348"/>
                <a:gd name="T55" fmla="*/ 0 h 535"/>
                <a:gd name="T56" fmla="*/ 84 w 348"/>
                <a:gd name="T57" fmla="*/ 0 h 535"/>
                <a:gd name="T58" fmla="*/ 87 w 348"/>
                <a:gd name="T59" fmla="*/ 2 h 535"/>
                <a:gd name="T60" fmla="*/ 346 w 348"/>
                <a:gd name="T61" fmla="*/ 260 h 535"/>
                <a:gd name="T62" fmla="*/ 348 w 348"/>
                <a:gd name="T63" fmla="*/ 263 h 535"/>
                <a:gd name="T64" fmla="*/ 348 w 348"/>
                <a:gd name="T65" fmla="*/ 268 h 535"/>
                <a:gd name="T66" fmla="*/ 348 w 348"/>
                <a:gd name="T67" fmla="*/ 271 h 535"/>
                <a:gd name="T68" fmla="*/ 346 w 348"/>
                <a:gd name="T69" fmla="*/ 274 h 535"/>
                <a:gd name="T70" fmla="*/ 87 w 348"/>
                <a:gd name="T71" fmla="*/ 532 h 535"/>
                <a:gd name="T72" fmla="*/ 84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7" y="260"/>
                  </a:lnTo>
                  <a:lnTo>
                    <a:pt x="209" y="263"/>
                  </a:lnTo>
                  <a:lnTo>
                    <a:pt x="210" y="268"/>
                  </a:lnTo>
                  <a:lnTo>
                    <a:pt x="209" y="271"/>
                  </a:lnTo>
                  <a:lnTo>
                    <a:pt x="207" y="274"/>
                  </a:lnTo>
                  <a:lnTo>
                    <a:pt x="25" y="457"/>
                  </a:lnTo>
                  <a:close/>
                  <a:moveTo>
                    <a:pt x="80" y="535"/>
                  </a:moveTo>
                  <a:lnTo>
                    <a:pt x="77" y="534"/>
                  </a:lnTo>
                  <a:lnTo>
                    <a:pt x="73" y="533"/>
                  </a:lnTo>
                  <a:lnTo>
                    <a:pt x="4" y="463"/>
                  </a:lnTo>
                  <a:lnTo>
                    <a:pt x="2" y="460"/>
                  </a:lnTo>
                  <a:lnTo>
                    <a:pt x="0" y="457"/>
                  </a:lnTo>
                  <a:lnTo>
                    <a:pt x="2" y="452"/>
                  </a:lnTo>
                  <a:lnTo>
                    <a:pt x="4" y="449"/>
                  </a:lnTo>
                  <a:lnTo>
                    <a:pt x="185" y="268"/>
                  </a:lnTo>
                  <a:lnTo>
                    <a:pt x="4" y="86"/>
                  </a:lnTo>
                  <a:lnTo>
                    <a:pt x="2" y="83"/>
                  </a:lnTo>
                  <a:lnTo>
                    <a:pt x="0" y="79"/>
                  </a:lnTo>
                  <a:lnTo>
                    <a:pt x="2" y="75"/>
                  </a:lnTo>
                  <a:lnTo>
                    <a:pt x="4" y="72"/>
                  </a:lnTo>
                  <a:lnTo>
                    <a:pt x="74" y="2"/>
                  </a:lnTo>
                  <a:lnTo>
                    <a:pt x="77" y="0"/>
                  </a:lnTo>
                  <a:lnTo>
                    <a:pt x="80" y="0"/>
                  </a:lnTo>
                  <a:lnTo>
                    <a:pt x="84" y="0"/>
                  </a:lnTo>
                  <a:lnTo>
                    <a:pt x="87" y="2"/>
                  </a:lnTo>
                  <a:lnTo>
                    <a:pt x="346" y="260"/>
                  </a:lnTo>
                  <a:lnTo>
                    <a:pt x="348" y="263"/>
                  </a:lnTo>
                  <a:lnTo>
                    <a:pt x="348" y="268"/>
                  </a:lnTo>
                  <a:lnTo>
                    <a:pt x="348" y="271"/>
                  </a:lnTo>
                  <a:lnTo>
                    <a:pt x="346" y="274"/>
                  </a:lnTo>
                  <a:lnTo>
                    <a:pt x="87" y="532"/>
                  </a:lnTo>
                  <a:lnTo>
                    <a:pt x="84" y="534"/>
                  </a:lnTo>
                  <a:lnTo>
                    <a:pt x="80"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386">
              <a:extLst>
                <a:ext uri="{FF2B5EF4-FFF2-40B4-BE49-F238E27FC236}">
                  <a16:creationId xmlns:a16="http://schemas.microsoft.com/office/drawing/2014/main" id="{29A7B91A-36B5-31B6-E936-85CC2612283D}"/>
                </a:ext>
              </a:extLst>
            </p:cNvPr>
            <p:cNvSpPr>
              <a:spLocks noEditPoints="1"/>
            </p:cNvSpPr>
            <p:nvPr/>
          </p:nvSpPr>
          <p:spPr bwMode="auto">
            <a:xfrm>
              <a:off x="7494588"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6 w 348"/>
                <a:gd name="T11" fmla="*/ 260 h 535"/>
                <a:gd name="T12" fmla="*/ 208 w 348"/>
                <a:gd name="T13" fmla="*/ 263 h 535"/>
                <a:gd name="T14" fmla="*/ 208 w 348"/>
                <a:gd name="T15" fmla="*/ 268 h 535"/>
                <a:gd name="T16" fmla="*/ 208 w 348"/>
                <a:gd name="T17" fmla="*/ 271 h 535"/>
                <a:gd name="T18" fmla="*/ 206 w 348"/>
                <a:gd name="T19" fmla="*/ 274 h 535"/>
                <a:gd name="T20" fmla="*/ 25 w 348"/>
                <a:gd name="T21" fmla="*/ 457 h 535"/>
                <a:gd name="T22" fmla="*/ 80 w 348"/>
                <a:gd name="T23" fmla="*/ 535 h 535"/>
                <a:gd name="T24" fmla="*/ 75 w 348"/>
                <a:gd name="T25" fmla="*/ 534 h 535"/>
                <a:gd name="T26" fmla="*/ 72 w 348"/>
                <a:gd name="T27" fmla="*/ 533 h 535"/>
                <a:gd name="T28" fmla="*/ 3 w 348"/>
                <a:gd name="T29" fmla="*/ 463 h 535"/>
                <a:gd name="T30" fmla="*/ 1 w 348"/>
                <a:gd name="T31" fmla="*/ 460 h 535"/>
                <a:gd name="T32" fmla="*/ 0 w 348"/>
                <a:gd name="T33" fmla="*/ 457 h 535"/>
                <a:gd name="T34" fmla="*/ 1 w 348"/>
                <a:gd name="T35" fmla="*/ 452 h 535"/>
                <a:gd name="T36" fmla="*/ 3 w 348"/>
                <a:gd name="T37" fmla="*/ 449 h 535"/>
                <a:gd name="T38" fmla="*/ 185 w 348"/>
                <a:gd name="T39" fmla="*/ 268 h 535"/>
                <a:gd name="T40" fmla="*/ 3 w 348"/>
                <a:gd name="T41" fmla="*/ 86 h 535"/>
                <a:gd name="T42" fmla="*/ 1 w 348"/>
                <a:gd name="T43" fmla="*/ 83 h 535"/>
                <a:gd name="T44" fmla="*/ 0 w 348"/>
                <a:gd name="T45" fmla="*/ 79 h 535"/>
                <a:gd name="T46" fmla="*/ 1 w 348"/>
                <a:gd name="T47" fmla="*/ 75 h 535"/>
                <a:gd name="T48" fmla="*/ 3 w 348"/>
                <a:gd name="T49" fmla="*/ 72 h 535"/>
                <a:gd name="T50" fmla="*/ 72 w 348"/>
                <a:gd name="T51" fmla="*/ 2 h 535"/>
                <a:gd name="T52" fmla="*/ 75 w 348"/>
                <a:gd name="T53" fmla="*/ 0 h 535"/>
                <a:gd name="T54" fmla="*/ 80 w 348"/>
                <a:gd name="T55" fmla="*/ 0 h 535"/>
                <a:gd name="T56" fmla="*/ 83 w 348"/>
                <a:gd name="T57" fmla="*/ 0 h 535"/>
                <a:gd name="T58" fmla="*/ 86 w 348"/>
                <a:gd name="T59" fmla="*/ 2 h 535"/>
                <a:gd name="T60" fmla="*/ 344 w 348"/>
                <a:gd name="T61" fmla="*/ 260 h 535"/>
                <a:gd name="T62" fmla="*/ 347 w 348"/>
                <a:gd name="T63" fmla="*/ 263 h 535"/>
                <a:gd name="T64" fmla="*/ 348 w 348"/>
                <a:gd name="T65" fmla="*/ 268 h 535"/>
                <a:gd name="T66" fmla="*/ 347 w 348"/>
                <a:gd name="T67" fmla="*/ 271 h 535"/>
                <a:gd name="T68" fmla="*/ 344 w 348"/>
                <a:gd name="T69" fmla="*/ 274 h 535"/>
                <a:gd name="T70" fmla="*/ 86 w 348"/>
                <a:gd name="T71" fmla="*/ 532 h 535"/>
                <a:gd name="T72" fmla="*/ 83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6" y="260"/>
                  </a:lnTo>
                  <a:lnTo>
                    <a:pt x="208" y="263"/>
                  </a:lnTo>
                  <a:lnTo>
                    <a:pt x="208" y="268"/>
                  </a:lnTo>
                  <a:lnTo>
                    <a:pt x="208" y="271"/>
                  </a:lnTo>
                  <a:lnTo>
                    <a:pt x="206" y="274"/>
                  </a:lnTo>
                  <a:lnTo>
                    <a:pt x="25" y="457"/>
                  </a:lnTo>
                  <a:close/>
                  <a:moveTo>
                    <a:pt x="80" y="535"/>
                  </a:moveTo>
                  <a:lnTo>
                    <a:pt x="75" y="534"/>
                  </a:lnTo>
                  <a:lnTo>
                    <a:pt x="72" y="533"/>
                  </a:lnTo>
                  <a:lnTo>
                    <a:pt x="3" y="463"/>
                  </a:lnTo>
                  <a:lnTo>
                    <a:pt x="1" y="460"/>
                  </a:lnTo>
                  <a:lnTo>
                    <a:pt x="0" y="457"/>
                  </a:lnTo>
                  <a:lnTo>
                    <a:pt x="1" y="452"/>
                  </a:lnTo>
                  <a:lnTo>
                    <a:pt x="3" y="449"/>
                  </a:lnTo>
                  <a:lnTo>
                    <a:pt x="185" y="268"/>
                  </a:lnTo>
                  <a:lnTo>
                    <a:pt x="3" y="86"/>
                  </a:lnTo>
                  <a:lnTo>
                    <a:pt x="1" y="83"/>
                  </a:lnTo>
                  <a:lnTo>
                    <a:pt x="0" y="79"/>
                  </a:lnTo>
                  <a:lnTo>
                    <a:pt x="1" y="75"/>
                  </a:lnTo>
                  <a:lnTo>
                    <a:pt x="3" y="72"/>
                  </a:lnTo>
                  <a:lnTo>
                    <a:pt x="72" y="2"/>
                  </a:lnTo>
                  <a:lnTo>
                    <a:pt x="75" y="0"/>
                  </a:lnTo>
                  <a:lnTo>
                    <a:pt x="80" y="0"/>
                  </a:lnTo>
                  <a:lnTo>
                    <a:pt x="83" y="0"/>
                  </a:lnTo>
                  <a:lnTo>
                    <a:pt x="86" y="2"/>
                  </a:lnTo>
                  <a:lnTo>
                    <a:pt x="344" y="260"/>
                  </a:lnTo>
                  <a:lnTo>
                    <a:pt x="347" y="263"/>
                  </a:lnTo>
                  <a:lnTo>
                    <a:pt x="348" y="268"/>
                  </a:lnTo>
                  <a:lnTo>
                    <a:pt x="347" y="271"/>
                  </a:lnTo>
                  <a:lnTo>
                    <a:pt x="344" y="274"/>
                  </a:lnTo>
                  <a:lnTo>
                    <a:pt x="86" y="532"/>
                  </a:lnTo>
                  <a:lnTo>
                    <a:pt x="83" y="534"/>
                  </a:lnTo>
                  <a:lnTo>
                    <a:pt x="80"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4" name="Chart 3">
            <a:extLst>
              <a:ext uri="{FF2B5EF4-FFF2-40B4-BE49-F238E27FC236}">
                <a16:creationId xmlns:a16="http://schemas.microsoft.com/office/drawing/2014/main" id="{4BFAEC6E-ED7A-D5D8-C974-BE29D15C8EF8}"/>
              </a:ext>
            </a:extLst>
          </p:cNvPr>
          <p:cNvGraphicFramePr>
            <a:graphicFrameLocks/>
          </p:cNvGraphicFramePr>
          <p:nvPr>
            <p:extLst>
              <p:ext uri="{D42A27DB-BD31-4B8C-83A1-F6EECF244321}">
                <p14:modId xmlns:p14="http://schemas.microsoft.com/office/powerpoint/2010/main" val="746832319"/>
              </p:ext>
            </p:extLst>
          </p:nvPr>
        </p:nvGraphicFramePr>
        <p:xfrm>
          <a:off x="1219200" y="1600200"/>
          <a:ext cx="4155440" cy="2453640"/>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Rounded Corners 7">
            <a:extLst>
              <a:ext uri="{FF2B5EF4-FFF2-40B4-BE49-F238E27FC236}">
                <a16:creationId xmlns:a16="http://schemas.microsoft.com/office/drawing/2014/main" id="{9FD39DE7-2CDF-F6EF-279A-6C3375EA24CF}"/>
              </a:ext>
            </a:extLst>
          </p:cNvPr>
          <p:cNvSpPr/>
          <p:nvPr/>
        </p:nvSpPr>
        <p:spPr>
          <a:xfrm rot="16200000">
            <a:off x="2633981" y="2532380"/>
            <a:ext cx="1432559" cy="1041399"/>
          </a:xfrm>
          <a:prstGeom prst="roundRect">
            <a:avLst>
              <a:gd name="adj" fmla="val 13547"/>
            </a:avLst>
          </a:prstGeom>
          <a:gradFill>
            <a:gsLst>
              <a:gs pos="0">
                <a:schemeClr val="accent4"/>
              </a:gs>
              <a:gs pos="100000">
                <a:schemeClr val="tx2"/>
              </a:gs>
            </a:gsLst>
            <a:lin ang="54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3200" b="1" dirty="0">
              <a:solidFill>
                <a:schemeClr val="bg1"/>
              </a:solidFill>
              <a:latin typeface="+mj-lt"/>
            </a:endParaRPr>
          </a:p>
        </p:txBody>
      </p:sp>
    </p:spTree>
    <p:extLst>
      <p:ext uri="{BB962C8B-B14F-4D97-AF65-F5344CB8AC3E}">
        <p14:creationId xmlns:p14="http://schemas.microsoft.com/office/powerpoint/2010/main" val="1405748507"/>
      </p:ext>
    </p:extLst>
  </p:cSld>
  <p:clrMapOvr>
    <a:masterClrMapping/>
  </p:clrMapOvr>
  <p:transition spd="slow">
    <p:cove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530592BD-DAB4-FCB2-4A72-BFAFC981D376}"/>
              </a:ext>
            </a:extLst>
          </p:cNvPr>
          <p:cNvSpPr/>
          <p:nvPr/>
        </p:nvSpPr>
        <p:spPr>
          <a:xfrm>
            <a:off x="3261360" y="4064000"/>
            <a:ext cx="4876800" cy="2794000"/>
          </a:xfrm>
          <a:prstGeom prst="roundRect">
            <a:avLst/>
          </a:prstGeom>
          <a:solidFill>
            <a:srgbClr val="4454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ectangle: Rounded Corners 3">
            <a:extLst>
              <a:ext uri="{FF2B5EF4-FFF2-40B4-BE49-F238E27FC236}">
                <a16:creationId xmlns:a16="http://schemas.microsoft.com/office/drawing/2014/main" id="{3876A4C1-5460-3F43-E0EA-4059FF704F3E}"/>
              </a:ext>
            </a:extLst>
          </p:cNvPr>
          <p:cNvSpPr/>
          <p:nvPr/>
        </p:nvSpPr>
        <p:spPr>
          <a:xfrm>
            <a:off x="6228080" y="1595120"/>
            <a:ext cx="4185920" cy="2286000"/>
          </a:xfrm>
          <a:prstGeom prst="roundRect">
            <a:avLst/>
          </a:prstGeom>
          <a:solidFill>
            <a:srgbClr val="4454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9" name="Picture 8">
            <a:extLst>
              <a:ext uri="{FF2B5EF4-FFF2-40B4-BE49-F238E27FC236}">
                <a16:creationId xmlns:a16="http://schemas.microsoft.com/office/drawing/2014/main" id="{2ABA7616-AD76-58BB-3B64-345D1D8DF93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31440" y="243840"/>
            <a:ext cx="518160" cy="518160"/>
          </a:xfrm>
          <a:prstGeom prst="rect">
            <a:avLst/>
          </a:prstGeom>
        </p:spPr>
      </p:pic>
      <p:sp>
        <p:nvSpPr>
          <p:cNvPr id="11" name="Oval 10">
            <a:extLst>
              <a:ext uri="{FF2B5EF4-FFF2-40B4-BE49-F238E27FC236}">
                <a16:creationId xmlns:a16="http://schemas.microsoft.com/office/drawing/2014/main" id="{EFDE5DB5-4A97-D701-9D04-FF1F8B4DE9BA}"/>
              </a:ext>
            </a:extLst>
          </p:cNvPr>
          <p:cNvSpPr/>
          <p:nvPr/>
        </p:nvSpPr>
        <p:spPr>
          <a:xfrm>
            <a:off x="11865983" y="3076473"/>
            <a:ext cx="652034" cy="652034"/>
          </a:xfrm>
          <a:prstGeom prst="ellipse">
            <a:avLst/>
          </a:prstGeom>
          <a:solidFill>
            <a:srgbClr val="FEC00B"/>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5" name="Rectangle: Rounded Corners 4">
            <a:extLst>
              <a:ext uri="{FF2B5EF4-FFF2-40B4-BE49-F238E27FC236}">
                <a16:creationId xmlns:a16="http://schemas.microsoft.com/office/drawing/2014/main" id="{CBD650C2-9587-F03E-2EB6-255429413CF7}"/>
              </a:ext>
            </a:extLst>
          </p:cNvPr>
          <p:cNvSpPr/>
          <p:nvPr/>
        </p:nvSpPr>
        <p:spPr>
          <a:xfrm>
            <a:off x="396240" y="1524000"/>
            <a:ext cx="3952240" cy="2428240"/>
          </a:xfrm>
          <a:prstGeom prst="roundRect">
            <a:avLst/>
          </a:prstGeom>
          <a:solidFill>
            <a:srgbClr val="4454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6" name="Picture 15">
            <a:extLst>
              <a:ext uri="{FF2B5EF4-FFF2-40B4-BE49-F238E27FC236}">
                <a16:creationId xmlns:a16="http://schemas.microsoft.com/office/drawing/2014/main" id="{1F70698F-F097-FE63-596F-E5D9DDA52A4D}"/>
              </a:ext>
            </a:extLst>
          </p:cNvPr>
          <p:cNvPicPr>
            <a:picLocks noChangeAspect="1"/>
          </p:cNvPicPr>
          <p:nvPr/>
        </p:nvPicPr>
        <p:blipFill rotWithShape="1">
          <a:blip r:embed="rId3"/>
          <a:srcRect t="1609" r="4205" b="-1"/>
          <a:stretch/>
        </p:blipFill>
        <p:spPr>
          <a:xfrm>
            <a:off x="662531" y="1645920"/>
            <a:ext cx="3259229" cy="2042160"/>
          </a:xfrm>
          <a:prstGeom prst="rect">
            <a:avLst/>
          </a:prstGeom>
        </p:spPr>
      </p:pic>
      <p:sp>
        <p:nvSpPr>
          <p:cNvPr id="18" name="Rectangle 17">
            <a:extLst>
              <a:ext uri="{FF2B5EF4-FFF2-40B4-BE49-F238E27FC236}">
                <a16:creationId xmlns:a16="http://schemas.microsoft.com/office/drawing/2014/main" id="{21DB2C25-F04E-FA01-155C-8239AB525CDB}"/>
              </a:ext>
            </a:extLst>
          </p:cNvPr>
          <p:cNvSpPr/>
          <p:nvPr/>
        </p:nvSpPr>
        <p:spPr>
          <a:xfrm>
            <a:off x="853440" y="3525520"/>
            <a:ext cx="3362960" cy="284480"/>
          </a:xfrm>
          <a:prstGeom prst="rect">
            <a:avLst/>
          </a:prstGeom>
          <a:solidFill>
            <a:srgbClr val="44546A"/>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TextBox 19">
            <a:extLst>
              <a:ext uri="{FF2B5EF4-FFF2-40B4-BE49-F238E27FC236}">
                <a16:creationId xmlns:a16="http://schemas.microsoft.com/office/drawing/2014/main" id="{FF67EC02-E548-59AF-3840-5A0FA93B3CD8}"/>
              </a:ext>
            </a:extLst>
          </p:cNvPr>
          <p:cNvSpPr txBox="1"/>
          <p:nvPr/>
        </p:nvSpPr>
        <p:spPr>
          <a:xfrm>
            <a:off x="3114040" y="3528815"/>
            <a:ext cx="980440" cy="246221"/>
          </a:xfrm>
          <a:prstGeom prst="rect">
            <a:avLst/>
          </a:prstGeom>
          <a:noFill/>
        </p:spPr>
        <p:txBody>
          <a:bodyPr wrap="square">
            <a:spAutoFit/>
          </a:bodyPr>
          <a:lstStyle/>
          <a:p>
            <a:r>
              <a:rPr lang="en-US" sz="1000" b="1" dirty="0">
                <a:solidFill>
                  <a:schemeClr val="bg1"/>
                </a:solidFill>
                <a:latin typeface="Calibri" panose="020F0502020204030204" pitchFamily="34" charset="0"/>
                <a:ea typeface="Calibri" panose="020F0502020204030204" pitchFamily="34" charset="0"/>
                <a:cs typeface="Calibri" panose="020F0502020204030204" pitchFamily="34" charset="0"/>
              </a:rPr>
              <a:t>Processed Qty</a:t>
            </a:r>
            <a:endParaRPr lang="en-IN" sz="10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6EA0845B-ED25-6011-D283-8471C60BB044}"/>
              </a:ext>
            </a:extLst>
          </p:cNvPr>
          <p:cNvSpPr txBox="1"/>
          <p:nvPr/>
        </p:nvSpPr>
        <p:spPr>
          <a:xfrm>
            <a:off x="822960" y="3535681"/>
            <a:ext cx="1198880" cy="253999"/>
          </a:xfrm>
          <a:prstGeom prst="rect">
            <a:avLst/>
          </a:prstGeom>
          <a:noFill/>
        </p:spPr>
        <p:txBody>
          <a:bodyPr wrap="square">
            <a:spAutoFit/>
          </a:bodyPr>
          <a:lstStyle/>
          <a:p>
            <a:pPr algn="ctr"/>
            <a:r>
              <a:rPr lang="en-US" sz="1000" b="1" dirty="0">
                <a:solidFill>
                  <a:schemeClr val="bg1"/>
                </a:solidFill>
                <a:latin typeface="Calibri" panose="020F0502020204030204" pitchFamily="34" charset="0"/>
                <a:ea typeface="Calibri" panose="020F0502020204030204" pitchFamily="34" charset="0"/>
                <a:cs typeface="Calibri" panose="020F0502020204030204" pitchFamily="34" charset="0"/>
              </a:rPr>
              <a:t>Manufactured Qty</a:t>
            </a:r>
            <a:endParaRPr lang="en-IN" sz="10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A720C31C-6EDD-EB40-BBEF-FE6DF97F38A6}"/>
              </a:ext>
            </a:extLst>
          </p:cNvPr>
          <p:cNvSpPr txBox="1"/>
          <p:nvPr/>
        </p:nvSpPr>
        <p:spPr>
          <a:xfrm>
            <a:off x="2108200" y="3535681"/>
            <a:ext cx="868680" cy="246221"/>
          </a:xfrm>
          <a:prstGeom prst="rect">
            <a:avLst/>
          </a:prstGeom>
          <a:noFill/>
        </p:spPr>
        <p:txBody>
          <a:bodyPr wrap="square">
            <a:spAutoFit/>
          </a:bodyPr>
          <a:lstStyle/>
          <a:p>
            <a:r>
              <a:rPr lang="en-US" sz="1000" b="1" dirty="0">
                <a:solidFill>
                  <a:schemeClr val="bg1"/>
                </a:solidFill>
                <a:latin typeface="Calibri" panose="020F0502020204030204" pitchFamily="34" charset="0"/>
                <a:ea typeface="Calibri" panose="020F0502020204030204" pitchFamily="34" charset="0"/>
                <a:cs typeface="Calibri" panose="020F0502020204030204" pitchFamily="34" charset="0"/>
              </a:rPr>
              <a:t>Rejected Qty</a:t>
            </a:r>
            <a:endParaRPr lang="en-IN" sz="10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23" name="Rectangle 22">
            <a:extLst>
              <a:ext uri="{FF2B5EF4-FFF2-40B4-BE49-F238E27FC236}">
                <a16:creationId xmlns:a16="http://schemas.microsoft.com/office/drawing/2014/main" id="{86A8576A-C6CA-AE30-C4A4-B9088282D00D}"/>
              </a:ext>
            </a:extLst>
          </p:cNvPr>
          <p:cNvSpPr/>
          <p:nvPr/>
        </p:nvSpPr>
        <p:spPr>
          <a:xfrm>
            <a:off x="3322320" y="1798320"/>
            <a:ext cx="426720" cy="213360"/>
          </a:xfrm>
          <a:prstGeom prst="rect">
            <a:avLst/>
          </a:prstGeom>
          <a:solidFill>
            <a:srgbClr val="44546A"/>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Rectangle 23">
            <a:extLst>
              <a:ext uri="{FF2B5EF4-FFF2-40B4-BE49-F238E27FC236}">
                <a16:creationId xmlns:a16="http://schemas.microsoft.com/office/drawing/2014/main" id="{8FDB4328-9099-D7F7-BE0C-A9ADB3F359BE}"/>
              </a:ext>
            </a:extLst>
          </p:cNvPr>
          <p:cNvSpPr/>
          <p:nvPr/>
        </p:nvSpPr>
        <p:spPr>
          <a:xfrm>
            <a:off x="1168400" y="1778000"/>
            <a:ext cx="436880" cy="274320"/>
          </a:xfrm>
          <a:prstGeom prst="rect">
            <a:avLst/>
          </a:prstGeom>
          <a:solidFill>
            <a:srgbClr val="44546A"/>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Rectangle 24">
            <a:extLst>
              <a:ext uri="{FF2B5EF4-FFF2-40B4-BE49-F238E27FC236}">
                <a16:creationId xmlns:a16="http://schemas.microsoft.com/office/drawing/2014/main" id="{BF858FB7-3729-C78B-5A63-FC7A71F1FC82}"/>
              </a:ext>
            </a:extLst>
          </p:cNvPr>
          <p:cNvSpPr/>
          <p:nvPr/>
        </p:nvSpPr>
        <p:spPr>
          <a:xfrm>
            <a:off x="2245360" y="3078480"/>
            <a:ext cx="467360" cy="233680"/>
          </a:xfrm>
          <a:prstGeom prst="rect">
            <a:avLst/>
          </a:prstGeom>
          <a:solidFill>
            <a:srgbClr val="44546A"/>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TextBox 25">
            <a:extLst>
              <a:ext uri="{FF2B5EF4-FFF2-40B4-BE49-F238E27FC236}">
                <a16:creationId xmlns:a16="http://schemas.microsoft.com/office/drawing/2014/main" id="{28E5C48A-F07B-5947-7A4E-8072128F9B41}"/>
              </a:ext>
            </a:extLst>
          </p:cNvPr>
          <p:cNvSpPr txBox="1"/>
          <p:nvPr/>
        </p:nvSpPr>
        <p:spPr>
          <a:xfrm>
            <a:off x="1229360" y="1818641"/>
            <a:ext cx="487680" cy="246221"/>
          </a:xfrm>
          <a:prstGeom prst="rect">
            <a:avLst/>
          </a:prstGeom>
          <a:noFill/>
        </p:spPr>
        <p:txBody>
          <a:bodyPr wrap="square" rtlCol="0">
            <a:spAutoFit/>
          </a:bodyPr>
          <a:lstStyle/>
          <a:p>
            <a:r>
              <a:rPr lang="en-US" sz="1000" b="1" dirty="0">
                <a:solidFill>
                  <a:schemeClr val="bg1"/>
                </a:solidFill>
                <a:latin typeface="Calibri" panose="020F0502020204030204" pitchFamily="34" charset="0"/>
                <a:ea typeface="Calibri" panose="020F0502020204030204" pitchFamily="34" charset="0"/>
                <a:cs typeface="Calibri" panose="020F0502020204030204" pitchFamily="34" charset="0"/>
              </a:rPr>
              <a:t>87M</a:t>
            </a:r>
            <a:endParaRPr lang="en-IN" sz="10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192D7EBA-8C8F-1C90-0366-12559DC2122A}"/>
              </a:ext>
            </a:extLst>
          </p:cNvPr>
          <p:cNvSpPr txBox="1"/>
          <p:nvPr/>
        </p:nvSpPr>
        <p:spPr>
          <a:xfrm>
            <a:off x="2255520" y="3169921"/>
            <a:ext cx="497840" cy="246221"/>
          </a:xfrm>
          <a:prstGeom prst="rect">
            <a:avLst/>
          </a:prstGeom>
          <a:noFill/>
        </p:spPr>
        <p:txBody>
          <a:bodyPr wrap="square" rtlCol="0">
            <a:spAutoFit/>
          </a:bodyPr>
          <a:lstStyle/>
          <a:p>
            <a:pPr algn="ctr"/>
            <a:r>
              <a:rPr lang="en-US" sz="1000" b="1" dirty="0">
                <a:solidFill>
                  <a:schemeClr val="bg1"/>
                </a:solidFill>
                <a:latin typeface="Calibri" panose="020F0502020204030204" pitchFamily="34" charset="0"/>
                <a:ea typeface="Calibri" panose="020F0502020204030204" pitchFamily="34" charset="0"/>
                <a:cs typeface="Calibri" panose="020F0502020204030204" pitchFamily="34" charset="0"/>
              </a:rPr>
              <a:t>525k</a:t>
            </a:r>
            <a:endParaRPr lang="en-IN" sz="10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29" name="TextBox 28">
            <a:extLst>
              <a:ext uri="{FF2B5EF4-FFF2-40B4-BE49-F238E27FC236}">
                <a16:creationId xmlns:a16="http://schemas.microsoft.com/office/drawing/2014/main" id="{E8E02542-87E6-8B3E-D7CE-8617863D8A4A}"/>
              </a:ext>
            </a:extLst>
          </p:cNvPr>
          <p:cNvSpPr txBox="1"/>
          <p:nvPr/>
        </p:nvSpPr>
        <p:spPr>
          <a:xfrm>
            <a:off x="3281680" y="1808481"/>
            <a:ext cx="487680" cy="246221"/>
          </a:xfrm>
          <a:prstGeom prst="rect">
            <a:avLst/>
          </a:prstGeom>
          <a:noFill/>
        </p:spPr>
        <p:txBody>
          <a:bodyPr wrap="square" rtlCol="0">
            <a:spAutoFit/>
          </a:bodyPr>
          <a:lstStyle/>
          <a:p>
            <a:r>
              <a:rPr lang="en-US" sz="1000" b="1" dirty="0">
                <a:solidFill>
                  <a:schemeClr val="bg1"/>
                </a:solidFill>
                <a:latin typeface="Calibri" panose="020F0502020204030204" pitchFamily="34" charset="0"/>
                <a:ea typeface="Calibri" panose="020F0502020204030204" pitchFamily="34" charset="0"/>
                <a:cs typeface="Calibri" panose="020F0502020204030204" pitchFamily="34" charset="0"/>
              </a:rPr>
              <a:t>86M</a:t>
            </a:r>
            <a:endParaRPr lang="en-IN" sz="10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30" name="Rectangle: Rounded Corners 29">
            <a:extLst>
              <a:ext uri="{FF2B5EF4-FFF2-40B4-BE49-F238E27FC236}">
                <a16:creationId xmlns:a16="http://schemas.microsoft.com/office/drawing/2014/main" id="{E224F763-156C-8BCD-0D6C-5781221D286B}"/>
              </a:ext>
            </a:extLst>
          </p:cNvPr>
          <p:cNvSpPr/>
          <p:nvPr/>
        </p:nvSpPr>
        <p:spPr>
          <a:xfrm rot="16200000">
            <a:off x="2778760" y="2331719"/>
            <a:ext cx="1483360" cy="883920"/>
          </a:xfrm>
          <a:prstGeom prst="roundRect">
            <a:avLst>
              <a:gd name="adj" fmla="val 13547"/>
            </a:avLst>
          </a:prstGeom>
          <a:gradFill>
            <a:gsLst>
              <a:gs pos="0">
                <a:schemeClr val="accent4"/>
              </a:gs>
              <a:gs pos="100000">
                <a:schemeClr val="tx2"/>
              </a:gs>
            </a:gsLst>
            <a:lin ang="54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ID" sz="3200" b="1">
              <a:solidFill>
                <a:schemeClr val="bg1"/>
              </a:solidFill>
              <a:latin typeface="+mj-lt"/>
            </a:endParaRPr>
          </a:p>
        </p:txBody>
      </p:sp>
      <p:sp>
        <p:nvSpPr>
          <p:cNvPr id="31" name="Rectangle: Rounded Corners 30">
            <a:extLst>
              <a:ext uri="{FF2B5EF4-FFF2-40B4-BE49-F238E27FC236}">
                <a16:creationId xmlns:a16="http://schemas.microsoft.com/office/drawing/2014/main" id="{FA4DCBAB-E535-9D7D-C409-6EC69FED0AC3}"/>
              </a:ext>
            </a:extLst>
          </p:cNvPr>
          <p:cNvSpPr/>
          <p:nvPr/>
        </p:nvSpPr>
        <p:spPr>
          <a:xfrm rot="5400000" flipH="1">
            <a:off x="736598" y="2331719"/>
            <a:ext cx="1473201" cy="894081"/>
          </a:xfrm>
          <a:prstGeom prst="roundRect">
            <a:avLst/>
          </a:prstGeom>
          <a:solidFill>
            <a:srgbClr val="E7E6E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3200" b="1" dirty="0">
              <a:solidFill>
                <a:srgbClr val="5C646F"/>
              </a:solidFill>
              <a:latin typeface="+mj-lt"/>
            </a:endParaRPr>
          </a:p>
        </p:txBody>
      </p:sp>
      <p:cxnSp>
        <p:nvCxnSpPr>
          <p:cNvPr id="33" name="Straight Connector 32">
            <a:extLst>
              <a:ext uri="{FF2B5EF4-FFF2-40B4-BE49-F238E27FC236}">
                <a16:creationId xmlns:a16="http://schemas.microsoft.com/office/drawing/2014/main" id="{F80BBD74-2739-D6E7-2DEF-71C15EE946A8}"/>
              </a:ext>
            </a:extLst>
          </p:cNvPr>
          <p:cNvCxnSpPr>
            <a:cxnSpLocks/>
          </p:cNvCxnSpPr>
          <p:nvPr/>
        </p:nvCxnSpPr>
        <p:spPr>
          <a:xfrm>
            <a:off x="955040" y="3535680"/>
            <a:ext cx="3068320"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34" name="Rectangle: Rounded Corners 33">
            <a:extLst>
              <a:ext uri="{FF2B5EF4-FFF2-40B4-BE49-F238E27FC236}">
                <a16:creationId xmlns:a16="http://schemas.microsoft.com/office/drawing/2014/main" id="{4766BD5A-7A13-5739-1D88-2C4E82EDC4C7}"/>
              </a:ext>
            </a:extLst>
          </p:cNvPr>
          <p:cNvSpPr/>
          <p:nvPr/>
        </p:nvSpPr>
        <p:spPr>
          <a:xfrm>
            <a:off x="2113280" y="3413760"/>
            <a:ext cx="782320" cy="101600"/>
          </a:xfrm>
          <a:prstGeom prst="roundRect">
            <a:avLst/>
          </a:prstGeom>
          <a:solidFill>
            <a:srgbClr val="5B9BD5"/>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36" name="Straight Connector 35">
            <a:extLst>
              <a:ext uri="{FF2B5EF4-FFF2-40B4-BE49-F238E27FC236}">
                <a16:creationId xmlns:a16="http://schemas.microsoft.com/office/drawing/2014/main" id="{22D037FA-EC51-EF5F-AA0A-01C2F3EF53CF}"/>
              </a:ext>
            </a:extLst>
          </p:cNvPr>
          <p:cNvCxnSpPr>
            <a:cxnSpLocks/>
          </p:cNvCxnSpPr>
          <p:nvPr/>
        </p:nvCxnSpPr>
        <p:spPr>
          <a:xfrm>
            <a:off x="975360" y="2062480"/>
            <a:ext cx="0" cy="14528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0" name="Picture 39">
            <a:extLst>
              <a:ext uri="{FF2B5EF4-FFF2-40B4-BE49-F238E27FC236}">
                <a16:creationId xmlns:a16="http://schemas.microsoft.com/office/drawing/2014/main" id="{0F26C87C-6210-19AE-E0A2-E12168B732F9}"/>
              </a:ext>
            </a:extLst>
          </p:cNvPr>
          <p:cNvPicPr>
            <a:picLocks noChangeAspect="1"/>
          </p:cNvPicPr>
          <p:nvPr/>
        </p:nvPicPr>
        <p:blipFill rotWithShape="1">
          <a:blip r:embed="rId4"/>
          <a:srcRect r="16278"/>
          <a:stretch/>
        </p:blipFill>
        <p:spPr>
          <a:xfrm>
            <a:off x="2089032" y="2198524"/>
            <a:ext cx="938972" cy="392276"/>
          </a:xfrm>
          <a:prstGeom prst="rect">
            <a:avLst/>
          </a:prstGeom>
        </p:spPr>
      </p:pic>
      <p:sp>
        <p:nvSpPr>
          <p:cNvPr id="2" name="Rectangle: Rounded Corners 1">
            <a:extLst>
              <a:ext uri="{FF2B5EF4-FFF2-40B4-BE49-F238E27FC236}">
                <a16:creationId xmlns:a16="http://schemas.microsoft.com/office/drawing/2014/main" id="{D038FD89-1CDF-5B3F-D9DD-A9BB36A75B64}"/>
              </a:ext>
            </a:extLst>
          </p:cNvPr>
          <p:cNvSpPr/>
          <p:nvPr/>
        </p:nvSpPr>
        <p:spPr>
          <a:xfrm flipH="1">
            <a:off x="91440" y="152400"/>
            <a:ext cx="12009120" cy="8636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5C646F"/>
                </a:solidFill>
                <a:latin typeface="+mj-lt"/>
              </a:rPr>
              <a:t>KPI’S</a:t>
            </a:r>
            <a:endParaRPr lang="en-ID" sz="3200" b="1" dirty="0">
              <a:solidFill>
                <a:srgbClr val="5C646F"/>
              </a:solidFill>
              <a:latin typeface="+mj-lt"/>
            </a:endParaRPr>
          </a:p>
        </p:txBody>
      </p:sp>
      <p:grpSp>
        <p:nvGrpSpPr>
          <p:cNvPr id="12" name="Group 11">
            <a:extLst>
              <a:ext uri="{FF2B5EF4-FFF2-40B4-BE49-F238E27FC236}">
                <a16:creationId xmlns:a16="http://schemas.microsoft.com/office/drawing/2014/main" id="{CEB11757-CE84-94A6-4E0C-D8847F43721F}"/>
              </a:ext>
            </a:extLst>
          </p:cNvPr>
          <p:cNvGrpSpPr/>
          <p:nvPr/>
        </p:nvGrpSpPr>
        <p:grpSpPr>
          <a:xfrm rot="10800000">
            <a:off x="12052255" y="3297134"/>
            <a:ext cx="279490" cy="251353"/>
            <a:chOff x="7396163" y="4268788"/>
            <a:chExt cx="236538" cy="212725"/>
          </a:xfrm>
          <a:solidFill>
            <a:srgbClr val="44546A"/>
          </a:solidFill>
        </p:grpSpPr>
        <p:sp>
          <p:nvSpPr>
            <p:cNvPr id="13" name="Freeform 385">
              <a:extLst>
                <a:ext uri="{FF2B5EF4-FFF2-40B4-BE49-F238E27FC236}">
                  <a16:creationId xmlns:a16="http://schemas.microsoft.com/office/drawing/2014/main" id="{C971EE70-5A74-51B2-40F4-7664F031E696}"/>
                </a:ext>
              </a:extLst>
            </p:cNvPr>
            <p:cNvSpPr>
              <a:spLocks noEditPoints="1"/>
            </p:cNvSpPr>
            <p:nvPr/>
          </p:nvSpPr>
          <p:spPr bwMode="auto">
            <a:xfrm>
              <a:off x="7396163"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7 w 348"/>
                <a:gd name="T11" fmla="*/ 260 h 535"/>
                <a:gd name="T12" fmla="*/ 209 w 348"/>
                <a:gd name="T13" fmla="*/ 263 h 535"/>
                <a:gd name="T14" fmla="*/ 210 w 348"/>
                <a:gd name="T15" fmla="*/ 268 h 535"/>
                <a:gd name="T16" fmla="*/ 209 w 348"/>
                <a:gd name="T17" fmla="*/ 271 h 535"/>
                <a:gd name="T18" fmla="*/ 207 w 348"/>
                <a:gd name="T19" fmla="*/ 274 h 535"/>
                <a:gd name="T20" fmla="*/ 25 w 348"/>
                <a:gd name="T21" fmla="*/ 457 h 535"/>
                <a:gd name="T22" fmla="*/ 80 w 348"/>
                <a:gd name="T23" fmla="*/ 535 h 535"/>
                <a:gd name="T24" fmla="*/ 77 w 348"/>
                <a:gd name="T25" fmla="*/ 534 h 535"/>
                <a:gd name="T26" fmla="*/ 73 w 348"/>
                <a:gd name="T27" fmla="*/ 533 h 535"/>
                <a:gd name="T28" fmla="*/ 4 w 348"/>
                <a:gd name="T29" fmla="*/ 463 h 535"/>
                <a:gd name="T30" fmla="*/ 2 w 348"/>
                <a:gd name="T31" fmla="*/ 460 h 535"/>
                <a:gd name="T32" fmla="*/ 0 w 348"/>
                <a:gd name="T33" fmla="*/ 457 h 535"/>
                <a:gd name="T34" fmla="*/ 2 w 348"/>
                <a:gd name="T35" fmla="*/ 452 h 535"/>
                <a:gd name="T36" fmla="*/ 4 w 348"/>
                <a:gd name="T37" fmla="*/ 449 h 535"/>
                <a:gd name="T38" fmla="*/ 185 w 348"/>
                <a:gd name="T39" fmla="*/ 268 h 535"/>
                <a:gd name="T40" fmla="*/ 4 w 348"/>
                <a:gd name="T41" fmla="*/ 86 h 535"/>
                <a:gd name="T42" fmla="*/ 2 w 348"/>
                <a:gd name="T43" fmla="*/ 83 h 535"/>
                <a:gd name="T44" fmla="*/ 0 w 348"/>
                <a:gd name="T45" fmla="*/ 79 h 535"/>
                <a:gd name="T46" fmla="*/ 2 w 348"/>
                <a:gd name="T47" fmla="*/ 75 h 535"/>
                <a:gd name="T48" fmla="*/ 4 w 348"/>
                <a:gd name="T49" fmla="*/ 72 h 535"/>
                <a:gd name="T50" fmla="*/ 74 w 348"/>
                <a:gd name="T51" fmla="*/ 2 h 535"/>
                <a:gd name="T52" fmla="*/ 77 w 348"/>
                <a:gd name="T53" fmla="*/ 0 h 535"/>
                <a:gd name="T54" fmla="*/ 80 w 348"/>
                <a:gd name="T55" fmla="*/ 0 h 535"/>
                <a:gd name="T56" fmla="*/ 84 w 348"/>
                <a:gd name="T57" fmla="*/ 0 h 535"/>
                <a:gd name="T58" fmla="*/ 87 w 348"/>
                <a:gd name="T59" fmla="*/ 2 h 535"/>
                <a:gd name="T60" fmla="*/ 346 w 348"/>
                <a:gd name="T61" fmla="*/ 260 h 535"/>
                <a:gd name="T62" fmla="*/ 348 w 348"/>
                <a:gd name="T63" fmla="*/ 263 h 535"/>
                <a:gd name="T64" fmla="*/ 348 w 348"/>
                <a:gd name="T65" fmla="*/ 268 h 535"/>
                <a:gd name="T66" fmla="*/ 348 w 348"/>
                <a:gd name="T67" fmla="*/ 271 h 535"/>
                <a:gd name="T68" fmla="*/ 346 w 348"/>
                <a:gd name="T69" fmla="*/ 274 h 535"/>
                <a:gd name="T70" fmla="*/ 87 w 348"/>
                <a:gd name="T71" fmla="*/ 532 h 535"/>
                <a:gd name="T72" fmla="*/ 84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7" y="260"/>
                  </a:lnTo>
                  <a:lnTo>
                    <a:pt x="209" y="263"/>
                  </a:lnTo>
                  <a:lnTo>
                    <a:pt x="210" y="268"/>
                  </a:lnTo>
                  <a:lnTo>
                    <a:pt x="209" y="271"/>
                  </a:lnTo>
                  <a:lnTo>
                    <a:pt x="207" y="274"/>
                  </a:lnTo>
                  <a:lnTo>
                    <a:pt x="25" y="457"/>
                  </a:lnTo>
                  <a:close/>
                  <a:moveTo>
                    <a:pt x="80" y="535"/>
                  </a:moveTo>
                  <a:lnTo>
                    <a:pt x="77" y="534"/>
                  </a:lnTo>
                  <a:lnTo>
                    <a:pt x="73" y="533"/>
                  </a:lnTo>
                  <a:lnTo>
                    <a:pt x="4" y="463"/>
                  </a:lnTo>
                  <a:lnTo>
                    <a:pt x="2" y="460"/>
                  </a:lnTo>
                  <a:lnTo>
                    <a:pt x="0" y="457"/>
                  </a:lnTo>
                  <a:lnTo>
                    <a:pt x="2" y="452"/>
                  </a:lnTo>
                  <a:lnTo>
                    <a:pt x="4" y="449"/>
                  </a:lnTo>
                  <a:lnTo>
                    <a:pt x="185" y="268"/>
                  </a:lnTo>
                  <a:lnTo>
                    <a:pt x="4" y="86"/>
                  </a:lnTo>
                  <a:lnTo>
                    <a:pt x="2" y="83"/>
                  </a:lnTo>
                  <a:lnTo>
                    <a:pt x="0" y="79"/>
                  </a:lnTo>
                  <a:lnTo>
                    <a:pt x="2" y="75"/>
                  </a:lnTo>
                  <a:lnTo>
                    <a:pt x="4" y="72"/>
                  </a:lnTo>
                  <a:lnTo>
                    <a:pt x="74" y="2"/>
                  </a:lnTo>
                  <a:lnTo>
                    <a:pt x="77" y="0"/>
                  </a:lnTo>
                  <a:lnTo>
                    <a:pt x="80" y="0"/>
                  </a:lnTo>
                  <a:lnTo>
                    <a:pt x="84" y="0"/>
                  </a:lnTo>
                  <a:lnTo>
                    <a:pt x="87" y="2"/>
                  </a:lnTo>
                  <a:lnTo>
                    <a:pt x="346" y="260"/>
                  </a:lnTo>
                  <a:lnTo>
                    <a:pt x="348" y="263"/>
                  </a:lnTo>
                  <a:lnTo>
                    <a:pt x="348" y="268"/>
                  </a:lnTo>
                  <a:lnTo>
                    <a:pt x="348" y="271"/>
                  </a:lnTo>
                  <a:lnTo>
                    <a:pt x="346" y="274"/>
                  </a:lnTo>
                  <a:lnTo>
                    <a:pt x="87" y="532"/>
                  </a:lnTo>
                  <a:lnTo>
                    <a:pt x="84" y="534"/>
                  </a:lnTo>
                  <a:lnTo>
                    <a:pt x="80"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386">
              <a:extLst>
                <a:ext uri="{FF2B5EF4-FFF2-40B4-BE49-F238E27FC236}">
                  <a16:creationId xmlns:a16="http://schemas.microsoft.com/office/drawing/2014/main" id="{C9758D44-57A3-0511-7EE2-B9BA31A9EA59}"/>
                </a:ext>
              </a:extLst>
            </p:cNvPr>
            <p:cNvSpPr>
              <a:spLocks noEditPoints="1"/>
            </p:cNvSpPr>
            <p:nvPr/>
          </p:nvSpPr>
          <p:spPr bwMode="auto">
            <a:xfrm>
              <a:off x="7494588"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6 w 348"/>
                <a:gd name="T11" fmla="*/ 260 h 535"/>
                <a:gd name="T12" fmla="*/ 208 w 348"/>
                <a:gd name="T13" fmla="*/ 263 h 535"/>
                <a:gd name="T14" fmla="*/ 208 w 348"/>
                <a:gd name="T15" fmla="*/ 268 h 535"/>
                <a:gd name="T16" fmla="*/ 208 w 348"/>
                <a:gd name="T17" fmla="*/ 271 h 535"/>
                <a:gd name="T18" fmla="*/ 206 w 348"/>
                <a:gd name="T19" fmla="*/ 274 h 535"/>
                <a:gd name="T20" fmla="*/ 25 w 348"/>
                <a:gd name="T21" fmla="*/ 457 h 535"/>
                <a:gd name="T22" fmla="*/ 80 w 348"/>
                <a:gd name="T23" fmla="*/ 535 h 535"/>
                <a:gd name="T24" fmla="*/ 75 w 348"/>
                <a:gd name="T25" fmla="*/ 534 h 535"/>
                <a:gd name="T26" fmla="*/ 72 w 348"/>
                <a:gd name="T27" fmla="*/ 533 h 535"/>
                <a:gd name="T28" fmla="*/ 3 w 348"/>
                <a:gd name="T29" fmla="*/ 463 h 535"/>
                <a:gd name="T30" fmla="*/ 1 w 348"/>
                <a:gd name="T31" fmla="*/ 460 h 535"/>
                <a:gd name="T32" fmla="*/ 0 w 348"/>
                <a:gd name="T33" fmla="*/ 457 h 535"/>
                <a:gd name="T34" fmla="*/ 1 w 348"/>
                <a:gd name="T35" fmla="*/ 452 h 535"/>
                <a:gd name="T36" fmla="*/ 3 w 348"/>
                <a:gd name="T37" fmla="*/ 449 h 535"/>
                <a:gd name="T38" fmla="*/ 185 w 348"/>
                <a:gd name="T39" fmla="*/ 268 h 535"/>
                <a:gd name="T40" fmla="*/ 3 w 348"/>
                <a:gd name="T41" fmla="*/ 86 h 535"/>
                <a:gd name="T42" fmla="*/ 1 w 348"/>
                <a:gd name="T43" fmla="*/ 83 h 535"/>
                <a:gd name="T44" fmla="*/ 0 w 348"/>
                <a:gd name="T45" fmla="*/ 79 h 535"/>
                <a:gd name="T46" fmla="*/ 1 w 348"/>
                <a:gd name="T47" fmla="*/ 75 h 535"/>
                <a:gd name="T48" fmla="*/ 3 w 348"/>
                <a:gd name="T49" fmla="*/ 72 h 535"/>
                <a:gd name="T50" fmla="*/ 72 w 348"/>
                <a:gd name="T51" fmla="*/ 2 h 535"/>
                <a:gd name="T52" fmla="*/ 75 w 348"/>
                <a:gd name="T53" fmla="*/ 0 h 535"/>
                <a:gd name="T54" fmla="*/ 80 w 348"/>
                <a:gd name="T55" fmla="*/ 0 h 535"/>
                <a:gd name="T56" fmla="*/ 83 w 348"/>
                <a:gd name="T57" fmla="*/ 0 h 535"/>
                <a:gd name="T58" fmla="*/ 86 w 348"/>
                <a:gd name="T59" fmla="*/ 2 h 535"/>
                <a:gd name="T60" fmla="*/ 344 w 348"/>
                <a:gd name="T61" fmla="*/ 260 h 535"/>
                <a:gd name="T62" fmla="*/ 347 w 348"/>
                <a:gd name="T63" fmla="*/ 263 h 535"/>
                <a:gd name="T64" fmla="*/ 348 w 348"/>
                <a:gd name="T65" fmla="*/ 268 h 535"/>
                <a:gd name="T66" fmla="*/ 347 w 348"/>
                <a:gd name="T67" fmla="*/ 271 h 535"/>
                <a:gd name="T68" fmla="*/ 344 w 348"/>
                <a:gd name="T69" fmla="*/ 274 h 535"/>
                <a:gd name="T70" fmla="*/ 86 w 348"/>
                <a:gd name="T71" fmla="*/ 532 h 535"/>
                <a:gd name="T72" fmla="*/ 83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6" y="260"/>
                  </a:lnTo>
                  <a:lnTo>
                    <a:pt x="208" y="263"/>
                  </a:lnTo>
                  <a:lnTo>
                    <a:pt x="208" y="268"/>
                  </a:lnTo>
                  <a:lnTo>
                    <a:pt x="208" y="271"/>
                  </a:lnTo>
                  <a:lnTo>
                    <a:pt x="206" y="274"/>
                  </a:lnTo>
                  <a:lnTo>
                    <a:pt x="25" y="457"/>
                  </a:lnTo>
                  <a:close/>
                  <a:moveTo>
                    <a:pt x="80" y="535"/>
                  </a:moveTo>
                  <a:lnTo>
                    <a:pt x="75" y="534"/>
                  </a:lnTo>
                  <a:lnTo>
                    <a:pt x="72" y="533"/>
                  </a:lnTo>
                  <a:lnTo>
                    <a:pt x="3" y="463"/>
                  </a:lnTo>
                  <a:lnTo>
                    <a:pt x="1" y="460"/>
                  </a:lnTo>
                  <a:lnTo>
                    <a:pt x="0" y="457"/>
                  </a:lnTo>
                  <a:lnTo>
                    <a:pt x="1" y="452"/>
                  </a:lnTo>
                  <a:lnTo>
                    <a:pt x="3" y="449"/>
                  </a:lnTo>
                  <a:lnTo>
                    <a:pt x="185" y="268"/>
                  </a:lnTo>
                  <a:lnTo>
                    <a:pt x="3" y="86"/>
                  </a:lnTo>
                  <a:lnTo>
                    <a:pt x="1" y="83"/>
                  </a:lnTo>
                  <a:lnTo>
                    <a:pt x="0" y="79"/>
                  </a:lnTo>
                  <a:lnTo>
                    <a:pt x="1" y="75"/>
                  </a:lnTo>
                  <a:lnTo>
                    <a:pt x="3" y="72"/>
                  </a:lnTo>
                  <a:lnTo>
                    <a:pt x="72" y="2"/>
                  </a:lnTo>
                  <a:lnTo>
                    <a:pt x="75" y="0"/>
                  </a:lnTo>
                  <a:lnTo>
                    <a:pt x="80" y="0"/>
                  </a:lnTo>
                  <a:lnTo>
                    <a:pt x="83" y="0"/>
                  </a:lnTo>
                  <a:lnTo>
                    <a:pt x="86" y="2"/>
                  </a:lnTo>
                  <a:lnTo>
                    <a:pt x="344" y="260"/>
                  </a:lnTo>
                  <a:lnTo>
                    <a:pt x="347" y="263"/>
                  </a:lnTo>
                  <a:lnTo>
                    <a:pt x="348" y="268"/>
                  </a:lnTo>
                  <a:lnTo>
                    <a:pt x="347" y="271"/>
                  </a:lnTo>
                  <a:lnTo>
                    <a:pt x="344" y="274"/>
                  </a:lnTo>
                  <a:lnTo>
                    <a:pt x="86" y="532"/>
                  </a:lnTo>
                  <a:lnTo>
                    <a:pt x="83" y="534"/>
                  </a:lnTo>
                  <a:lnTo>
                    <a:pt x="80"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 name="Picture 2">
            <a:extLst>
              <a:ext uri="{FF2B5EF4-FFF2-40B4-BE49-F238E27FC236}">
                <a16:creationId xmlns:a16="http://schemas.microsoft.com/office/drawing/2014/main" id="{616A23E4-2083-9F67-6C34-2194A45D3773}"/>
              </a:ext>
            </a:extLst>
          </p:cNvPr>
          <p:cNvPicPr>
            <a:picLocks noChangeAspect="1"/>
          </p:cNvPicPr>
          <p:nvPr/>
        </p:nvPicPr>
        <p:blipFill>
          <a:blip r:embed="rId5"/>
          <a:stretch>
            <a:fillRect/>
          </a:stretch>
        </p:blipFill>
        <p:spPr>
          <a:xfrm>
            <a:off x="6509585" y="1737360"/>
            <a:ext cx="3670223" cy="2055102"/>
          </a:xfrm>
          <a:prstGeom prst="rect">
            <a:avLst/>
          </a:prstGeom>
        </p:spPr>
      </p:pic>
      <p:sp>
        <p:nvSpPr>
          <p:cNvPr id="6" name="Rectangle: Rounded Corners 5">
            <a:extLst>
              <a:ext uri="{FF2B5EF4-FFF2-40B4-BE49-F238E27FC236}">
                <a16:creationId xmlns:a16="http://schemas.microsoft.com/office/drawing/2014/main" id="{CA0B6236-6A3D-816F-3866-C3717E9F8376}"/>
              </a:ext>
            </a:extLst>
          </p:cNvPr>
          <p:cNvSpPr/>
          <p:nvPr/>
        </p:nvSpPr>
        <p:spPr>
          <a:xfrm rot="10800000" flipH="1">
            <a:off x="6644640" y="2519680"/>
            <a:ext cx="2296160" cy="162556"/>
          </a:xfrm>
          <a:prstGeom prst="roundRect">
            <a:avLst/>
          </a:prstGeom>
          <a:solidFill>
            <a:srgbClr val="E7E6E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3200" b="1" dirty="0">
              <a:solidFill>
                <a:srgbClr val="5C646F"/>
              </a:solidFill>
              <a:latin typeface="+mj-lt"/>
            </a:endParaRPr>
          </a:p>
        </p:txBody>
      </p:sp>
      <p:sp>
        <p:nvSpPr>
          <p:cNvPr id="7" name="Rectangle: Rounded Corners 6">
            <a:extLst>
              <a:ext uri="{FF2B5EF4-FFF2-40B4-BE49-F238E27FC236}">
                <a16:creationId xmlns:a16="http://schemas.microsoft.com/office/drawing/2014/main" id="{077D1801-F373-50D0-1592-579232876E39}"/>
              </a:ext>
            </a:extLst>
          </p:cNvPr>
          <p:cNvSpPr/>
          <p:nvPr/>
        </p:nvSpPr>
        <p:spPr>
          <a:xfrm rot="5400000">
            <a:off x="7376158" y="2001522"/>
            <a:ext cx="132083" cy="1595120"/>
          </a:xfrm>
          <a:prstGeom prst="roundRect">
            <a:avLst/>
          </a:prstGeom>
          <a:solidFill>
            <a:srgbClr val="5B9BD5"/>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Rounded Corners 7">
            <a:extLst>
              <a:ext uri="{FF2B5EF4-FFF2-40B4-BE49-F238E27FC236}">
                <a16:creationId xmlns:a16="http://schemas.microsoft.com/office/drawing/2014/main" id="{0036038E-BA8B-E705-DA1F-83E7DE5F7D15}"/>
              </a:ext>
            </a:extLst>
          </p:cNvPr>
          <p:cNvSpPr/>
          <p:nvPr/>
        </p:nvSpPr>
        <p:spPr>
          <a:xfrm>
            <a:off x="6654800" y="2905760"/>
            <a:ext cx="701040" cy="121920"/>
          </a:xfrm>
          <a:prstGeom prst="roundRect">
            <a:avLst>
              <a:gd name="adj" fmla="val 13547"/>
            </a:avLst>
          </a:prstGeom>
          <a:gradFill>
            <a:gsLst>
              <a:gs pos="0">
                <a:schemeClr val="accent4"/>
              </a:gs>
              <a:gs pos="100000">
                <a:schemeClr val="tx2"/>
              </a:gs>
            </a:gsLst>
            <a:lin ang="54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ID" sz="3200" b="1">
              <a:solidFill>
                <a:schemeClr val="bg1"/>
              </a:solidFill>
              <a:latin typeface="+mj-lt"/>
            </a:endParaRPr>
          </a:p>
        </p:txBody>
      </p:sp>
      <p:graphicFrame>
        <p:nvGraphicFramePr>
          <p:cNvPr id="10" name="Chart 9">
            <a:extLst>
              <a:ext uri="{FF2B5EF4-FFF2-40B4-BE49-F238E27FC236}">
                <a16:creationId xmlns:a16="http://schemas.microsoft.com/office/drawing/2014/main" id="{FF79A276-0802-42B5-5D48-BFEBC074BC9F}"/>
              </a:ext>
            </a:extLst>
          </p:cNvPr>
          <p:cNvGraphicFramePr>
            <a:graphicFrameLocks/>
          </p:cNvGraphicFramePr>
          <p:nvPr>
            <p:extLst>
              <p:ext uri="{D42A27DB-BD31-4B8C-83A1-F6EECF244321}">
                <p14:modId xmlns:p14="http://schemas.microsoft.com/office/powerpoint/2010/main" val="3652547874"/>
              </p:ext>
            </p:extLst>
          </p:nvPr>
        </p:nvGraphicFramePr>
        <p:xfrm>
          <a:off x="3477260" y="4112896"/>
          <a:ext cx="4406900" cy="26231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18471074"/>
      </p:ext>
    </p:extLst>
  </p:cSld>
  <p:clrMapOvr>
    <a:masterClrMapping/>
  </p:clrMapOvr>
  <mc:AlternateContent xmlns:mc="http://schemas.openxmlformats.org/markup-compatibility/2006" xmlns:p14="http://schemas.microsoft.com/office/powerpoint/2010/main">
    <mc:Choice Requires="p14">
      <p:transition spd="slow" p14:dur="1250">
        <p:cover/>
      </p:transition>
    </mc:Choice>
    <mc:Fallback xmlns="">
      <p:transition spd="slow">
        <p:cover/>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B9FFCF21-4359-97B2-4E12-2D4369C787DF}"/>
              </a:ext>
            </a:extLst>
          </p:cNvPr>
          <p:cNvSpPr/>
          <p:nvPr/>
        </p:nvSpPr>
        <p:spPr>
          <a:xfrm>
            <a:off x="3220720" y="4206240"/>
            <a:ext cx="4805680" cy="2570480"/>
          </a:xfrm>
          <a:prstGeom prst="roundRect">
            <a:avLst/>
          </a:prstGeom>
          <a:solidFill>
            <a:srgbClr val="44546A"/>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Oval 10">
            <a:extLst>
              <a:ext uri="{FF2B5EF4-FFF2-40B4-BE49-F238E27FC236}">
                <a16:creationId xmlns:a16="http://schemas.microsoft.com/office/drawing/2014/main" id="{EFDE5DB5-4A97-D701-9D04-FF1F8B4DE9BA}"/>
              </a:ext>
            </a:extLst>
          </p:cNvPr>
          <p:cNvSpPr/>
          <p:nvPr/>
        </p:nvSpPr>
        <p:spPr>
          <a:xfrm>
            <a:off x="11865983" y="3076473"/>
            <a:ext cx="652034" cy="652034"/>
          </a:xfrm>
          <a:prstGeom prst="ellipse">
            <a:avLst/>
          </a:prstGeom>
          <a:solidFill>
            <a:srgbClr val="44546A"/>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2" name="Group 11">
            <a:extLst>
              <a:ext uri="{FF2B5EF4-FFF2-40B4-BE49-F238E27FC236}">
                <a16:creationId xmlns:a16="http://schemas.microsoft.com/office/drawing/2014/main" id="{CEB11757-CE84-94A6-4E0C-D8847F43721F}"/>
              </a:ext>
            </a:extLst>
          </p:cNvPr>
          <p:cNvGrpSpPr/>
          <p:nvPr/>
        </p:nvGrpSpPr>
        <p:grpSpPr>
          <a:xfrm rot="10800000">
            <a:off x="12052255" y="3307294"/>
            <a:ext cx="279490" cy="251353"/>
            <a:chOff x="7396163" y="4268788"/>
            <a:chExt cx="236538" cy="212725"/>
          </a:xfrm>
          <a:solidFill>
            <a:srgbClr val="FEC00B"/>
          </a:solidFill>
        </p:grpSpPr>
        <p:sp>
          <p:nvSpPr>
            <p:cNvPr id="13" name="Freeform 385">
              <a:extLst>
                <a:ext uri="{FF2B5EF4-FFF2-40B4-BE49-F238E27FC236}">
                  <a16:creationId xmlns:a16="http://schemas.microsoft.com/office/drawing/2014/main" id="{C971EE70-5A74-51B2-40F4-7664F031E696}"/>
                </a:ext>
              </a:extLst>
            </p:cNvPr>
            <p:cNvSpPr>
              <a:spLocks noEditPoints="1"/>
            </p:cNvSpPr>
            <p:nvPr/>
          </p:nvSpPr>
          <p:spPr bwMode="auto">
            <a:xfrm>
              <a:off x="7396163"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7 w 348"/>
                <a:gd name="T11" fmla="*/ 260 h 535"/>
                <a:gd name="T12" fmla="*/ 209 w 348"/>
                <a:gd name="T13" fmla="*/ 263 h 535"/>
                <a:gd name="T14" fmla="*/ 210 w 348"/>
                <a:gd name="T15" fmla="*/ 268 h 535"/>
                <a:gd name="T16" fmla="*/ 209 w 348"/>
                <a:gd name="T17" fmla="*/ 271 h 535"/>
                <a:gd name="T18" fmla="*/ 207 w 348"/>
                <a:gd name="T19" fmla="*/ 274 h 535"/>
                <a:gd name="T20" fmla="*/ 25 w 348"/>
                <a:gd name="T21" fmla="*/ 457 h 535"/>
                <a:gd name="T22" fmla="*/ 80 w 348"/>
                <a:gd name="T23" fmla="*/ 535 h 535"/>
                <a:gd name="T24" fmla="*/ 77 w 348"/>
                <a:gd name="T25" fmla="*/ 534 h 535"/>
                <a:gd name="T26" fmla="*/ 73 w 348"/>
                <a:gd name="T27" fmla="*/ 533 h 535"/>
                <a:gd name="T28" fmla="*/ 4 w 348"/>
                <a:gd name="T29" fmla="*/ 463 h 535"/>
                <a:gd name="T30" fmla="*/ 2 w 348"/>
                <a:gd name="T31" fmla="*/ 460 h 535"/>
                <a:gd name="T32" fmla="*/ 0 w 348"/>
                <a:gd name="T33" fmla="*/ 457 h 535"/>
                <a:gd name="T34" fmla="*/ 2 w 348"/>
                <a:gd name="T35" fmla="*/ 452 h 535"/>
                <a:gd name="T36" fmla="*/ 4 w 348"/>
                <a:gd name="T37" fmla="*/ 449 h 535"/>
                <a:gd name="T38" fmla="*/ 185 w 348"/>
                <a:gd name="T39" fmla="*/ 268 h 535"/>
                <a:gd name="T40" fmla="*/ 4 w 348"/>
                <a:gd name="T41" fmla="*/ 86 h 535"/>
                <a:gd name="T42" fmla="*/ 2 w 348"/>
                <a:gd name="T43" fmla="*/ 83 h 535"/>
                <a:gd name="T44" fmla="*/ 0 w 348"/>
                <a:gd name="T45" fmla="*/ 79 h 535"/>
                <a:gd name="T46" fmla="*/ 2 w 348"/>
                <a:gd name="T47" fmla="*/ 75 h 535"/>
                <a:gd name="T48" fmla="*/ 4 w 348"/>
                <a:gd name="T49" fmla="*/ 72 h 535"/>
                <a:gd name="T50" fmla="*/ 74 w 348"/>
                <a:gd name="T51" fmla="*/ 2 h 535"/>
                <a:gd name="T52" fmla="*/ 77 w 348"/>
                <a:gd name="T53" fmla="*/ 0 h 535"/>
                <a:gd name="T54" fmla="*/ 80 w 348"/>
                <a:gd name="T55" fmla="*/ 0 h 535"/>
                <a:gd name="T56" fmla="*/ 84 w 348"/>
                <a:gd name="T57" fmla="*/ 0 h 535"/>
                <a:gd name="T58" fmla="*/ 87 w 348"/>
                <a:gd name="T59" fmla="*/ 2 h 535"/>
                <a:gd name="T60" fmla="*/ 346 w 348"/>
                <a:gd name="T61" fmla="*/ 260 h 535"/>
                <a:gd name="T62" fmla="*/ 348 w 348"/>
                <a:gd name="T63" fmla="*/ 263 h 535"/>
                <a:gd name="T64" fmla="*/ 348 w 348"/>
                <a:gd name="T65" fmla="*/ 268 h 535"/>
                <a:gd name="T66" fmla="*/ 348 w 348"/>
                <a:gd name="T67" fmla="*/ 271 h 535"/>
                <a:gd name="T68" fmla="*/ 346 w 348"/>
                <a:gd name="T69" fmla="*/ 274 h 535"/>
                <a:gd name="T70" fmla="*/ 87 w 348"/>
                <a:gd name="T71" fmla="*/ 532 h 535"/>
                <a:gd name="T72" fmla="*/ 84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7" y="260"/>
                  </a:lnTo>
                  <a:lnTo>
                    <a:pt x="209" y="263"/>
                  </a:lnTo>
                  <a:lnTo>
                    <a:pt x="210" y="268"/>
                  </a:lnTo>
                  <a:lnTo>
                    <a:pt x="209" y="271"/>
                  </a:lnTo>
                  <a:lnTo>
                    <a:pt x="207" y="274"/>
                  </a:lnTo>
                  <a:lnTo>
                    <a:pt x="25" y="457"/>
                  </a:lnTo>
                  <a:close/>
                  <a:moveTo>
                    <a:pt x="80" y="535"/>
                  </a:moveTo>
                  <a:lnTo>
                    <a:pt x="77" y="534"/>
                  </a:lnTo>
                  <a:lnTo>
                    <a:pt x="73" y="533"/>
                  </a:lnTo>
                  <a:lnTo>
                    <a:pt x="4" y="463"/>
                  </a:lnTo>
                  <a:lnTo>
                    <a:pt x="2" y="460"/>
                  </a:lnTo>
                  <a:lnTo>
                    <a:pt x="0" y="457"/>
                  </a:lnTo>
                  <a:lnTo>
                    <a:pt x="2" y="452"/>
                  </a:lnTo>
                  <a:lnTo>
                    <a:pt x="4" y="449"/>
                  </a:lnTo>
                  <a:lnTo>
                    <a:pt x="185" y="268"/>
                  </a:lnTo>
                  <a:lnTo>
                    <a:pt x="4" y="86"/>
                  </a:lnTo>
                  <a:lnTo>
                    <a:pt x="2" y="83"/>
                  </a:lnTo>
                  <a:lnTo>
                    <a:pt x="0" y="79"/>
                  </a:lnTo>
                  <a:lnTo>
                    <a:pt x="2" y="75"/>
                  </a:lnTo>
                  <a:lnTo>
                    <a:pt x="4" y="72"/>
                  </a:lnTo>
                  <a:lnTo>
                    <a:pt x="74" y="2"/>
                  </a:lnTo>
                  <a:lnTo>
                    <a:pt x="77" y="0"/>
                  </a:lnTo>
                  <a:lnTo>
                    <a:pt x="80" y="0"/>
                  </a:lnTo>
                  <a:lnTo>
                    <a:pt x="84" y="0"/>
                  </a:lnTo>
                  <a:lnTo>
                    <a:pt x="87" y="2"/>
                  </a:lnTo>
                  <a:lnTo>
                    <a:pt x="346" y="260"/>
                  </a:lnTo>
                  <a:lnTo>
                    <a:pt x="348" y="263"/>
                  </a:lnTo>
                  <a:lnTo>
                    <a:pt x="348" y="268"/>
                  </a:lnTo>
                  <a:lnTo>
                    <a:pt x="348" y="271"/>
                  </a:lnTo>
                  <a:lnTo>
                    <a:pt x="346" y="274"/>
                  </a:lnTo>
                  <a:lnTo>
                    <a:pt x="87" y="532"/>
                  </a:lnTo>
                  <a:lnTo>
                    <a:pt x="84" y="534"/>
                  </a:lnTo>
                  <a:lnTo>
                    <a:pt x="80"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386">
              <a:extLst>
                <a:ext uri="{FF2B5EF4-FFF2-40B4-BE49-F238E27FC236}">
                  <a16:creationId xmlns:a16="http://schemas.microsoft.com/office/drawing/2014/main" id="{C9758D44-57A3-0511-7EE2-B9BA31A9EA59}"/>
                </a:ext>
              </a:extLst>
            </p:cNvPr>
            <p:cNvSpPr>
              <a:spLocks noEditPoints="1"/>
            </p:cNvSpPr>
            <p:nvPr/>
          </p:nvSpPr>
          <p:spPr bwMode="auto">
            <a:xfrm>
              <a:off x="7494588"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6 w 348"/>
                <a:gd name="T11" fmla="*/ 260 h 535"/>
                <a:gd name="T12" fmla="*/ 208 w 348"/>
                <a:gd name="T13" fmla="*/ 263 h 535"/>
                <a:gd name="T14" fmla="*/ 208 w 348"/>
                <a:gd name="T15" fmla="*/ 268 h 535"/>
                <a:gd name="T16" fmla="*/ 208 w 348"/>
                <a:gd name="T17" fmla="*/ 271 h 535"/>
                <a:gd name="T18" fmla="*/ 206 w 348"/>
                <a:gd name="T19" fmla="*/ 274 h 535"/>
                <a:gd name="T20" fmla="*/ 25 w 348"/>
                <a:gd name="T21" fmla="*/ 457 h 535"/>
                <a:gd name="T22" fmla="*/ 80 w 348"/>
                <a:gd name="T23" fmla="*/ 535 h 535"/>
                <a:gd name="T24" fmla="*/ 75 w 348"/>
                <a:gd name="T25" fmla="*/ 534 h 535"/>
                <a:gd name="T26" fmla="*/ 72 w 348"/>
                <a:gd name="T27" fmla="*/ 533 h 535"/>
                <a:gd name="T28" fmla="*/ 3 w 348"/>
                <a:gd name="T29" fmla="*/ 463 h 535"/>
                <a:gd name="T30" fmla="*/ 1 w 348"/>
                <a:gd name="T31" fmla="*/ 460 h 535"/>
                <a:gd name="T32" fmla="*/ 0 w 348"/>
                <a:gd name="T33" fmla="*/ 457 h 535"/>
                <a:gd name="T34" fmla="*/ 1 w 348"/>
                <a:gd name="T35" fmla="*/ 452 h 535"/>
                <a:gd name="T36" fmla="*/ 3 w 348"/>
                <a:gd name="T37" fmla="*/ 449 h 535"/>
                <a:gd name="T38" fmla="*/ 185 w 348"/>
                <a:gd name="T39" fmla="*/ 268 h 535"/>
                <a:gd name="T40" fmla="*/ 3 w 348"/>
                <a:gd name="T41" fmla="*/ 86 h 535"/>
                <a:gd name="T42" fmla="*/ 1 w 348"/>
                <a:gd name="T43" fmla="*/ 83 h 535"/>
                <a:gd name="T44" fmla="*/ 0 w 348"/>
                <a:gd name="T45" fmla="*/ 79 h 535"/>
                <a:gd name="T46" fmla="*/ 1 w 348"/>
                <a:gd name="T47" fmla="*/ 75 h 535"/>
                <a:gd name="T48" fmla="*/ 3 w 348"/>
                <a:gd name="T49" fmla="*/ 72 h 535"/>
                <a:gd name="T50" fmla="*/ 72 w 348"/>
                <a:gd name="T51" fmla="*/ 2 h 535"/>
                <a:gd name="T52" fmla="*/ 75 w 348"/>
                <a:gd name="T53" fmla="*/ 0 h 535"/>
                <a:gd name="T54" fmla="*/ 80 w 348"/>
                <a:gd name="T55" fmla="*/ 0 h 535"/>
                <a:gd name="T56" fmla="*/ 83 w 348"/>
                <a:gd name="T57" fmla="*/ 0 h 535"/>
                <a:gd name="T58" fmla="*/ 86 w 348"/>
                <a:gd name="T59" fmla="*/ 2 h 535"/>
                <a:gd name="T60" fmla="*/ 344 w 348"/>
                <a:gd name="T61" fmla="*/ 260 h 535"/>
                <a:gd name="T62" fmla="*/ 347 w 348"/>
                <a:gd name="T63" fmla="*/ 263 h 535"/>
                <a:gd name="T64" fmla="*/ 348 w 348"/>
                <a:gd name="T65" fmla="*/ 268 h 535"/>
                <a:gd name="T66" fmla="*/ 347 w 348"/>
                <a:gd name="T67" fmla="*/ 271 h 535"/>
                <a:gd name="T68" fmla="*/ 344 w 348"/>
                <a:gd name="T69" fmla="*/ 274 h 535"/>
                <a:gd name="T70" fmla="*/ 86 w 348"/>
                <a:gd name="T71" fmla="*/ 532 h 535"/>
                <a:gd name="T72" fmla="*/ 83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6" y="260"/>
                  </a:lnTo>
                  <a:lnTo>
                    <a:pt x="208" y="263"/>
                  </a:lnTo>
                  <a:lnTo>
                    <a:pt x="208" y="268"/>
                  </a:lnTo>
                  <a:lnTo>
                    <a:pt x="208" y="271"/>
                  </a:lnTo>
                  <a:lnTo>
                    <a:pt x="206" y="274"/>
                  </a:lnTo>
                  <a:lnTo>
                    <a:pt x="25" y="457"/>
                  </a:lnTo>
                  <a:close/>
                  <a:moveTo>
                    <a:pt x="80" y="535"/>
                  </a:moveTo>
                  <a:lnTo>
                    <a:pt x="75" y="534"/>
                  </a:lnTo>
                  <a:lnTo>
                    <a:pt x="72" y="533"/>
                  </a:lnTo>
                  <a:lnTo>
                    <a:pt x="3" y="463"/>
                  </a:lnTo>
                  <a:lnTo>
                    <a:pt x="1" y="460"/>
                  </a:lnTo>
                  <a:lnTo>
                    <a:pt x="0" y="457"/>
                  </a:lnTo>
                  <a:lnTo>
                    <a:pt x="1" y="452"/>
                  </a:lnTo>
                  <a:lnTo>
                    <a:pt x="3" y="449"/>
                  </a:lnTo>
                  <a:lnTo>
                    <a:pt x="185" y="268"/>
                  </a:lnTo>
                  <a:lnTo>
                    <a:pt x="3" y="86"/>
                  </a:lnTo>
                  <a:lnTo>
                    <a:pt x="1" y="83"/>
                  </a:lnTo>
                  <a:lnTo>
                    <a:pt x="0" y="79"/>
                  </a:lnTo>
                  <a:lnTo>
                    <a:pt x="1" y="75"/>
                  </a:lnTo>
                  <a:lnTo>
                    <a:pt x="3" y="72"/>
                  </a:lnTo>
                  <a:lnTo>
                    <a:pt x="72" y="2"/>
                  </a:lnTo>
                  <a:lnTo>
                    <a:pt x="75" y="0"/>
                  </a:lnTo>
                  <a:lnTo>
                    <a:pt x="80" y="0"/>
                  </a:lnTo>
                  <a:lnTo>
                    <a:pt x="83" y="0"/>
                  </a:lnTo>
                  <a:lnTo>
                    <a:pt x="86" y="2"/>
                  </a:lnTo>
                  <a:lnTo>
                    <a:pt x="344" y="260"/>
                  </a:lnTo>
                  <a:lnTo>
                    <a:pt x="347" y="263"/>
                  </a:lnTo>
                  <a:lnTo>
                    <a:pt x="348" y="268"/>
                  </a:lnTo>
                  <a:lnTo>
                    <a:pt x="347" y="271"/>
                  </a:lnTo>
                  <a:lnTo>
                    <a:pt x="344" y="274"/>
                  </a:lnTo>
                  <a:lnTo>
                    <a:pt x="86" y="532"/>
                  </a:lnTo>
                  <a:lnTo>
                    <a:pt x="83" y="534"/>
                  </a:lnTo>
                  <a:lnTo>
                    <a:pt x="80"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Rectangle: Rounded Corners 4">
            <a:extLst>
              <a:ext uri="{FF2B5EF4-FFF2-40B4-BE49-F238E27FC236}">
                <a16:creationId xmlns:a16="http://schemas.microsoft.com/office/drawing/2014/main" id="{A6D30ACC-F36D-7E2B-453D-0ED2E2FC4ACB}"/>
              </a:ext>
            </a:extLst>
          </p:cNvPr>
          <p:cNvSpPr/>
          <p:nvPr/>
        </p:nvSpPr>
        <p:spPr>
          <a:xfrm>
            <a:off x="447040" y="1574800"/>
            <a:ext cx="4368800" cy="2509520"/>
          </a:xfrm>
          <a:prstGeom prst="roundRect">
            <a:avLst/>
          </a:prstGeom>
          <a:solidFill>
            <a:srgbClr val="4454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a:extLst>
              <a:ext uri="{FF2B5EF4-FFF2-40B4-BE49-F238E27FC236}">
                <a16:creationId xmlns:a16="http://schemas.microsoft.com/office/drawing/2014/main" id="{D0C26687-C7F0-4944-EEC5-880EE23AAD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9120" y="1757264"/>
            <a:ext cx="4145280" cy="2168914"/>
          </a:xfrm>
          <a:prstGeom prst="rect">
            <a:avLst/>
          </a:prstGeom>
        </p:spPr>
      </p:pic>
      <p:sp>
        <p:nvSpPr>
          <p:cNvPr id="2" name="Rectangle: Rounded Corners 1">
            <a:extLst>
              <a:ext uri="{FF2B5EF4-FFF2-40B4-BE49-F238E27FC236}">
                <a16:creationId xmlns:a16="http://schemas.microsoft.com/office/drawing/2014/main" id="{66B750DD-6A57-19B8-B948-93C7E8335724}"/>
              </a:ext>
            </a:extLst>
          </p:cNvPr>
          <p:cNvSpPr/>
          <p:nvPr/>
        </p:nvSpPr>
        <p:spPr>
          <a:xfrm>
            <a:off x="91440" y="111760"/>
            <a:ext cx="12019280" cy="843279"/>
          </a:xfrm>
          <a:prstGeom prst="roundRect">
            <a:avLst>
              <a:gd name="adj" fmla="val 13547"/>
            </a:avLst>
          </a:prstGeom>
          <a:gradFill>
            <a:gsLst>
              <a:gs pos="0">
                <a:schemeClr val="accent4"/>
              </a:gs>
              <a:gs pos="100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mj-lt"/>
              </a:rPr>
              <a:t>KPI’S</a:t>
            </a:r>
            <a:endParaRPr lang="en-ID" sz="3200" b="1" dirty="0">
              <a:solidFill>
                <a:schemeClr val="bg1"/>
              </a:solidFill>
              <a:latin typeface="+mj-lt"/>
            </a:endParaRPr>
          </a:p>
        </p:txBody>
      </p:sp>
      <p:sp>
        <p:nvSpPr>
          <p:cNvPr id="6" name="Rectangle: Rounded Corners 5">
            <a:extLst>
              <a:ext uri="{FF2B5EF4-FFF2-40B4-BE49-F238E27FC236}">
                <a16:creationId xmlns:a16="http://schemas.microsoft.com/office/drawing/2014/main" id="{614F79F7-9917-CA26-F9AF-F55967397BF7}"/>
              </a:ext>
            </a:extLst>
          </p:cNvPr>
          <p:cNvSpPr/>
          <p:nvPr/>
        </p:nvSpPr>
        <p:spPr>
          <a:xfrm>
            <a:off x="6156960" y="1432554"/>
            <a:ext cx="5182710" cy="2682246"/>
          </a:xfrm>
          <a:prstGeom prst="roundRect">
            <a:avLst/>
          </a:prstGeom>
          <a:solidFill>
            <a:srgbClr val="44546A"/>
          </a:solidFill>
          <a:ln>
            <a:solidFill>
              <a:srgbClr val="44546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9" name="Picture 8">
            <a:extLst>
              <a:ext uri="{FF2B5EF4-FFF2-40B4-BE49-F238E27FC236}">
                <a16:creationId xmlns:a16="http://schemas.microsoft.com/office/drawing/2014/main" id="{19D35442-6E63-72FA-1FBB-D23BE9294CA9}"/>
              </a:ext>
            </a:extLst>
          </p:cNvPr>
          <p:cNvPicPr>
            <a:picLocks noChangeAspect="1"/>
          </p:cNvPicPr>
          <p:nvPr/>
        </p:nvPicPr>
        <p:blipFill>
          <a:blip r:embed="rId3"/>
          <a:stretch>
            <a:fillRect/>
          </a:stretch>
        </p:blipFill>
        <p:spPr>
          <a:xfrm>
            <a:off x="6512066" y="1747519"/>
            <a:ext cx="4577807" cy="2258303"/>
          </a:xfrm>
          <a:prstGeom prst="rect">
            <a:avLst/>
          </a:prstGeom>
        </p:spPr>
      </p:pic>
      <p:sp>
        <p:nvSpPr>
          <p:cNvPr id="15" name="TextBox 14">
            <a:extLst>
              <a:ext uri="{FF2B5EF4-FFF2-40B4-BE49-F238E27FC236}">
                <a16:creationId xmlns:a16="http://schemas.microsoft.com/office/drawing/2014/main" id="{03C6D8C7-FBFB-44BE-DC55-BA6D25AE9370}"/>
              </a:ext>
            </a:extLst>
          </p:cNvPr>
          <p:cNvSpPr txBox="1"/>
          <p:nvPr/>
        </p:nvSpPr>
        <p:spPr>
          <a:xfrm>
            <a:off x="6522720" y="1493519"/>
            <a:ext cx="4155440" cy="369332"/>
          </a:xfrm>
          <a:prstGeom prst="rect">
            <a:avLst/>
          </a:prstGeom>
          <a:noFill/>
        </p:spPr>
        <p:txBody>
          <a:bodyPr wrap="square" rtlCol="0">
            <a:spAutoFit/>
          </a:bodyPr>
          <a:lstStyle/>
          <a:p>
            <a:pPr algn="ctr"/>
            <a:r>
              <a:rPr lang="en-US" b="1" dirty="0">
                <a:solidFill>
                  <a:schemeClr val="bg1"/>
                </a:solidFill>
                <a:latin typeface="Calibri" panose="020F0502020204030204" pitchFamily="34" charset="0"/>
                <a:ea typeface="Calibri" panose="020F0502020204030204" pitchFamily="34" charset="0"/>
                <a:cs typeface="Calibri" panose="020F0502020204030204" pitchFamily="34" charset="0"/>
              </a:rPr>
              <a:t>Production comparison trend</a:t>
            </a:r>
            <a:endParaRPr lang="en-IN"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16" name="Chart 15">
            <a:extLst>
              <a:ext uri="{FF2B5EF4-FFF2-40B4-BE49-F238E27FC236}">
                <a16:creationId xmlns:a16="http://schemas.microsoft.com/office/drawing/2014/main" id="{7E883F7C-F967-51B7-A61A-4279CF88BE85}"/>
              </a:ext>
            </a:extLst>
          </p:cNvPr>
          <p:cNvGraphicFramePr>
            <a:graphicFrameLocks/>
          </p:cNvGraphicFramePr>
          <p:nvPr>
            <p:extLst>
              <p:ext uri="{D42A27DB-BD31-4B8C-83A1-F6EECF244321}">
                <p14:modId xmlns:p14="http://schemas.microsoft.com/office/powerpoint/2010/main" val="2517314550"/>
              </p:ext>
            </p:extLst>
          </p:nvPr>
        </p:nvGraphicFramePr>
        <p:xfrm>
          <a:off x="3332480" y="4338321"/>
          <a:ext cx="4541520" cy="2306320"/>
        </p:xfrm>
        <a:graphic>
          <a:graphicData uri="http://schemas.openxmlformats.org/drawingml/2006/chart">
            <c:chart xmlns:c="http://schemas.openxmlformats.org/drawingml/2006/chart" xmlns:r="http://schemas.openxmlformats.org/officeDocument/2006/relationships" r:id="rId4"/>
          </a:graphicData>
        </a:graphic>
      </p:graphicFrame>
      <p:sp>
        <p:nvSpPr>
          <p:cNvPr id="18" name="Flowchart: Connector 17">
            <a:extLst>
              <a:ext uri="{FF2B5EF4-FFF2-40B4-BE49-F238E27FC236}">
                <a16:creationId xmlns:a16="http://schemas.microsoft.com/office/drawing/2014/main" id="{B5300190-F0C8-A71E-D7D5-7B4F39A5C80B}"/>
              </a:ext>
            </a:extLst>
          </p:cNvPr>
          <p:cNvSpPr/>
          <p:nvPr/>
        </p:nvSpPr>
        <p:spPr>
          <a:xfrm>
            <a:off x="4104640" y="4988560"/>
            <a:ext cx="1422400" cy="1412240"/>
          </a:xfrm>
          <a:prstGeom prst="flowChartConnector">
            <a:avLst/>
          </a:prstGeom>
          <a:gradFill>
            <a:gsLst>
              <a:gs pos="0">
                <a:schemeClr val="accent4"/>
              </a:gs>
              <a:gs pos="100000">
                <a:schemeClr val="tx2"/>
              </a:gs>
            </a:gsLst>
            <a:lin ang="54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IN" sz="3200" b="1">
              <a:solidFill>
                <a:schemeClr val="bg1"/>
              </a:solidFill>
              <a:latin typeface="+mj-lt"/>
            </a:endParaRPr>
          </a:p>
        </p:txBody>
      </p:sp>
      <p:sp>
        <p:nvSpPr>
          <p:cNvPr id="19" name="Flowchart: Merge 18">
            <a:extLst>
              <a:ext uri="{FF2B5EF4-FFF2-40B4-BE49-F238E27FC236}">
                <a16:creationId xmlns:a16="http://schemas.microsoft.com/office/drawing/2014/main" id="{5838A804-302E-07FC-4FB7-A3077874D40B}"/>
              </a:ext>
            </a:extLst>
          </p:cNvPr>
          <p:cNvSpPr/>
          <p:nvPr/>
        </p:nvSpPr>
        <p:spPr>
          <a:xfrm>
            <a:off x="4795520" y="4998720"/>
            <a:ext cx="50800" cy="701040"/>
          </a:xfrm>
          <a:prstGeom prst="flowChartMerge">
            <a:avLst/>
          </a:prstGeom>
          <a:solidFill>
            <a:srgbClr val="5B9BD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IN" sz="3200" b="1">
              <a:solidFill>
                <a:schemeClr val="bg1"/>
              </a:solidFill>
              <a:latin typeface="+mj-lt"/>
            </a:endParaRPr>
          </a:p>
        </p:txBody>
      </p:sp>
    </p:spTree>
    <p:extLst>
      <p:ext uri="{BB962C8B-B14F-4D97-AF65-F5344CB8AC3E}">
        <p14:creationId xmlns:p14="http://schemas.microsoft.com/office/powerpoint/2010/main" val="4151276595"/>
      </p:ext>
    </p:extLst>
  </p:cSld>
  <p:clrMapOvr>
    <a:masterClrMapping/>
  </p:clrMapOvr>
  <mc:AlternateContent xmlns:mc="http://schemas.openxmlformats.org/markup-compatibility/2006" xmlns:p14="http://schemas.microsoft.com/office/powerpoint/2010/main">
    <mc:Choice Requires="p14">
      <p:transition spd="slow" p14:dur="1250">
        <p:cover/>
      </p:transition>
    </mc:Choice>
    <mc:Fallback xmlns="">
      <p:transition spd="slow">
        <p:cover/>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ABA7616-AD76-58BB-3B64-345D1D8DF9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1440" y="243840"/>
            <a:ext cx="518160" cy="518160"/>
          </a:xfrm>
          <a:prstGeom prst="rect">
            <a:avLst/>
          </a:prstGeom>
        </p:spPr>
      </p:pic>
      <p:sp>
        <p:nvSpPr>
          <p:cNvPr id="11" name="Oval 10">
            <a:extLst>
              <a:ext uri="{FF2B5EF4-FFF2-40B4-BE49-F238E27FC236}">
                <a16:creationId xmlns:a16="http://schemas.microsoft.com/office/drawing/2014/main" id="{EFDE5DB5-4A97-D701-9D04-FF1F8B4DE9BA}"/>
              </a:ext>
            </a:extLst>
          </p:cNvPr>
          <p:cNvSpPr/>
          <p:nvPr/>
        </p:nvSpPr>
        <p:spPr>
          <a:xfrm>
            <a:off x="11865983" y="3086633"/>
            <a:ext cx="652034" cy="652034"/>
          </a:xfrm>
          <a:prstGeom prst="ellipse">
            <a:avLst/>
          </a:prstGeom>
          <a:solidFill>
            <a:srgbClr val="FEC00B"/>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2" name="Group 11">
            <a:extLst>
              <a:ext uri="{FF2B5EF4-FFF2-40B4-BE49-F238E27FC236}">
                <a16:creationId xmlns:a16="http://schemas.microsoft.com/office/drawing/2014/main" id="{CEB11757-CE84-94A6-4E0C-D8847F43721F}"/>
              </a:ext>
            </a:extLst>
          </p:cNvPr>
          <p:cNvGrpSpPr/>
          <p:nvPr/>
        </p:nvGrpSpPr>
        <p:grpSpPr>
          <a:xfrm rot="10800000">
            <a:off x="12052255" y="3297134"/>
            <a:ext cx="279490" cy="251353"/>
            <a:chOff x="7396163" y="4268788"/>
            <a:chExt cx="236538" cy="212725"/>
          </a:xfrm>
          <a:solidFill>
            <a:srgbClr val="44546A"/>
          </a:solidFill>
        </p:grpSpPr>
        <p:sp>
          <p:nvSpPr>
            <p:cNvPr id="13" name="Freeform 385">
              <a:extLst>
                <a:ext uri="{FF2B5EF4-FFF2-40B4-BE49-F238E27FC236}">
                  <a16:creationId xmlns:a16="http://schemas.microsoft.com/office/drawing/2014/main" id="{C971EE70-5A74-51B2-40F4-7664F031E696}"/>
                </a:ext>
              </a:extLst>
            </p:cNvPr>
            <p:cNvSpPr>
              <a:spLocks noEditPoints="1"/>
            </p:cNvSpPr>
            <p:nvPr/>
          </p:nvSpPr>
          <p:spPr bwMode="auto">
            <a:xfrm>
              <a:off x="7396163"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7 w 348"/>
                <a:gd name="T11" fmla="*/ 260 h 535"/>
                <a:gd name="T12" fmla="*/ 209 w 348"/>
                <a:gd name="T13" fmla="*/ 263 h 535"/>
                <a:gd name="T14" fmla="*/ 210 w 348"/>
                <a:gd name="T15" fmla="*/ 268 h 535"/>
                <a:gd name="T16" fmla="*/ 209 w 348"/>
                <a:gd name="T17" fmla="*/ 271 h 535"/>
                <a:gd name="T18" fmla="*/ 207 w 348"/>
                <a:gd name="T19" fmla="*/ 274 h 535"/>
                <a:gd name="T20" fmla="*/ 25 w 348"/>
                <a:gd name="T21" fmla="*/ 457 h 535"/>
                <a:gd name="T22" fmla="*/ 80 w 348"/>
                <a:gd name="T23" fmla="*/ 535 h 535"/>
                <a:gd name="T24" fmla="*/ 77 w 348"/>
                <a:gd name="T25" fmla="*/ 534 h 535"/>
                <a:gd name="T26" fmla="*/ 73 w 348"/>
                <a:gd name="T27" fmla="*/ 533 h 535"/>
                <a:gd name="T28" fmla="*/ 4 w 348"/>
                <a:gd name="T29" fmla="*/ 463 h 535"/>
                <a:gd name="T30" fmla="*/ 2 w 348"/>
                <a:gd name="T31" fmla="*/ 460 h 535"/>
                <a:gd name="T32" fmla="*/ 0 w 348"/>
                <a:gd name="T33" fmla="*/ 457 h 535"/>
                <a:gd name="T34" fmla="*/ 2 w 348"/>
                <a:gd name="T35" fmla="*/ 452 h 535"/>
                <a:gd name="T36" fmla="*/ 4 w 348"/>
                <a:gd name="T37" fmla="*/ 449 h 535"/>
                <a:gd name="T38" fmla="*/ 185 w 348"/>
                <a:gd name="T39" fmla="*/ 268 h 535"/>
                <a:gd name="T40" fmla="*/ 4 w 348"/>
                <a:gd name="T41" fmla="*/ 86 h 535"/>
                <a:gd name="T42" fmla="*/ 2 w 348"/>
                <a:gd name="T43" fmla="*/ 83 h 535"/>
                <a:gd name="T44" fmla="*/ 0 w 348"/>
                <a:gd name="T45" fmla="*/ 79 h 535"/>
                <a:gd name="T46" fmla="*/ 2 w 348"/>
                <a:gd name="T47" fmla="*/ 75 h 535"/>
                <a:gd name="T48" fmla="*/ 4 w 348"/>
                <a:gd name="T49" fmla="*/ 72 h 535"/>
                <a:gd name="T50" fmla="*/ 74 w 348"/>
                <a:gd name="T51" fmla="*/ 2 h 535"/>
                <a:gd name="T52" fmla="*/ 77 w 348"/>
                <a:gd name="T53" fmla="*/ 0 h 535"/>
                <a:gd name="T54" fmla="*/ 80 w 348"/>
                <a:gd name="T55" fmla="*/ 0 h 535"/>
                <a:gd name="T56" fmla="*/ 84 w 348"/>
                <a:gd name="T57" fmla="*/ 0 h 535"/>
                <a:gd name="T58" fmla="*/ 87 w 348"/>
                <a:gd name="T59" fmla="*/ 2 h 535"/>
                <a:gd name="T60" fmla="*/ 346 w 348"/>
                <a:gd name="T61" fmla="*/ 260 h 535"/>
                <a:gd name="T62" fmla="*/ 348 w 348"/>
                <a:gd name="T63" fmla="*/ 263 h 535"/>
                <a:gd name="T64" fmla="*/ 348 w 348"/>
                <a:gd name="T65" fmla="*/ 268 h 535"/>
                <a:gd name="T66" fmla="*/ 348 w 348"/>
                <a:gd name="T67" fmla="*/ 271 h 535"/>
                <a:gd name="T68" fmla="*/ 346 w 348"/>
                <a:gd name="T69" fmla="*/ 274 h 535"/>
                <a:gd name="T70" fmla="*/ 87 w 348"/>
                <a:gd name="T71" fmla="*/ 532 h 535"/>
                <a:gd name="T72" fmla="*/ 84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7" y="260"/>
                  </a:lnTo>
                  <a:lnTo>
                    <a:pt x="209" y="263"/>
                  </a:lnTo>
                  <a:lnTo>
                    <a:pt x="210" y="268"/>
                  </a:lnTo>
                  <a:lnTo>
                    <a:pt x="209" y="271"/>
                  </a:lnTo>
                  <a:lnTo>
                    <a:pt x="207" y="274"/>
                  </a:lnTo>
                  <a:lnTo>
                    <a:pt x="25" y="457"/>
                  </a:lnTo>
                  <a:close/>
                  <a:moveTo>
                    <a:pt x="80" y="535"/>
                  </a:moveTo>
                  <a:lnTo>
                    <a:pt x="77" y="534"/>
                  </a:lnTo>
                  <a:lnTo>
                    <a:pt x="73" y="533"/>
                  </a:lnTo>
                  <a:lnTo>
                    <a:pt x="4" y="463"/>
                  </a:lnTo>
                  <a:lnTo>
                    <a:pt x="2" y="460"/>
                  </a:lnTo>
                  <a:lnTo>
                    <a:pt x="0" y="457"/>
                  </a:lnTo>
                  <a:lnTo>
                    <a:pt x="2" y="452"/>
                  </a:lnTo>
                  <a:lnTo>
                    <a:pt x="4" y="449"/>
                  </a:lnTo>
                  <a:lnTo>
                    <a:pt x="185" y="268"/>
                  </a:lnTo>
                  <a:lnTo>
                    <a:pt x="4" y="86"/>
                  </a:lnTo>
                  <a:lnTo>
                    <a:pt x="2" y="83"/>
                  </a:lnTo>
                  <a:lnTo>
                    <a:pt x="0" y="79"/>
                  </a:lnTo>
                  <a:lnTo>
                    <a:pt x="2" y="75"/>
                  </a:lnTo>
                  <a:lnTo>
                    <a:pt x="4" y="72"/>
                  </a:lnTo>
                  <a:lnTo>
                    <a:pt x="74" y="2"/>
                  </a:lnTo>
                  <a:lnTo>
                    <a:pt x="77" y="0"/>
                  </a:lnTo>
                  <a:lnTo>
                    <a:pt x="80" y="0"/>
                  </a:lnTo>
                  <a:lnTo>
                    <a:pt x="84" y="0"/>
                  </a:lnTo>
                  <a:lnTo>
                    <a:pt x="87" y="2"/>
                  </a:lnTo>
                  <a:lnTo>
                    <a:pt x="346" y="260"/>
                  </a:lnTo>
                  <a:lnTo>
                    <a:pt x="348" y="263"/>
                  </a:lnTo>
                  <a:lnTo>
                    <a:pt x="348" y="268"/>
                  </a:lnTo>
                  <a:lnTo>
                    <a:pt x="348" y="271"/>
                  </a:lnTo>
                  <a:lnTo>
                    <a:pt x="346" y="274"/>
                  </a:lnTo>
                  <a:lnTo>
                    <a:pt x="87" y="532"/>
                  </a:lnTo>
                  <a:lnTo>
                    <a:pt x="84" y="534"/>
                  </a:lnTo>
                  <a:lnTo>
                    <a:pt x="80"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386">
              <a:extLst>
                <a:ext uri="{FF2B5EF4-FFF2-40B4-BE49-F238E27FC236}">
                  <a16:creationId xmlns:a16="http://schemas.microsoft.com/office/drawing/2014/main" id="{C9758D44-57A3-0511-7EE2-B9BA31A9EA59}"/>
                </a:ext>
              </a:extLst>
            </p:cNvPr>
            <p:cNvSpPr>
              <a:spLocks noEditPoints="1"/>
            </p:cNvSpPr>
            <p:nvPr/>
          </p:nvSpPr>
          <p:spPr bwMode="auto">
            <a:xfrm>
              <a:off x="7494588" y="4268788"/>
              <a:ext cx="138113" cy="212725"/>
            </a:xfrm>
            <a:custGeom>
              <a:avLst/>
              <a:gdLst>
                <a:gd name="T0" fmla="*/ 25 w 348"/>
                <a:gd name="T1" fmla="*/ 457 h 535"/>
                <a:gd name="T2" fmla="*/ 80 w 348"/>
                <a:gd name="T3" fmla="*/ 512 h 535"/>
                <a:gd name="T4" fmla="*/ 324 w 348"/>
                <a:gd name="T5" fmla="*/ 268 h 535"/>
                <a:gd name="T6" fmla="*/ 80 w 348"/>
                <a:gd name="T7" fmla="*/ 23 h 535"/>
                <a:gd name="T8" fmla="*/ 25 w 348"/>
                <a:gd name="T9" fmla="*/ 79 h 535"/>
                <a:gd name="T10" fmla="*/ 206 w 348"/>
                <a:gd name="T11" fmla="*/ 260 h 535"/>
                <a:gd name="T12" fmla="*/ 208 w 348"/>
                <a:gd name="T13" fmla="*/ 263 h 535"/>
                <a:gd name="T14" fmla="*/ 208 w 348"/>
                <a:gd name="T15" fmla="*/ 268 h 535"/>
                <a:gd name="T16" fmla="*/ 208 w 348"/>
                <a:gd name="T17" fmla="*/ 271 h 535"/>
                <a:gd name="T18" fmla="*/ 206 w 348"/>
                <a:gd name="T19" fmla="*/ 274 h 535"/>
                <a:gd name="T20" fmla="*/ 25 w 348"/>
                <a:gd name="T21" fmla="*/ 457 h 535"/>
                <a:gd name="T22" fmla="*/ 80 w 348"/>
                <a:gd name="T23" fmla="*/ 535 h 535"/>
                <a:gd name="T24" fmla="*/ 75 w 348"/>
                <a:gd name="T25" fmla="*/ 534 h 535"/>
                <a:gd name="T26" fmla="*/ 72 w 348"/>
                <a:gd name="T27" fmla="*/ 533 h 535"/>
                <a:gd name="T28" fmla="*/ 3 w 348"/>
                <a:gd name="T29" fmla="*/ 463 h 535"/>
                <a:gd name="T30" fmla="*/ 1 w 348"/>
                <a:gd name="T31" fmla="*/ 460 h 535"/>
                <a:gd name="T32" fmla="*/ 0 w 348"/>
                <a:gd name="T33" fmla="*/ 457 h 535"/>
                <a:gd name="T34" fmla="*/ 1 w 348"/>
                <a:gd name="T35" fmla="*/ 452 h 535"/>
                <a:gd name="T36" fmla="*/ 3 w 348"/>
                <a:gd name="T37" fmla="*/ 449 h 535"/>
                <a:gd name="T38" fmla="*/ 185 w 348"/>
                <a:gd name="T39" fmla="*/ 268 h 535"/>
                <a:gd name="T40" fmla="*/ 3 w 348"/>
                <a:gd name="T41" fmla="*/ 86 h 535"/>
                <a:gd name="T42" fmla="*/ 1 w 348"/>
                <a:gd name="T43" fmla="*/ 83 h 535"/>
                <a:gd name="T44" fmla="*/ 0 w 348"/>
                <a:gd name="T45" fmla="*/ 79 h 535"/>
                <a:gd name="T46" fmla="*/ 1 w 348"/>
                <a:gd name="T47" fmla="*/ 75 h 535"/>
                <a:gd name="T48" fmla="*/ 3 w 348"/>
                <a:gd name="T49" fmla="*/ 72 h 535"/>
                <a:gd name="T50" fmla="*/ 72 w 348"/>
                <a:gd name="T51" fmla="*/ 2 h 535"/>
                <a:gd name="T52" fmla="*/ 75 w 348"/>
                <a:gd name="T53" fmla="*/ 0 h 535"/>
                <a:gd name="T54" fmla="*/ 80 w 348"/>
                <a:gd name="T55" fmla="*/ 0 h 535"/>
                <a:gd name="T56" fmla="*/ 83 w 348"/>
                <a:gd name="T57" fmla="*/ 0 h 535"/>
                <a:gd name="T58" fmla="*/ 86 w 348"/>
                <a:gd name="T59" fmla="*/ 2 h 535"/>
                <a:gd name="T60" fmla="*/ 344 w 348"/>
                <a:gd name="T61" fmla="*/ 260 h 535"/>
                <a:gd name="T62" fmla="*/ 347 w 348"/>
                <a:gd name="T63" fmla="*/ 263 h 535"/>
                <a:gd name="T64" fmla="*/ 348 w 348"/>
                <a:gd name="T65" fmla="*/ 268 h 535"/>
                <a:gd name="T66" fmla="*/ 347 w 348"/>
                <a:gd name="T67" fmla="*/ 271 h 535"/>
                <a:gd name="T68" fmla="*/ 344 w 348"/>
                <a:gd name="T69" fmla="*/ 274 h 535"/>
                <a:gd name="T70" fmla="*/ 86 w 348"/>
                <a:gd name="T71" fmla="*/ 532 h 535"/>
                <a:gd name="T72" fmla="*/ 83 w 348"/>
                <a:gd name="T73" fmla="*/ 534 h 535"/>
                <a:gd name="T74" fmla="*/ 80 w 348"/>
                <a:gd name="T7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535">
                  <a:moveTo>
                    <a:pt x="25" y="457"/>
                  </a:moveTo>
                  <a:lnTo>
                    <a:pt x="80" y="512"/>
                  </a:lnTo>
                  <a:lnTo>
                    <a:pt x="324" y="268"/>
                  </a:lnTo>
                  <a:lnTo>
                    <a:pt x="80" y="23"/>
                  </a:lnTo>
                  <a:lnTo>
                    <a:pt x="25" y="79"/>
                  </a:lnTo>
                  <a:lnTo>
                    <a:pt x="206" y="260"/>
                  </a:lnTo>
                  <a:lnTo>
                    <a:pt x="208" y="263"/>
                  </a:lnTo>
                  <a:lnTo>
                    <a:pt x="208" y="268"/>
                  </a:lnTo>
                  <a:lnTo>
                    <a:pt x="208" y="271"/>
                  </a:lnTo>
                  <a:lnTo>
                    <a:pt x="206" y="274"/>
                  </a:lnTo>
                  <a:lnTo>
                    <a:pt x="25" y="457"/>
                  </a:lnTo>
                  <a:close/>
                  <a:moveTo>
                    <a:pt x="80" y="535"/>
                  </a:moveTo>
                  <a:lnTo>
                    <a:pt x="75" y="534"/>
                  </a:lnTo>
                  <a:lnTo>
                    <a:pt x="72" y="533"/>
                  </a:lnTo>
                  <a:lnTo>
                    <a:pt x="3" y="463"/>
                  </a:lnTo>
                  <a:lnTo>
                    <a:pt x="1" y="460"/>
                  </a:lnTo>
                  <a:lnTo>
                    <a:pt x="0" y="457"/>
                  </a:lnTo>
                  <a:lnTo>
                    <a:pt x="1" y="452"/>
                  </a:lnTo>
                  <a:lnTo>
                    <a:pt x="3" y="449"/>
                  </a:lnTo>
                  <a:lnTo>
                    <a:pt x="185" y="268"/>
                  </a:lnTo>
                  <a:lnTo>
                    <a:pt x="3" y="86"/>
                  </a:lnTo>
                  <a:lnTo>
                    <a:pt x="1" y="83"/>
                  </a:lnTo>
                  <a:lnTo>
                    <a:pt x="0" y="79"/>
                  </a:lnTo>
                  <a:lnTo>
                    <a:pt x="1" y="75"/>
                  </a:lnTo>
                  <a:lnTo>
                    <a:pt x="3" y="72"/>
                  </a:lnTo>
                  <a:lnTo>
                    <a:pt x="72" y="2"/>
                  </a:lnTo>
                  <a:lnTo>
                    <a:pt x="75" y="0"/>
                  </a:lnTo>
                  <a:lnTo>
                    <a:pt x="80" y="0"/>
                  </a:lnTo>
                  <a:lnTo>
                    <a:pt x="83" y="0"/>
                  </a:lnTo>
                  <a:lnTo>
                    <a:pt x="86" y="2"/>
                  </a:lnTo>
                  <a:lnTo>
                    <a:pt x="344" y="260"/>
                  </a:lnTo>
                  <a:lnTo>
                    <a:pt x="347" y="263"/>
                  </a:lnTo>
                  <a:lnTo>
                    <a:pt x="348" y="268"/>
                  </a:lnTo>
                  <a:lnTo>
                    <a:pt x="347" y="271"/>
                  </a:lnTo>
                  <a:lnTo>
                    <a:pt x="344" y="274"/>
                  </a:lnTo>
                  <a:lnTo>
                    <a:pt x="86" y="532"/>
                  </a:lnTo>
                  <a:lnTo>
                    <a:pt x="83" y="534"/>
                  </a:lnTo>
                  <a:lnTo>
                    <a:pt x="80"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7" name="Straight Connector 26">
            <a:extLst>
              <a:ext uri="{FF2B5EF4-FFF2-40B4-BE49-F238E27FC236}">
                <a16:creationId xmlns:a16="http://schemas.microsoft.com/office/drawing/2014/main" id="{06EAE1F1-19DE-D18C-9218-BCB3625892C9}"/>
              </a:ext>
            </a:extLst>
          </p:cNvPr>
          <p:cNvCxnSpPr/>
          <p:nvPr/>
        </p:nvCxnSpPr>
        <p:spPr>
          <a:xfrm>
            <a:off x="3891280" y="4135120"/>
            <a:ext cx="955040"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2" name="Rectangle: Rounded Corners 1">
            <a:extLst>
              <a:ext uri="{FF2B5EF4-FFF2-40B4-BE49-F238E27FC236}">
                <a16:creationId xmlns:a16="http://schemas.microsoft.com/office/drawing/2014/main" id="{3A85CA29-DACC-42BD-DF17-55A4EB5DDDC5}"/>
              </a:ext>
            </a:extLst>
          </p:cNvPr>
          <p:cNvSpPr/>
          <p:nvPr/>
        </p:nvSpPr>
        <p:spPr>
          <a:xfrm flipH="1">
            <a:off x="91440" y="152400"/>
            <a:ext cx="12009120" cy="8636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5C646F"/>
                </a:solidFill>
                <a:latin typeface="+mj-lt"/>
              </a:rPr>
              <a:t>KPI’S</a:t>
            </a:r>
            <a:endParaRPr lang="en-ID" sz="3200" b="1" dirty="0">
              <a:solidFill>
                <a:srgbClr val="5C646F"/>
              </a:solidFill>
              <a:latin typeface="+mj-lt"/>
            </a:endParaRPr>
          </a:p>
        </p:txBody>
      </p:sp>
      <p:pic>
        <p:nvPicPr>
          <p:cNvPr id="16" name="Picture 15">
            <a:extLst>
              <a:ext uri="{FF2B5EF4-FFF2-40B4-BE49-F238E27FC236}">
                <a16:creationId xmlns:a16="http://schemas.microsoft.com/office/drawing/2014/main" id="{137964B4-97C1-481A-84B1-5849C925916A}"/>
              </a:ext>
            </a:extLst>
          </p:cNvPr>
          <p:cNvPicPr>
            <a:picLocks noChangeAspect="1"/>
          </p:cNvPicPr>
          <p:nvPr/>
        </p:nvPicPr>
        <p:blipFill>
          <a:blip r:embed="rId4"/>
          <a:stretch>
            <a:fillRect/>
          </a:stretch>
        </p:blipFill>
        <p:spPr>
          <a:xfrm>
            <a:off x="6286189" y="3055667"/>
            <a:ext cx="5387651" cy="3523135"/>
          </a:xfrm>
          <a:prstGeom prst="rect">
            <a:avLst/>
          </a:prstGeom>
        </p:spPr>
      </p:pic>
      <p:pic>
        <p:nvPicPr>
          <p:cNvPr id="19" name="Picture 18">
            <a:extLst>
              <a:ext uri="{FF2B5EF4-FFF2-40B4-BE49-F238E27FC236}">
                <a16:creationId xmlns:a16="http://schemas.microsoft.com/office/drawing/2014/main" id="{941A2D0B-8D98-21A1-9043-623AC6D23019}"/>
              </a:ext>
            </a:extLst>
          </p:cNvPr>
          <p:cNvPicPr>
            <a:picLocks noChangeAspect="1"/>
          </p:cNvPicPr>
          <p:nvPr/>
        </p:nvPicPr>
        <p:blipFill>
          <a:blip r:embed="rId5"/>
          <a:stretch>
            <a:fillRect/>
          </a:stretch>
        </p:blipFill>
        <p:spPr>
          <a:xfrm>
            <a:off x="337515" y="1269999"/>
            <a:ext cx="5697525" cy="3342789"/>
          </a:xfrm>
          <a:prstGeom prst="rect">
            <a:avLst/>
          </a:prstGeom>
        </p:spPr>
      </p:pic>
    </p:spTree>
    <p:extLst>
      <p:ext uri="{BB962C8B-B14F-4D97-AF65-F5344CB8AC3E}">
        <p14:creationId xmlns:p14="http://schemas.microsoft.com/office/powerpoint/2010/main" val="1505715217"/>
      </p:ext>
    </p:extLst>
  </p:cSld>
  <p:clrMapOvr>
    <a:masterClrMapping/>
  </p:clrMapOvr>
  <mc:AlternateContent xmlns:mc="http://schemas.openxmlformats.org/markup-compatibility/2006" xmlns:p14="http://schemas.microsoft.com/office/powerpoint/2010/main">
    <mc:Choice Requires="p14">
      <p:transition spd="slow" p14:dur="1250">
        <p:cover/>
      </p:transition>
    </mc:Choice>
    <mc:Fallback xmlns="">
      <p:transition spd="slow">
        <p:cover/>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Bahnschrift Condensed"/>
        <a:ea typeface=""/>
        <a:cs typeface=""/>
      </a:majorFont>
      <a:minorFont>
        <a:latin typeface="Bahnschrif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0">
              <a:schemeClr val="accent4"/>
            </a:gs>
            <a:gs pos="100000">
              <a:schemeClr val="tx2"/>
            </a:gs>
          </a:gsLst>
          <a:lin ang="5400000" scaled="1"/>
        </a:gradFill>
        <a:ln>
          <a:solidFill>
            <a:schemeClr val="bg1"/>
          </a:solidFill>
        </a:ln>
      </a:spPr>
      <a:bodyPr wrap="square" rtlCol="0" anchor="ctr"/>
      <a:lstStyle>
        <a:defPPr algn="ctr">
          <a:defRPr sz="3200" b="1">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920</TotalTime>
  <Words>406</Words>
  <Application>Microsoft Office PowerPoint</Application>
  <PresentationFormat>Widescreen</PresentationFormat>
  <Paragraphs>98</Paragraphs>
  <Slides>12</Slides>
  <Notes>3</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2</vt:i4>
      </vt:variant>
    </vt:vector>
  </HeadingPairs>
  <TitlesOfParts>
    <vt:vector size="18" baseType="lpstr">
      <vt:lpstr>Arial</vt:lpstr>
      <vt:lpstr>Bahnschrift Condensed</vt:lpstr>
      <vt:lpstr>Bahnschrift Light</vt:lpstr>
      <vt:lpstr>Calibri</vt:lpstr>
      <vt:lpstr>Cambria</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ugroho</dc:creator>
  <cp:lastModifiedBy>Shiva0 Kumar</cp:lastModifiedBy>
  <cp:revision>32</cp:revision>
  <dcterms:created xsi:type="dcterms:W3CDTF">2019-11-25T06:20:49Z</dcterms:created>
  <dcterms:modified xsi:type="dcterms:W3CDTF">2024-06-01T03:32:59Z</dcterms:modified>
</cp:coreProperties>
</file>